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8.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8.xml" ContentType="application/vnd.openxmlformats-officedocument.drawingml.chart+xml"/>
  <Override PartName="/ppt/theme/themeOverride4.xml" ContentType="application/vnd.openxmlformats-officedocument.themeOverride+xml"/>
  <Override PartName="/ppt/notesSlides/notesSlide11.xml" ContentType="application/vnd.openxmlformats-officedocument.presentationml.notesSlide+xml"/>
  <Override PartName="/ppt/charts/chart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71" r:id="rId2"/>
    <p:sldMasterId id="2147483776" r:id="rId3"/>
    <p:sldMasterId id="2147483786" r:id="rId4"/>
    <p:sldMasterId id="2147483832" r:id="rId5"/>
    <p:sldMasterId id="2147483844" r:id="rId6"/>
    <p:sldMasterId id="2147483858" r:id="rId7"/>
    <p:sldMasterId id="2147483865" r:id="rId8"/>
    <p:sldMasterId id="2147483889" r:id="rId9"/>
    <p:sldMasterId id="2147483904" r:id="rId10"/>
  </p:sldMasterIdLst>
  <p:notesMasterIdLst>
    <p:notesMasterId r:id="rId75"/>
  </p:notesMasterIdLst>
  <p:handoutMasterIdLst>
    <p:handoutMasterId r:id="rId76"/>
  </p:handoutMasterIdLst>
  <p:sldIdLst>
    <p:sldId id="1033" r:id="rId11"/>
    <p:sldId id="2147479161" r:id="rId12"/>
    <p:sldId id="315" r:id="rId13"/>
    <p:sldId id="1539" r:id="rId14"/>
    <p:sldId id="394" r:id="rId15"/>
    <p:sldId id="1321" r:id="rId16"/>
    <p:sldId id="259" r:id="rId17"/>
    <p:sldId id="425" r:id="rId18"/>
    <p:sldId id="484" r:id="rId19"/>
    <p:sldId id="427" r:id="rId20"/>
    <p:sldId id="2147471828" r:id="rId21"/>
    <p:sldId id="469" r:id="rId22"/>
    <p:sldId id="2147471829" r:id="rId23"/>
    <p:sldId id="1540" r:id="rId24"/>
    <p:sldId id="1541" r:id="rId25"/>
    <p:sldId id="593" r:id="rId26"/>
    <p:sldId id="1313" r:id="rId27"/>
    <p:sldId id="436" r:id="rId28"/>
    <p:sldId id="605" r:id="rId29"/>
    <p:sldId id="580" r:id="rId30"/>
    <p:sldId id="1322" r:id="rId31"/>
    <p:sldId id="542" r:id="rId32"/>
    <p:sldId id="726" r:id="rId33"/>
    <p:sldId id="2147471831" r:id="rId34"/>
    <p:sldId id="302" r:id="rId35"/>
    <p:sldId id="567" r:id="rId36"/>
    <p:sldId id="256" r:id="rId37"/>
    <p:sldId id="2147471830" r:id="rId38"/>
    <p:sldId id="437" r:id="rId39"/>
    <p:sldId id="1545" r:id="rId40"/>
    <p:sldId id="304" r:id="rId41"/>
    <p:sldId id="2147479159" r:id="rId42"/>
    <p:sldId id="1993219026" r:id="rId43"/>
    <p:sldId id="2147470975" r:id="rId44"/>
    <p:sldId id="609" r:id="rId45"/>
    <p:sldId id="2147471696" r:id="rId46"/>
    <p:sldId id="267" r:id="rId47"/>
    <p:sldId id="610" r:id="rId48"/>
    <p:sldId id="1316" r:id="rId49"/>
    <p:sldId id="491" r:id="rId50"/>
    <p:sldId id="296" r:id="rId51"/>
    <p:sldId id="1217" r:id="rId52"/>
    <p:sldId id="1218" r:id="rId53"/>
    <p:sldId id="589" r:id="rId54"/>
    <p:sldId id="1259" r:id="rId55"/>
    <p:sldId id="1280" r:id="rId56"/>
    <p:sldId id="1264" r:id="rId57"/>
    <p:sldId id="1234" r:id="rId58"/>
    <p:sldId id="1228" r:id="rId59"/>
    <p:sldId id="1326" r:id="rId60"/>
    <p:sldId id="1208" r:id="rId61"/>
    <p:sldId id="1225" r:id="rId62"/>
    <p:sldId id="1226" r:id="rId63"/>
    <p:sldId id="1278" r:id="rId64"/>
    <p:sldId id="323" r:id="rId65"/>
    <p:sldId id="614" r:id="rId66"/>
    <p:sldId id="324" r:id="rId67"/>
    <p:sldId id="321" r:id="rId68"/>
    <p:sldId id="320" r:id="rId69"/>
    <p:sldId id="274" r:id="rId70"/>
    <p:sldId id="260" r:id="rId71"/>
    <p:sldId id="1325" r:id="rId72"/>
    <p:sldId id="2147479160" r:id="rId73"/>
    <p:sldId id="1256" r:id="rId74"/>
  </p:sldIdLst>
  <p:sldSz cx="10287000" cy="6858000" type="35mm"/>
  <p:notesSz cx="9872663" cy="6858000"/>
  <p:defaultTextStyle>
    <a:defPPr>
      <a:defRPr lang="el-GR"/>
    </a:defPPr>
    <a:lvl1pPr algn="l" rtl="0" fontAlgn="base">
      <a:spcBef>
        <a:spcPct val="0"/>
      </a:spcBef>
      <a:spcAft>
        <a:spcPct val="0"/>
      </a:spcAft>
      <a:defRPr sz="2400" b="1" kern="1200">
        <a:solidFill>
          <a:schemeClr val="tx1"/>
        </a:solidFill>
        <a:latin typeface="Arial" charset="0"/>
        <a:ea typeface="+mn-ea"/>
        <a:cs typeface="Arial" charset="0"/>
      </a:defRPr>
    </a:lvl1pPr>
    <a:lvl2pPr marL="457200" algn="l" rtl="0" fontAlgn="base">
      <a:spcBef>
        <a:spcPct val="0"/>
      </a:spcBef>
      <a:spcAft>
        <a:spcPct val="0"/>
      </a:spcAft>
      <a:defRPr sz="2400" b="1" kern="1200">
        <a:solidFill>
          <a:schemeClr val="tx1"/>
        </a:solidFill>
        <a:latin typeface="Arial" charset="0"/>
        <a:ea typeface="+mn-ea"/>
        <a:cs typeface="Arial" charset="0"/>
      </a:defRPr>
    </a:lvl2pPr>
    <a:lvl3pPr marL="914400" algn="l" rtl="0" fontAlgn="base">
      <a:spcBef>
        <a:spcPct val="0"/>
      </a:spcBef>
      <a:spcAft>
        <a:spcPct val="0"/>
      </a:spcAft>
      <a:defRPr sz="2400" b="1" kern="1200">
        <a:solidFill>
          <a:schemeClr val="tx1"/>
        </a:solidFill>
        <a:latin typeface="Arial" charset="0"/>
        <a:ea typeface="+mn-ea"/>
        <a:cs typeface="Arial" charset="0"/>
      </a:defRPr>
    </a:lvl3pPr>
    <a:lvl4pPr marL="1371600" algn="l" rtl="0" fontAlgn="base">
      <a:spcBef>
        <a:spcPct val="0"/>
      </a:spcBef>
      <a:spcAft>
        <a:spcPct val="0"/>
      </a:spcAft>
      <a:defRPr sz="2400" b="1" kern="1200">
        <a:solidFill>
          <a:schemeClr val="tx1"/>
        </a:solidFill>
        <a:latin typeface="Arial" charset="0"/>
        <a:ea typeface="+mn-ea"/>
        <a:cs typeface="Arial" charset="0"/>
      </a:defRPr>
    </a:lvl4pPr>
    <a:lvl5pPr marL="1828800" algn="l" rtl="0" fontAlgn="base">
      <a:spcBef>
        <a:spcPct val="0"/>
      </a:spcBef>
      <a:spcAft>
        <a:spcPct val="0"/>
      </a:spcAft>
      <a:defRPr sz="2400" b="1" kern="1200">
        <a:solidFill>
          <a:schemeClr val="tx1"/>
        </a:solidFill>
        <a:latin typeface="Arial" charset="0"/>
        <a:ea typeface="+mn-ea"/>
        <a:cs typeface="Arial" charset="0"/>
      </a:defRPr>
    </a:lvl5pPr>
    <a:lvl6pPr marL="2286000" algn="l" defTabSz="914400" rtl="0" eaLnBrk="1" latinLnBrk="0" hangingPunct="1">
      <a:defRPr sz="2400" b="1" kern="1200">
        <a:solidFill>
          <a:schemeClr val="tx1"/>
        </a:solidFill>
        <a:latin typeface="Arial" charset="0"/>
        <a:ea typeface="+mn-ea"/>
        <a:cs typeface="Arial" charset="0"/>
      </a:defRPr>
    </a:lvl6pPr>
    <a:lvl7pPr marL="2743200" algn="l" defTabSz="914400" rtl="0" eaLnBrk="1" latinLnBrk="0" hangingPunct="1">
      <a:defRPr sz="2400" b="1" kern="1200">
        <a:solidFill>
          <a:schemeClr val="tx1"/>
        </a:solidFill>
        <a:latin typeface="Arial" charset="0"/>
        <a:ea typeface="+mn-ea"/>
        <a:cs typeface="Arial" charset="0"/>
      </a:defRPr>
    </a:lvl7pPr>
    <a:lvl8pPr marL="3200400" algn="l" defTabSz="914400" rtl="0" eaLnBrk="1" latinLnBrk="0" hangingPunct="1">
      <a:defRPr sz="2400" b="1" kern="1200">
        <a:solidFill>
          <a:schemeClr val="tx1"/>
        </a:solidFill>
        <a:latin typeface="Arial" charset="0"/>
        <a:ea typeface="+mn-ea"/>
        <a:cs typeface="Arial" charset="0"/>
      </a:defRPr>
    </a:lvl8pPr>
    <a:lvl9pPr marL="3657600" algn="l" defTabSz="914400" rtl="0" eaLnBrk="1" latinLnBrk="0" hangingPunct="1">
      <a:defRPr sz="2400"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264">
          <p15:clr>
            <a:srgbClr val="A4A3A4"/>
          </p15:clr>
        </p15:guide>
      </p15:sldGuideLst>
    </p:ext>
    <p:ext uri="{2D200454-40CA-4A62-9FC3-DE9A4176ACB9}">
      <p15:notesGuideLst xmlns:p15="http://schemas.microsoft.com/office/powerpoint/2012/main">
        <p15:guide id="1" orient="horz" pos="2160">
          <p15:clr>
            <a:srgbClr val="A4A3A4"/>
          </p15:clr>
        </p15:guide>
        <p15:guide id="2" pos="31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3300"/>
    <a:srgbClr val="CCFF33"/>
    <a:srgbClr val="CCFFCC"/>
    <a:srgbClr val="FFFFCC"/>
    <a:srgbClr val="000066"/>
    <a:srgbClr val="DDDDDD"/>
    <a:srgbClr val="00FFFF"/>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23211" autoAdjust="0"/>
    <p:restoredTop sz="99821" autoAdjust="0"/>
  </p:normalViewPr>
  <p:slideViewPr>
    <p:cSldViewPr>
      <p:cViewPr varScale="1">
        <p:scale>
          <a:sx n="111" d="100"/>
          <a:sy n="111" d="100"/>
        </p:scale>
        <p:origin x="1770" y="102"/>
      </p:cViewPr>
      <p:guideLst>
        <p:guide orient="horz" pos="2160"/>
        <p:guide pos="3264"/>
      </p:guideLst>
    </p:cSldViewPr>
  </p:slideViewPr>
  <p:notesTextViewPr>
    <p:cViewPr>
      <p:scale>
        <a:sx n="100" d="100"/>
        <a:sy n="100" d="100"/>
      </p:scale>
      <p:origin x="0" y="0"/>
    </p:cViewPr>
  </p:notesTextViewPr>
  <p:sorterViewPr>
    <p:cViewPr>
      <p:scale>
        <a:sx n="60" d="100"/>
        <a:sy n="60" d="100"/>
      </p:scale>
      <p:origin x="0" y="-4896"/>
    </p:cViewPr>
  </p:sorterViewPr>
  <p:notesViewPr>
    <p:cSldViewPr>
      <p:cViewPr varScale="1">
        <p:scale>
          <a:sx n="54" d="100"/>
          <a:sy n="54" d="100"/>
        </p:scale>
        <p:origin x="-672" y="-78"/>
      </p:cViewPr>
      <p:guideLst>
        <p:guide orient="horz" pos="2160"/>
        <p:guide pos="310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61.xml"/><Relationship Id="rId2" Type="http://schemas.openxmlformats.org/officeDocument/2006/relationships/slideMaster" Target="slideMasters/slideMaster2.xml"/><Relationship Id="rId29" Type="http://schemas.openxmlformats.org/officeDocument/2006/relationships/slide" Target="slides/slide1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YSL-2018\Dropbox\Works_On\Mtng,%20Travel\Slides\HBV\HBV%20care%20cascad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oleObject" Target="file:///C:\Users\YSL-2018\Dropbox\Works_On\Mtng,%20Travel\Slides\HBV\HBV%20care%20cascade.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5ADB-41E5-B338-85BD8C1B92D9}"/>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5ADB-41E5-B338-85BD8C1B92D9}"/>
              </c:ext>
            </c:extLst>
          </c:dPt>
          <c:dPt>
            <c:idx val="2"/>
            <c:invertIfNegative val="0"/>
            <c:bubble3D val="0"/>
            <c:spPr>
              <a:solidFill>
                <a:schemeClr val="tx2"/>
              </a:solidFill>
              <a:ln>
                <a:noFill/>
              </a:ln>
              <a:effectLst/>
            </c:spPr>
            <c:extLst>
              <c:ext xmlns:c16="http://schemas.microsoft.com/office/drawing/2014/chart" uri="{C3380CC4-5D6E-409C-BE32-E72D297353CC}">
                <c16:uniqueId val="{00000005-5ADB-41E5-B338-85BD8C1B92D9}"/>
              </c:ext>
            </c:extLst>
          </c:dPt>
          <c:dLbls>
            <c:dLbl>
              <c:idx val="0"/>
              <c:numFmt formatCode="#,##0_);[Red]\(#,##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showLegendKey val="0"/>
              <c:showVal val="1"/>
              <c:showCatName val="0"/>
              <c:showSerName val="0"/>
              <c:showPercent val="0"/>
              <c:showBubbleSize val="0"/>
              <c:extLst>
                <c:ext xmlns:c16="http://schemas.microsoft.com/office/drawing/2014/chart" uri="{C3380CC4-5D6E-409C-BE32-E72D297353CC}">
                  <c16:uniqueId val="{00000001-5ADB-41E5-B338-85BD8C1B92D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9:$A$31</c:f>
              <c:strCache>
                <c:ptCount val="3"/>
                <c:pt idx="0">
                  <c:v>Infected</c:v>
                </c:pt>
                <c:pt idx="1">
                  <c:v>Diagnosed</c:v>
                </c:pt>
                <c:pt idx="2">
                  <c:v>Treated</c:v>
                </c:pt>
              </c:strCache>
            </c:strRef>
          </c:cat>
          <c:val>
            <c:numRef>
              <c:f>Sheet1!$B$29:$B$31</c:f>
              <c:numCache>
                <c:formatCode>_-* #,##0.0_-;\-* #,##0.0_-;_-* "-"_-;_-@_-</c:formatCode>
                <c:ptCount val="3"/>
                <c:pt idx="0">
                  <c:v>296</c:v>
                </c:pt>
                <c:pt idx="1">
                  <c:v>30.4</c:v>
                </c:pt>
                <c:pt idx="2">
                  <c:v>6.6</c:v>
                </c:pt>
              </c:numCache>
            </c:numRef>
          </c:val>
          <c:extLst>
            <c:ext xmlns:c16="http://schemas.microsoft.com/office/drawing/2014/chart" uri="{C3380CC4-5D6E-409C-BE32-E72D297353CC}">
              <c16:uniqueId val="{00000006-5ADB-41E5-B338-85BD8C1B92D9}"/>
            </c:ext>
          </c:extLst>
        </c:ser>
        <c:dLbls>
          <c:showLegendKey val="0"/>
          <c:showVal val="0"/>
          <c:showCatName val="0"/>
          <c:showSerName val="0"/>
          <c:showPercent val="0"/>
          <c:showBubbleSize val="0"/>
        </c:dLbls>
        <c:gapWidth val="150"/>
        <c:overlap val="-27"/>
        <c:axId val="435954184"/>
        <c:axId val="435957136"/>
      </c:barChart>
      <c:catAx>
        <c:axId val="435954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crossAx val="435957136"/>
        <c:crosses val="autoZero"/>
        <c:auto val="1"/>
        <c:lblAlgn val="ctr"/>
        <c:lblOffset val="100"/>
        <c:noMultiLvlLbl val="0"/>
      </c:catAx>
      <c:valAx>
        <c:axId val="435957136"/>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lang="en-US" altLang="ko-K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crossAx val="435954184"/>
        <c:crosses val="autoZero"/>
        <c:crossBetween val="between"/>
      </c:valAx>
      <c:spPr>
        <a:noFill/>
        <a:ln>
          <a:noFill/>
        </a:ln>
        <a:effectLst/>
      </c:spPr>
    </c:plotArea>
    <c:plotVisOnly val="1"/>
    <c:dispBlanksAs val="gap"/>
    <c:showDLblsOverMax val="0"/>
  </c:chart>
  <c:spPr>
    <a:noFill/>
    <a:ln>
      <a:noFill/>
    </a:ln>
    <a:effectLst/>
  </c:spPr>
  <c:txPr>
    <a:bodyPr/>
    <a:lstStyle/>
    <a:p>
      <a:pPr>
        <a:defRPr sz="1050" b="1">
          <a:latin typeface="Tahoma" panose="020B0604030504040204" pitchFamily="34" charset="0"/>
          <a:ea typeface="Tahoma" panose="020B0604030504040204" pitchFamily="34" charset="0"/>
          <a:cs typeface="Tahoma" panose="020B0604030504040204" pitchFamily="34" charset="0"/>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Total case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BV</c:v>
                </c:pt>
              </c:strCache>
            </c:strRef>
          </c:cat>
          <c:val>
            <c:numRef>
              <c:f>Sheet1!$B$2</c:f>
              <c:numCache>
                <c:formatCode>General</c:formatCode>
                <c:ptCount val="1"/>
                <c:pt idx="0">
                  <c:v>230618</c:v>
                </c:pt>
              </c:numCache>
            </c:numRef>
          </c:val>
          <c:extLst>
            <c:ext xmlns:c16="http://schemas.microsoft.com/office/drawing/2014/chart" uri="{C3380CC4-5D6E-409C-BE32-E72D297353CC}">
              <c16:uniqueId val="{00000000-88E3-4AE1-9739-6EB4D0035D2B}"/>
            </c:ext>
          </c:extLst>
        </c:ser>
        <c:ser>
          <c:idx val="1"/>
          <c:order val="1"/>
          <c:tx>
            <c:strRef>
              <c:f>Sheet1!$C$1</c:f>
              <c:strCache>
                <c:ptCount val="1"/>
                <c:pt idx="0">
                  <c:v>Diagnosed</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BV</c:v>
                </c:pt>
              </c:strCache>
            </c:strRef>
          </c:cat>
          <c:val>
            <c:numRef>
              <c:f>Sheet1!$C$2</c:f>
              <c:numCache>
                <c:formatCode>General</c:formatCode>
                <c:ptCount val="1"/>
                <c:pt idx="0">
                  <c:v>116057</c:v>
                </c:pt>
              </c:numCache>
            </c:numRef>
          </c:val>
          <c:extLst>
            <c:ext xmlns:c16="http://schemas.microsoft.com/office/drawing/2014/chart" uri="{C3380CC4-5D6E-409C-BE32-E72D297353CC}">
              <c16:uniqueId val="{00000001-88E3-4AE1-9739-6EB4D0035D2B}"/>
            </c:ext>
          </c:extLst>
        </c:ser>
        <c:ser>
          <c:idx val="2"/>
          <c:order val="2"/>
          <c:tx>
            <c:strRef>
              <c:f>Sheet1!$D$1</c:f>
              <c:strCache>
                <c:ptCount val="1"/>
                <c:pt idx="0">
                  <c:v>Column1</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BV</c:v>
                </c:pt>
              </c:strCache>
            </c:strRef>
          </c:cat>
          <c:val>
            <c:numRef>
              <c:f>Sheet1!$D$2</c:f>
              <c:numCache>
                <c:formatCode>General</c:formatCode>
                <c:ptCount val="1"/>
              </c:numCache>
            </c:numRef>
          </c:val>
          <c:extLst>
            <c:ext xmlns:c16="http://schemas.microsoft.com/office/drawing/2014/chart" uri="{C3380CC4-5D6E-409C-BE32-E72D297353CC}">
              <c16:uniqueId val="{00000002-88E3-4AE1-9739-6EB4D0035D2B}"/>
            </c:ext>
          </c:extLst>
        </c:ser>
        <c:dLbls>
          <c:showLegendKey val="0"/>
          <c:showVal val="0"/>
          <c:showCatName val="0"/>
          <c:showSerName val="0"/>
          <c:showPercent val="0"/>
          <c:showBubbleSize val="0"/>
        </c:dLbls>
        <c:gapWidth val="150"/>
        <c:axId val="163120640"/>
        <c:axId val="163122176"/>
      </c:barChart>
      <c:catAx>
        <c:axId val="163120640"/>
        <c:scaling>
          <c:orientation val="minMax"/>
        </c:scaling>
        <c:delete val="0"/>
        <c:axPos val="b"/>
        <c:numFmt formatCode="General" sourceLinked="1"/>
        <c:majorTickMark val="out"/>
        <c:minorTickMark val="none"/>
        <c:tickLblPos val="nextTo"/>
        <c:crossAx val="163122176"/>
        <c:crosses val="autoZero"/>
        <c:auto val="1"/>
        <c:lblAlgn val="ctr"/>
        <c:lblOffset val="100"/>
        <c:noMultiLvlLbl val="0"/>
      </c:catAx>
      <c:valAx>
        <c:axId val="163122176"/>
        <c:scaling>
          <c:orientation val="minMax"/>
        </c:scaling>
        <c:delete val="0"/>
        <c:axPos val="l"/>
        <c:numFmt formatCode="General" sourceLinked="1"/>
        <c:majorTickMark val="out"/>
        <c:minorTickMark val="none"/>
        <c:tickLblPos val="nextTo"/>
        <c:txPr>
          <a:bodyPr/>
          <a:lstStyle/>
          <a:p>
            <a:pPr>
              <a:defRPr sz="1400"/>
            </a:pPr>
            <a:endParaRPr lang="el-GR"/>
          </a:p>
        </c:txPr>
        <c:crossAx val="163120640"/>
        <c:crosses val="autoZero"/>
        <c:crossBetween val="between"/>
      </c:valAx>
      <c:spPr>
        <a:noFill/>
        <a:ln w="25389">
          <a:noFill/>
        </a:ln>
      </c:spPr>
    </c:plotArea>
    <c:legend>
      <c:legendPos val="t"/>
      <c:legendEntry>
        <c:idx val="2"/>
        <c:delete val="1"/>
      </c:legendEntry>
      <c:overlay val="0"/>
    </c:legend>
    <c:plotVisOnly val="1"/>
    <c:dispBlanksAs val="gap"/>
    <c:showDLblsOverMax val="0"/>
  </c:chart>
  <c:txPr>
    <a:bodyPr/>
    <a:lstStyle/>
    <a:p>
      <a:pPr>
        <a:defRPr sz="1799"/>
      </a:pPr>
      <a:endParaRPr lang="el-G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5ADB-41E5-B338-85BD8C1B92D9}"/>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5ADB-41E5-B338-85BD8C1B92D9}"/>
              </c:ext>
            </c:extLst>
          </c:dPt>
          <c:dPt>
            <c:idx val="2"/>
            <c:invertIfNegative val="0"/>
            <c:bubble3D val="0"/>
            <c:spPr>
              <a:solidFill>
                <a:schemeClr val="tx2"/>
              </a:solidFill>
              <a:ln>
                <a:noFill/>
              </a:ln>
              <a:effectLst/>
            </c:spPr>
            <c:extLst>
              <c:ext xmlns:c16="http://schemas.microsoft.com/office/drawing/2014/chart" uri="{C3380CC4-5D6E-409C-BE32-E72D297353CC}">
                <c16:uniqueId val="{00000005-5ADB-41E5-B338-85BD8C1B92D9}"/>
              </c:ext>
            </c:extLst>
          </c:dPt>
          <c:dLbls>
            <c:dLbl>
              <c:idx val="0"/>
              <c:numFmt formatCode="#,##0_);[Red]\(#,##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showLegendKey val="0"/>
              <c:showVal val="1"/>
              <c:showCatName val="0"/>
              <c:showSerName val="0"/>
              <c:showPercent val="0"/>
              <c:showBubbleSize val="0"/>
              <c:extLst>
                <c:ext xmlns:c16="http://schemas.microsoft.com/office/drawing/2014/chart" uri="{C3380CC4-5D6E-409C-BE32-E72D297353CC}">
                  <c16:uniqueId val="{00000001-5ADB-41E5-B338-85BD8C1B92D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9:$A$31</c:f>
              <c:strCache>
                <c:ptCount val="3"/>
                <c:pt idx="0">
                  <c:v>Infected</c:v>
                </c:pt>
                <c:pt idx="1">
                  <c:v>Diagnosed</c:v>
                </c:pt>
                <c:pt idx="2">
                  <c:v>Treated</c:v>
                </c:pt>
              </c:strCache>
            </c:strRef>
          </c:cat>
          <c:val>
            <c:numRef>
              <c:f>Sheet1!$B$29:$B$31</c:f>
              <c:numCache>
                <c:formatCode>_-* #,##0.0_-;\-* #,##0.0_-;_-* "-"_-;_-@_-</c:formatCode>
                <c:ptCount val="3"/>
                <c:pt idx="0">
                  <c:v>296</c:v>
                </c:pt>
                <c:pt idx="1">
                  <c:v>30.4</c:v>
                </c:pt>
                <c:pt idx="2">
                  <c:v>6.6</c:v>
                </c:pt>
              </c:numCache>
            </c:numRef>
          </c:val>
          <c:extLst>
            <c:ext xmlns:c16="http://schemas.microsoft.com/office/drawing/2014/chart" uri="{C3380CC4-5D6E-409C-BE32-E72D297353CC}">
              <c16:uniqueId val="{00000006-5ADB-41E5-B338-85BD8C1B92D9}"/>
            </c:ext>
          </c:extLst>
        </c:ser>
        <c:dLbls>
          <c:showLegendKey val="0"/>
          <c:showVal val="0"/>
          <c:showCatName val="0"/>
          <c:showSerName val="0"/>
          <c:showPercent val="0"/>
          <c:showBubbleSize val="0"/>
        </c:dLbls>
        <c:gapWidth val="150"/>
        <c:overlap val="-27"/>
        <c:axId val="435954184"/>
        <c:axId val="435957136"/>
      </c:barChart>
      <c:catAx>
        <c:axId val="435954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crossAx val="435957136"/>
        <c:crosses val="autoZero"/>
        <c:auto val="1"/>
        <c:lblAlgn val="ctr"/>
        <c:lblOffset val="100"/>
        <c:noMultiLvlLbl val="0"/>
      </c:catAx>
      <c:valAx>
        <c:axId val="435957136"/>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rot="-60000000" spcFirstLastPara="1" vertOverflow="ellipsis" vert="horz" wrap="square" anchor="ctr" anchorCtr="1"/>
          <a:lstStyle/>
          <a:p>
            <a:pPr>
              <a:defRPr lang="en-US" altLang="ko-KR" sz="14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el-GR"/>
          </a:p>
        </c:txPr>
        <c:crossAx val="435954184"/>
        <c:crosses val="autoZero"/>
        <c:crossBetween val="between"/>
      </c:valAx>
      <c:spPr>
        <a:noFill/>
        <a:ln>
          <a:noFill/>
        </a:ln>
        <a:effectLst/>
      </c:spPr>
    </c:plotArea>
    <c:plotVisOnly val="1"/>
    <c:dispBlanksAs val="gap"/>
    <c:showDLblsOverMax val="0"/>
  </c:chart>
  <c:spPr>
    <a:noFill/>
    <a:ln>
      <a:noFill/>
    </a:ln>
    <a:effectLst/>
  </c:spPr>
  <c:txPr>
    <a:bodyPr/>
    <a:lstStyle/>
    <a:p>
      <a:pPr>
        <a:defRPr sz="1050" b="1">
          <a:latin typeface="Tahoma" panose="020B0604030504040204" pitchFamily="34" charset="0"/>
          <a:ea typeface="Tahoma" panose="020B0604030504040204" pitchFamily="34" charset="0"/>
          <a:cs typeface="Tahoma" panose="020B0604030504040204" pitchFamily="34" charset="0"/>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Total cases</c:v>
                </c:pt>
              </c:strCache>
            </c:strRef>
          </c:tx>
          <c:invertIfNegative val="0"/>
          <c:dLbls>
            <c:spPr>
              <a:noFill/>
              <a:ln>
                <a:noFill/>
              </a:ln>
              <a:effectLst/>
            </c:spPr>
            <c:txPr>
              <a:bodyPr wrap="square" lIns="38100" tIns="19050" rIns="38100" bIns="19050" anchor="ctr">
                <a:spAutoFit/>
              </a:bodyPr>
              <a:lstStyle/>
              <a:p>
                <a:pPr>
                  <a:defRPr sz="1600"/>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BV</c:v>
                </c:pt>
              </c:strCache>
            </c:strRef>
          </c:cat>
          <c:val>
            <c:numRef>
              <c:f>Sheet1!$B$2</c:f>
              <c:numCache>
                <c:formatCode>General</c:formatCode>
                <c:ptCount val="1"/>
                <c:pt idx="0">
                  <c:v>230618</c:v>
                </c:pt>
              </c:numCache>
            </c:numRef>
          </c:val>
          <c:extLst>
            <c:ext xmlns:c16="http://schemas.microsoft.com/office/drawing/2014/chart" uri="{C3380CC4-5D6E-409C-BE32-E72D297353CC}">
              <c16:uniqueId val="{00000000-0D49-4634-8403-03A35DDA0C88}"/>
            </c:ext>
          </c:extLst>
        </c:ser>
        <c:ser>
          <c:idx val="1"/>
          <c:order val="1"/>
          <c:tx>
            <c:strRef>
              <c:f>Sheet1!$C$1</c:f>
              <c:strCache>
                <c:ptCount val="1"/>
                <c:pt idx="0">
                  <c:v>Diagnosed</c:v>
                </c:pt>
              </c:strCache>
            </c:strRef>
          </c:tx>
          <c:invertIfNegative val="0"/>
          <c:dLbls>
            <c:spPr>
              <a:noFill/>
              <a:ln>
                <a:noFill/>
              </a:ln>
              <a:effectLst/>
            </c:spPr>
            <c:txPr>
              <a:bodyPr wrap="square" lIns="38100" tIns="19050" rIns="38100" bIns="19050" anchor="ctr">
                <a:spAutoFit/>
              </a:bodyPr>
              <a:lstStyle/>
              <a:p>
                <a:pPr>
                  <a:defRPr sz="1600"/>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BV</c:v>
                </c:pt>
              </c:strCache>
            </c:strRef>
          </c:cat>
          <c:val>
            <c:numRef>
              <c:f>Sheet1!$C$2</c:f>
              <c:numCache>
                <c:formatCode>General</c:formatCode>
                <c:ptCount val="1"/>
                <c:pt idx="0">
                  <c:v>116057</c:v>
                </c:pt>
              </c:numCache>
            </c:numRef>
          </c:val>
          <c:extLst>
            <c:ext xmlns:c16="http://schemas.microsoft.com/office/drawing/2014/chart" uri="{C3380CC4-5D6E-409C-BE32-E72D297353CC}">
              <c16:uniqueId val="{00000001-0D49-4634-8403-03A35DDA0C88}"/>
            </c:ext>
          </c:extLst>
        </c:ser>
        <c:ser>
          <c:idx val="2"/>
          <c:order val="2"/>
          <c:tx>
            <c:strRef>
              <c:f>Sheet1!$D$1</c:f>
              <c:strCache>
                <c:ptCount val="1"/>
                <c:pt idx="0">
                  <c:v>Treated</c:v>
                </c:pt>
              </c:strCache>
            </c:strRef>
          </c:tx>
          <c:invertIfNegative val="0"/>
          <c:dLbls>
            <c:spPr>
              <a:noFill/>
              <a:ln>
                <a:noFill/>
              </a:ln>
              <a:effectLst/>
            </c:spPr>
            <c:txPr>
              <a:bodyPr wrap="square" lIns="38100" tIns="19050" rIns="38100" bIns="19050" anchor="ctr">
                <a:spAutoFit/>
              </a:bodyPr>
              <a:lstStyle/>
              <a:p>
                <a:pPr>
                  <a:defRPr sz="1600"/>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BV</c:v>
                </c:pt>
              </c:strCache>
            </c:strRef>
          </c:cat>
          <c:val>
            <c:numRef>
              <c:f>Sheet1!$D$2</c:f>
              <c:numCache>
                <c:formatCode>General</c:formatCode>
                <c:ptCount val="1"/>
                <c:pt idx="0">
                  <c:v>39343</c:v>
                </c:pt>
              </c:numCache>
            </c:numRef>
          </c:val>
          <c:extLst>
            <c:ext xmlns:c16="http://schemas.microsoft.com/office/drawing/2014/chart" uri="{C3380CC4-5D6E-409C-BE32-E72D297353CC}">
              <c16:uniqueId val="{00000002-0D49-4634-8403-03A35DDA0C88}"/>
            </c:ext>
          </c:extLst>
        </c:ser>
        <c:dLbls>
          <c:showLegendKey val="0"/>
          <c:showVal val="0"/>
          <c:showCatName val="0"/>
          <c:showSerName val="0"/>
          <c:showPercent val="0"/>
          <c:showBubbleSize val="0"/>
        </c:dLbls>
        <c:gapWidth val="150"/>
        <c:axId val="257373696"/>
        <c:axId val="257375232"/>
      </c:barChart>
      <c:catAx>
        <c:axId val="257373696"/>
        <c:scaling>
          <c:orientation val="minMax"/>
        </c:scaling>
        <c:delete val="0"/>
        <c:axPos val="b"/>
        <c:numFmt formatCode="General" sourceLinked="1"/>
        <c:majorTickMark val="out"/>
        <c:minorTickMark val="none"/>
        <c:tickLblPos val="nextTo"/>
        <c:crossAx val="257375232"/>
        <c:crosses val="autoZero"/>
        <c:auto val="1"/>
        <c:lblAlgn val="ctr"/>
        <c:lblOffset val="100"/>
        <c:noMultiLvlLbl val="0"/>
      </c:catAx>
      <c:valAx>
        <c:axId val="257375232"/>
        <c:scaling>
          <c:orientation val="minMax"/>
        </c:scaling>
        <c:delete val="0"/>
        <c:axPos val="l"/>
        <c:numFmt formatCode="General" sourceLinked="1"/>
        <c:majorTickMark val="out"/>
        <c:minorTickMark val="none"/>
        <c:tickLblPos val="nextTo"/>
        <c:txPr>
          <a:bodyPr/>
          <a:lstStyle/>
          <a:p>
            <a:pPr>
              <a:defRPr sz="1400"/>
            </a:pPr>
            <a:endParaRPr lang="el-GR"/>
          </a:p>
        </c:txPr>
        <c:crossAx val="257373696"/>
        <c:crosses val="autoZero"/>
        <c:crossBetween val="between"/>
      </c:valAx>
      <c:spPr>
        <a:noFill/>
        <a:ln w="25389">
          <a:noFill/>
        </a:ln>
      </c:spPr>
    </c:plotArea>
    <c:legend>
      <c:legendPos val="t"/>
      <c:overlay val="0"/>
    </c:legend>
    <c:plotVisOnly val="1"/>
    <c:dispBlanksAs val="gap"/>
    <c:showDLblsOverMax val="0"/>
  </c:chart>
  <c:txPr>
    <a:bodyPr/>
    <a:lstStyle/>
    <a:p>
      <a:pPr>
        <a:defRPr sz="1799"/>
      </a:pPr>
      <a:endParaRPr lang="el-G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Before 10/2021</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Athens-1</c:v>
                </c:pt>
                <c:pt idx="1">
                  <c:v>Athens-2</c:v>
                </c:pt>
                <c:pt idx="2">
                  <c:v>Athens-3</c:v>
                </c:pt>
                <c:pt idx="3">
                  <c:v>Athens-4</c:v>
                </c:pt>
                <c:pt idx="4">
                  <c:v>Athens-5</c:v>
                </c:pt>
                <c:pt idx="5">
                  <c:v>Athens-6</c:v>
                </c:pt>
                <c:pt idx="6">
                  <c:v>Athens-7</c:v>
                </c:pt>
                <c:pt idx="7">
                  <c:v>N Greece-1</c:v>
                </c:pt>
                <c:pt idx="8">
                  <c:v>N Greece-2</c:v>
                </c:pt>
                <c:pt idx="9">
                  <c:v>N Greece-3</c:v>
                </c:pt>
                <c:pt idx="10">
                  <c:v>N Greece-4</c:v>
                </c:pt>
                <c:pt idx="11">
                  <c:v>S Greece-1</c:v>
                </c:pt>
                <c:pt idx="12">
                  <c:v>S Greece-2</c:v>
                </c:pt>
                <c:pt idx="13">
                  <c:v>S Greece-3</c:v>
                </c:pt>
              </c:strCache>
            </c:strRef>
          </c:cat>
          <c:val>
            <c:numRef>
              <c:f>Sheet1!$B$2:$B$15</c:f>
              <c:numCache>
                <c:formatCode>General</c:formatCode>
                <c:ptCount val="14"/>
                <c:pt idx="0">
                  <c:v>27</c:v>
                </c:pt>
                <c:pt idx="1">
                  <c:v>28</c:v>
                </c:pt>
                <c:pt idx="2">
                  <c:v>27</c:v>
                </c:pt>
                <c:pt idx="3">
                  <c:v>35</c:v>
                </c:pt>
                <c:pt idx="4">
                  <c:v>58</c:v>
                </c:pt>
                <c:pt idx="5">
                  <c:v>67</c:v>
                </c:pt>
                <c:pt idx="6">
                  <c:v>16</c:v>
                </c:pt>
                <c:pt idx="7">
                  <c:v>8</c:v>
                </c:pt>
                <c:pt idx="8">
                  <c:v>88</c:v>
                </c:pt>
                <c:pt idx="9">
                  <c:v>38</c:v>
                </c:pt>
                <c:pt idx="10">
                  <c:v>78</c:v>
                </c:pt>
                <c:pt idx="11">
                  <c:v>13</c:v>
                </c:pt>
                <c:pt idx="12">
                  <c:v>81</c:v>
                </c:pt>
                <c:pt idx="13">
                  <c:v>75</c:v>
                </c:pt>
              </c:numCache>
            </c:numRef>
          </c:val>
          <c:extLst>
            <c:ext xmlns:c16="http://schemas.microsoft.com/office/drawing/2014/chart" uri="{C3380CC4-5D6E-409C-BE32-E72D297353CC}">
              <c16:uniqueId val="{00000000-D39E-4906-87A1-399168611A11}"/>
            </c:ext>
          </c:extLst>
        </c:ser>
        <c:ser>
          <c:idx val="1"/>
          <c:order val="1"/>
          <c:tx>
            <c:strRef>
              <c:f>Sheet1!$C$1</c:f>
              <c:strCache>
                <c:ptCount val="1"/>
                <c:pt idx="0">
                  <c:v>Total</c:v>
                </c:pt>
              </c:strCache>
            </c:strRef>
          </c:tx>
          <c:spPr>
            <a:solidFill>
              <a:schemeClr val="bg1">
                <a:lumMod val="50000"/>
              </a:schemeClr>
            </a:solidFill>
            <a:ln>
              <a:noFill/>
            </a:ln>
            <a:effectLst/>
          </c:spPr>
          <c:invertIfNegative val="0"/>
          <c:dLbls>
            <c:dLbl>
              <c:idx val="13"/>
              <c:delete val="1"/>
              <c:extLst>
                <c:ext xmlns:c15="http://schemas.microsoft.com/office/drawing/2012/chart" uri="{CE6537A1-D6FC-4f65-9D91-7224C49458BB}"/>
                <c:ext xmlns:c16="http://schemas.microsoft.com/office/drawing/2014/chart" uri="{C3380CC4-5D6E-409C-BE32-E72D297353CC}">
                  <c16:uniqueId val="{00000001-D39E-4906-87A1-399168611A1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Athens-1</c:v>
                </c:pt>
                <c:pt idx="1">
                  <c:v>Athens-2</c:v>
                </c:pt>
                <c:pt idx="2">
                  <c:v>Athens-3</c:v>
                </c:pt>
                <c:pt idx="3">
                  <c:v>Athens-4</c:v>
                </c:pt>
                <c:pt idx="4">
                  <c:v>Athens-5</c:v>
                </c:pt>
                <c:pt idx="5">
                  <c:v>Athens-6</c:v>
                </c:pt>
                <c:pt idx="6">
                  <c:v>Athens-7</c:v>
                </c:pt>
                <c:pt idx="7">
                  <c:v>N Greece-1</c:v>
                </c:pt>
                <c:pt idx="8">
                  <c:v>N Greece-2</c:v>
                </c:pt>
                <c:pt idx="9">
                  <c:v>N Greece-3</c:v>
                </c:pt>
                <c:pt idx="10">
                  <c:v>N Greece-4</c:v>
                </c:pt>
                <c:pt idx="11">
                  <c:v>S Greece-1</c:v>
                </c:pt>
                <c:pt idx="12">
                  <c:v>S Greece-2</c:v>
                </c:pt>
                <c:pt idx="13">
                  <c:v>S Greece-3</c:v>
                </c:pt>
              </c:strCache>
            </c:strRef>
          </c:cat>
          <c:val>
            <c:numRef>
              <c:f>Sheet1!$C$2:$C$15</c:f>
              <c:numCache>
                <c:formatCode>General</c:formatCode>
                <c:ptCount val="14"/>
                <c:pt idx="0">
                  <c:v>32</c:v>
                </c:pt>
                <c:pt idx="1">
                  <c:v>33</c:v>
                </c:pt>
                <c:pt idx="2">
                  <c:v>31</c:v>
                </c:pt>
                <c:pt idx="3">
                  <c:v>39</c:v>
                </c:pt>
                <c:pt idx="4">
                  <c:v>79</c:v>
                </c:pt>
                <c:pt idx="5">
                  <c:v>72</c:v>
                </c:pt>
                <c:pt idx="6">
                  <c:v>100</c:v>
                </c:pt>
                <c:pt idx="7">
                  <c:v>24</c:v>
                </c:pt>
                <c:pt idx="8">
                  <c:v>90</c:v>
                </c:pt>
                <c:pt idx="9">
                  <c:v>100</c:v>
                </c:pt>
                <c:pt idx="10">
                  <c:v>100</c:v>
                </c:pt>
                <c:pt idx="11">
                  <c:v>14</c:v>
                </c:pt>
                <c:pt idx="12">
                  <c:v>85</c:v>
                </c:pt>
                <c:pt idx="13">
                  <c:v>75</c:v>
                </c:pt>
              </c:numCache>
            </c:numRef>
          </c:val>
          <c:extLst>
            <c:ext xmlns:c16="http://schemas.microsoft.com/office/drawing/2014/chart" uri="{C3380CC4-5D6E-409C-BE32-E72D297353CC}">
              <c16:uniqueId val="{00000002-D39E-4906-87A1-399168611A11}"/>
            </c:ext>
          </c:extLst>
        </c:ser>
        <c:dLbls>
          <c:showLegendKey val="0"/>
          <c:showVal val="0"/>
          <c:showCatName val="0"/>
          <c:showSerName val="0"/>
          <c:showPercent val="0"/>
          <c:showBubbleSize val="0"/>
        </c:dLbls>
        <c:gapWidth val="219"/>
        <c:overlap val="-27"/>
        <c:axId val="461603888"/>
        <c:axId val="461597984"/>
      </c:barChart>
      <c:catAx>
        <c:axId val="461603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crossAx val="461597984"/>
        <c:crosses val="autoZero"/>
        <c:auto val="1"/>
        <c:lblAlgn val="ctr"/>
        <c:lblOffset val="100"/>
        <c:noMultiLvlLbl val="0"/>
      </c:catAx>
      <c:valAx>
        <c:axId val="461597984"/>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crossAx val="461603888"/>
        <c:crosses val="autoZero"/>
        <c:crossBetween val="between"/>
        <c:majorUnit val="20"/>
      </c:valAx>
      <c:spPr>
        <a:noFill/>
        <a:ln>
          <a:noFill/>
        </a:ln>
        <a:effectLst/>
      </c:spPr>
    </c:plotArea>
    <c:legend>
      <c:legendPos val="b"/>
      <c:layout>
        <c:manualLayout>
          <c:xMode val="edge"/>
          <c:yMode val="edge"/>
          <c:x val="5.4346222987330141E-2"/>
          <c:y val="1.0485854497096991E-2"/>
          <c:w val="0.27422344500141005"/>
          <c:h val="0.1447674995349990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347746969743712E-2"/>
          <c:y val="0.13468914239786395"/>
          <c:w val="0.94379783310789067"/>
          <c:h val="0.69928610502689303"/>
        </c:manualLayout>
      </c:layout>
      <c:barChart>
        <c:barDir val="col"/>
        <c:grouping val="clustered"/>
        <c:varyColors val="0"/>
        <c:ser>
          <c:idx val="1"/>
          <c:order val="0"/>
          <c:tx>
            <c:strRef>
              <c:f>Feuil1!$B$1</c:f>
              <c:strCache>
                <c:ptCount val="1"/>
                <c:pt idx="0">
                  <c:v>MYR301</c:v>
                </c:pt>
              </c:strCache>
            </c:strRef>
          </c:tx>
          <c:spPr>
            <a:solidFill>
              <a:srgbClr val="A7212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0"/>
                    </a:solidFill>
                    <a:latin typeface="Trebuchet MS" panose="020B0603020202020204" pitchFamily="34" charset="0"/>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Virologic response </c:v>
                </c:pt>
                <c:pt idx="1">
                  <c:v>ALT normalization</c:v>
                </c:pt>
                <c:pt idx="2">
                  <c:v>Combined response</c:v>
                </c:pt>
              </c:strCache>
            </c:strRef>
          </c:cat>
          <c:val>
            <c:numRef>
              <c:f>Feuil1!$B$2:$B$4</c:f>
              <c:numCache>
                <c:formatCode>General</c:formatCode>
                <c:ptCount val="3"/>
                <c:pt idx="0">
                  <c:v>71</c:v>
                </c:pt>
                <c:pt idx="1">
                  <c:v>51</c:v>
                </c:pt>
                <c:pt idx="2">
                  <c:v>45</c:v>
                </c:pt>
              </c:numCache>
            </c:numRef>
          </c:val>
          <c:extLst>
            <c:ext xmlns:c16="http://schemas.microsoft.com/office/drawing/2014/chart" uri="{C3380CC4-5D6E-409C-BE32-E72D297353CC}">
              <c16:uniqueId val="{00000000-4A36-44AB-94D1-A84BCA195C40}"/>
            </c:ext>
          </c:extLst>
        </c:ser>
        <c:ser>
          <c:idx val="2"/>
          <c:order val="1"/>
          <c:tx>
            <c:strRef>
              <c:f>Feuil1!$D$1</c:f>
              <c:strCache>
                <c:ptCount val="1"/>
                <c:pt idx="0">
                  <c:v>Italy (Degasperi)</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0"/>
                    </a:solidFill>
                    <a:latin typeface="Trebuchet MS" panose="020B0603020202020204" pitchFamily="34" charset="0"/>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Virologic response </c:v>
                </c:pt>
                <c:pt idx="1">
                  <c:v>ALT normalization</c:v>
                </c:pt>
                <c:pt idx="2">
                  <c:v>Combined response</c:v>
                </c:pt>
              </c:strCache>
            </c:strRef>
          </c:cat>
          <c:val>
            <c:numRef>
              <c:f>Feuil1!$D$2:$D$4</c:f>
              <c:numCache>
                <c:formatCode>General</c:formatCode>
                <c:ptCount val="3"/>
                <c:pt idx="0">
                  <c:v>78</c:v>
                </c:pt>
                <c:pt idx="1">
                  <c:v>56</c:v>
                </c:pt>
                <c:pt idx="2">
                  <c:v>50</c:v>
                </c:pt>
              </c:numCache>
            </c:numRef>
          </c:val>
          <c:extLst>
            <c:ext xmlns:c16="http://schemas.microsoft.com/office/drawing/2014/chart" uri="{C3380CC4-5D6E-409C-BE32-E72D297353CC}">
              <c16:uniqueId val="{00000001-4A36-44AB-94D1-A84BCA195C40}"/>
            </c:ext>
          </c:extLst>
        </c:ser>
        <c:ser>
          <c:idx val="3"/>
          <c:order val="2"/>
          <c:tx>
            <c:strRef>
              <c:f>Feuil1!$C$1</c:f>
              <c:strCache>
                <c:ptCount val="1"/>
                <c:pt idx="0">
                  <c:v>France (de Lédinghen)</c:v>
                </c:pt>
              </c:strCache>
            </c:strRef>
          </c:tx>
          <c:spPr>
            <a:solidFill>
              <a:srgbClr val="163974"/>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0000"/>
                    </a:solidFill>
                    <a:latin typeface="Trebuchet MS" panose="020B0603020202020204" pitchFamily="34" charset="0"/>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Virologic response </c:v>
                </c:pt>
                <c:pt idx="1">
                  <c:v>ALT normalization</c:v>
                </c:pt>
                <c:pt idx="2">
                  <c:v>Combined response</c:v>
                </c:pt>
              </c:strCache>
            </c:strRef>
          </c:cat>
          <c:val>
            <c:numRef>
              <c:f>Feuil1!$C$2:$C$4</c:f>
              <c:numCache>
                <c:formatCode>General</c:formatCode>
                <c:ptCount val="3"/>
                <c:pt idx="0">
                  <c:v>68</c:v>
                </c:pt>
                <c:pt idx="1">
                  <c:v>49</c:v>
                </c:pt>
                <c:pt idx="2">
                  <c:v>39</c:v>
                </c:pt>
              </c:numCache>
            </c:numRef>
          </c:val>
          <c:extLst>
            <c:ext xmlns:c16="http://schemas.microsoft.com/office/drawing/2014/chart" uri="{C3380CC4-5D6E-409C-BE32-E72D297353CC}">
              <c16:uniqueId val="{00000002-4A36-44AB-94D1-A84BCA195C40}"/>
            </c:ext>
          </c:extLst>
        </c:ser>
        <c:ser>
          <c:idx val="0"/>
          <c:order val="3"/>
          <c:tx>
            <c:strRef>
              <c:f>Feuil1!$E$1</c:f>
              <c:strCache>
                <c:ptCount val="1"/>
                <c:pt idx="0">
                  <c:v>France (Fontaine)</c:v>
                </c:pt>
              </c:strCache>
            </c:strRef>
          </c:tx>
          <c:spPr>
            <a:solidFill>
              <a:srgbClr val="455F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0"/>
                    </a:solidFill>
                    <a:latin typeface="Trebuchet MS" panose="020B0603020202020204" pitchFamily="34" charset="0"/>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Virologic response </c:v>
                </c:pt>
                <c:pt idx="1">
                  <c:v>ALT normalization</c:v>
                </c:pt>
                <c:pt idx="2">
                  <c:v>Combined response</c:v>
                </c:pt>
              </c:strCache>
            </c:strRef>
          </c:cat>
          <c:val>
            <c:numRef>
              <c:f>Feuil1!$E$2:$E$4</c:f>
              <c:numCache>
                <c:formatCode>General</c:formatCode>
                <c:ptCount val="3"/>
                <c:pt idx="0">
                  <c:v>69</c:v>
                </c:pt>
                <c:pt idx="1">
                  <c:v>61</c:v>
                </c:pt>
                <c:pt idx="2">
                  <c:v>31</c:v>
                </c:pt>
              </c:numCache>
            </c:numRef>
          </c:val>
          <c:extLst>
            <c:ext xmlns:c16="http://schemas.microsoft.com/office/drawing/2014/chart" uri="{C3380CC4-5D6E-409C-BE32-E72D297353CC}">
              <c16:uniqueId val="{00000003-4A36-44AB-94D1-A84BCA195C40}"/>
            </c:ext>
          </c:extLst>
        </c:ser>
        <c:ser>
          <c:idx val="4"/>
          <c:order val="4"/>
          <c:tx>
            <c:strRef>
              <c:f>Feuil1!$F$1</c:f>
              <c:strCache>
                <c:ptCount val="1"/>
                <c:pt idx="0">
                  <c:v>Germany (Killer)</c:v>
                </c:pt>
              </c:strCache>
            </c:strRef>
          </c:tx>
          <c:spPr>
            <a:solidFill>
              <a:srgbClr val="F6C6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000000"/>
                    </a:solidFill>
                    <a:latin typeface="Trebuchet MS" panose="020B0603020202020204" pitchFamily="34" charset="0"/>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Virologic response </c:v>
                </c:pt>
                <c:pt idx="1">
                  <c:v>ALT normalization</c:v>
                </c:pt>
                <c:pt idx="2">
                  <c:v>Combined response</c:v>
                </c:pt>
              </c:strCache>
            </c:strRef>
          </c:cat>
          <c:val>
            <c:numRef>
              <c:f>Feuil1!$F$2:$F$4</c:f>
              <c:numCache>
                <c:formatCode>General</c:formatCode>
                <c:ptCount val="3"/>
                <c:pt idx="1">
                  <c:v>62</c:v>
                </c:pt>
                <c:pt idx="2">
                  <c:v>33</c:v>
                </c:pt>
              </c:numCache>
            </c:numRef>
          </c:val>
          <c:extLst>
            <c:ext xmlns:c16="http://schemas.microsoft.com/office/drawing/2014/chart" uri="{C3380CC4-5D6E-409C-BE32-E72D297353CC}">
              <c16:uniqueId val="{00000004-4A36-44AB-94D1-A84BCA195C40}"/>
            </c:ext>
          </c:extLst>
        </c:ser>
        <c:dLbls>
          <c:showLegendKey val="0"/>
          <c:showVal val="1"/>
          <c:showCatName val="0"/>
          <c:showSerName val="0"/>
          <c:showPercent val="0"/>
          <c:showBubbleSize val="0"/>
        </c:dLbls>
        <c:gapWidth val="75"/>
        <c:overlap val="-10"/>
        <c:axId val="311074504"/>
        <c:axId val="311076856"/>
      </c:barChart>
      <c:catAx>
        <c:axId val="311074504"/>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197" b="1" i="0" u="none" strike="noStrike" kern="1200" baseline="0">
                <a:solidFill>
                  <a:srgbClr val="000000"/>
                </a:solidFill>
                <a:latin typeface="Trebuchet MS" panose="020B0603020202020204" pitchFamily="34" charset="0"/>
                <a:ea typeface="+mn-ea"/>
                <a:cs typeface="+mn-cs"/>
              </a:defRPr>
            </a:pPr>
            <a:endParaRPr lang="el-GR"/>
          </a:p>
        </c:txPr>
        <c:crossAx val="311076856"/>
        <c:crosses val="autoZero"/>
        <c:auto val="1"/>
        <c:lblAlgn val="ctr"/>
        <c:lblOffset val="10"/>
        <c:noMultiLvlLbl val="0"/>
      </c:catAx>
      <c:valAx>
        <c:axId val="311076856"/>
        <c:scaling>
          <c:orientation val="minMax"/>
          <c:max val="100"/>
        </c:scaling>
        <c:delete val="0"/>
        <c:axPos val="l"/>
        <c:title>
          <c:tx>
            <c:rich>
              <a:bodyPr rot="-5400000" spcFirstLastPara="1" vertOverflow="ellipsis" vert="horz" wrap="square" anchor="ctr" anchorCtr="1"/>
              <a:lstStyle/>
              <a:p>
                <a:pPr>
                  <a:defRPr sz="1330" b="1" i="0" u="none" strike="noStrike" kern="1200" baseline="0">
                    <a:solidFill>
                      <a:srgbClr val="000000"/>
                    </a:solidFill>
                    <a:latin typeface="Trebuchet MS" panose="020B0603020202020204" pitchFamily="34" charset="0"/>
                    <a:ea typeface="+mn-ea"/>
                    <a:cs typeface="+mn-cs"/>
                  </a:defRPr>
                </a:pPr>
                <a:r>
                  <a:rPr lang="en-US" b="1"/>
                  <a:t>Individuals, %</a:t>
                </a:r>
              </a:p>
            </c:rich>
          </c:tx>
          <c:layout>
            <c:manualLayout>
              <c:xMode val="edge"/>
              <c:yMode val="edge"/>
              <c:x val="0"/>
              <c:y val="0.32860000533553507"/>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rgbClr val="000000"/>
                  </a:solidFill>
                  <a:latin typeface="Trebuchet MS" panose="020B0603020202020204" pitchFamily="34" charset="0"/>
                  <a:ea typeface="+mn-ea"/>
                  <a:cs typeface="+mn-cs"/>
                </a:defRPr>
              </a:pPr>
              <a:endParaRPr lang="el-GR"/>
            </a:p>
          </c:txPr>
        </c:title>
        <c:numFmt formatCode="General" sourceLinked="1"/>
        <c:majorTickMark val="none"/>
        <c:minorTickMark val="none"/>
        <c:tickLblPos val="nextTo"/>
        <c:spPr>
          <a:noFill/>
          <a:ln w="9525">
            <a:solidFill>
              <a:srgbClr val="000000"/>
            </a:solidFill>
          </a:ln>
          <a:effectLst/>
        </c:spPr>
        <c:txPr>
          <a:bodyPr rot="-60000000" spcFirstLastPara="1" vertOverflow="ellipsis" vert="horz" wrap="square" anchor="ctr" anchorCtr="1"/>
          <a:lstStyle/>
          <a:p>
            <a:pPr>
              <a:defRPr sz="1197" b="0" i="0" u="none" strike="noStrike" kern="1200" baseline="0">
                <a:solidFill>
                  <a:srgbClr val="000000"/>
                </a:solidFill>
                <a:latin typeface="Trebuchet MS" panose="020B0603020202020204" pitchFamily="34" charset="0"/>
                <a:ea typeface="+mn-ea"/>
                <a:cs typeface="+mn-cs"/>
              </a:defRPr>
            </a:pPr>
            <a:endParaRPr lang="el-GR"/>
          </a:p>
        </c:txPr>
        <c:crossAx val="311074504"/>
        <c:crosses val="autoZero"/>
        <c:crossBetween val="between"/>
        <c:majorUnit val="20"/>
      </c:valAx>
      <c:spPr>
        <a:noFill/>
        <a:ln>
          <a:noFill/>
        </a:ln>
        <a:effectLst/>
      </c:spPr>
    </c:plotArea>
    <c:legend>
      <c:legendPos val="t"/>
      <c:layout>
        <c:manualLayout>
          <c:xMode val="edge"/>
          <c:yMode val="edge"/>
          <c:x val="7.0984596164906155E-2"/>
          <c:y val="0"/>
          <c:w val="0.90826031394862261"/>
          <c:h val="6.5722081267489366E-2"/>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000000"/>
              </a:solidFill>
              <a:latin typeface="Trebuchet MS" panose="020B0603020202020204" pitchFamily="34" charset="0"/>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000000"/>
          </a:solidFill>
          <a:latin typeface="Trebuchet MS" panose="020B0603020202020204" pitchFamily="34" charset="0"/>
        </a:defRPr>
      </a:pPr>
      <a:endParaRPr lang="el-G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039911308203997E-2"/>
          <c:y val="6.8085106382978725E-2"/>
          <c:w val="0.9079822616407982"/>
          <c:h val="0.78723404255319385"/>
        </c:manualLayout>
      </c:layout>
      <c:barChart>
        <c:barDir val="col"/>
        <c:grouping val="clustered"/>
        <c:varyColors val="0"/>
        <c:ser>
          <c:idx val="0"/>
          <c:order val="0"/>
          <c:tx>
            <c:strRef>
              <c:f>Sheet1!$A$2</c:f>
              <c:strCache>
                <c:ptCount val="1"/>
                <c:pt idx="0">
                  <c:v>East</c:v>
                </c:pt>
              </c:strCache>
            </c:strRef>
          </c:tx>
          <c:spPr>
            <a:solidFill>
              <a:schemeClr val="accent1"/>
            </a:solidFill>
            <a:ln w="13055">
              <a:solidFill>
                <a:schemeClr val="tx1"/>
              </a:solidFill>
              <a:prstDash val="solid"/>
            </a:ln>
          </c:spPr>
          <c:invertIfNegative val="0"/>
          <c:dLbls>
            <c:spPr>
              <a:noFill/>
              <a:ln w="26110">
                <a:noFill/>
              </a:ln>
            </c:spPr>
            <c:txPr>
              <a:bodyPr/>
              <a:lstStyle/>
              <a:p>
                <a:pPr>
                  <a:defRPr sz="1850" b="1" i="0" u="none" strike="noStrike" baseline="0">
                    <a:solidFill>
                      <a:schemeClr val="tx1"/>
                    </a:solidFill>
                    <a:latin typeface="Arial"/>
                    <a:ea typeface="Arial"/>
                    <a:cs typeface="Arial"/>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H$1</c:f>
              <c:strCache>
                <c:ptCount val="7"/>
                <c:pt idx="0">
                  <c:v>IFN-24wk</c:v>
                </c:pt>
                <c:pt idx="1">
                  <c:v>IFN-48wk</c:v>
                </c:pt>
                <c:pt idx="2">
                  <c:v>IFN+R</c:v>
                </c:pt>
                <c:pt idx="3">
                  <c:v>PR</c:v>
                </c:pt>
                <c:pt idx="4">
                  <c:v>PR±PI</c:v>
                </c:pt>
                <c:pt idx="5">
                  <c:v>PR±DAA</c:v>
                </c:pt>
                <c:pt idx="6">
                  <c:v>DAAs±R</c:v>
                </c:pt>
              </c:strCache>
            </c:strRef>
          </c:cat>
          <c:val>
            <c:numRef>
              <c:f>Sheet1!$B$2:$H$2</c:f>
              <c:numCache>
                <c:formatCode>General</c:formatCode>
                <c:ptCount val="7"/>
                <c:pt idx="0">
                  <c:v>6</c:v>
                </c:pt>
                <c:pt idx="1">
                  <c:v>16</c:v>
                </c:pt>
                <c:pt idx="2">
                  <c:v>45</c:v>
                </c:pt>
                <c:pt idx="3">
                  <c:v>55</c:v>
                </c:pt>
                <c:pt idx="4">
                  <c:v>75</c:v>
                </c:pt>
                <c:pt idx="5">
                  <c:v>90</c:v>
                </c:pt>
                <c:pt idx="6">
                  <c:v>95</c:v>
                </c:pt>
              </c:numCache>
            </c:numRef>
          </c:val>
          <c:extLst>
            <c:ext xmlns:c16="http://schemas.microsoft.com/office/drawing/2014/chart" uri="{C3380CC4-5D6E-409C-BE32-E72D297353CC}">
              <c16:uniqueId val="{00000000-E741-470F-9E75-A74D86A8ADA4}"/>
            </c:ext>
          </c:extLst>
        </c:ser>
        <c:dLbls>
          <c:showLegendKey val="0"/>
          <c:showVal val="0"/>
          <c:showCatName val="0"/>
          <c:showSerName val="0"/>
          <c:showPercent val="0"/>
          <c:showBubbleSize val="0"/>
        </c:dLbls>
        <c:gapWidth val="150"/>
        <c:axId val="263862912"/>
        <c:axId val="263868800"/>
      </c:barChart>
      <c:catAx>
        <c:axId val="263862912"/>
        <c:scaling>
          <c:orientation val="minMax"/>
        </c:scaling>
        <c:delete val="0"/>
        <c:axPos val="b"/>
        <c:numFmt formatCode="General" sourceLinked="1"/>
        <c:majorTickMark val="out"/>
        <c:minorTickMark val="none"/>
        <c:tickLblPos val="nextTo"/>
        <c:spPr>
          <a:ln w="3264">
            <a:solidFill>
              <a:schemeClr val="tx1"/>
            </a:solidFill>
            <a:prstDash val="solid"/>
          </a:ln>
        </c:spPr>
        <c:txPr>
          <a:bodyPr rot="0" vert="horz"/>
          <a:lstStyle/>
          <a:p>
            <a:pPr>
              <a:defRPr sz="1850" b="1" i="0" u="none" strike="noStrike" baseline="0">
                <a:solidFill>
                  <a:schemeClr val="tx1"/>
                </a:solidFill>
                <a:latin typeface="Arial"/>
                <a:ea typeface="Arial"/>
                <a:cs typeface="Arial"/>
              </a:defRPr>
            </a:pPr>
            <a:endParaRPr lang="el-GR"/>
          </a:p>
        </c:txPr>
        <c:crossAx val="263868800"/>
        <c:crosses val="autoZero"/>
        <c:auto val="1"/>
        <c:lblAlgn val="ctr"/>
        <c:lblOffset val="100"/>
        <c:tickLblSkip val="1"/>
        <c:tickMarkSkip val="1"/>
        <c:noMultiLvlLbl val="0"/>
      </c:catAx>
      <c:valAx>
        <c:axId val="263868800"/>
        <c:scaling>
          <c:orientation val="minMax"/>
          <c:max val="100"/>
        </c:scaling>
        <c:delete val="0"/>
        <c:axPos val="l"/>
        <c:numFmt formatCode="General" sourceLinked="1"/>
        <c:majorTickMark val="out"/>
        <c:minorTickMark val="none"/>
        <c:tickLblPos val="nextTo"/>
        <c:spPr>
          <a:ln w="3264">
            <a:solidFill>
              <a:schemeClr val="tx1"/>
            </a:solidFill>
            <a:prstDash val="solid"/>
          </a:ln>
        </c:spPr>
        <c:txPr>
          <a:bodyPr rot="0" vert="horz"/>
          <a:lstStyle/>
          <a:p>
            <a:pPr>
              <a:defRPr sz="1850" b="1" i="0" u="none" strike="noStrike" baseline="0">
                <a:solidFill>
                  <a:schemeClr val="tx1"/>
                </a:solidFill>
                <a:latin typeface="Arial"/>
                <a:ea typeface="Arial"/>
                <a:cs typeface="Arial"/>
              </a:defRPr>
            </a:pPr>
            <a:endParaRPr lang="el-GR"/>
          </a:p>
        </c:txPr>
        <c:crossAx val="263862912"/>
        <c:crosses val="autoZero"/>
        <c:crossBetween val="between"/>
        <c:majorUnit val="20"/>
      </c:valAx>
      <c:spPr>
        <a:noFill/>
        <a:ln w="26110">
          <a:noFill/>
        </a:ln>
      </c:spPr>
    </c:plotArea>
    <c:plotVisOnly val="1"/>
    <c:dispBlanksAs val="gap"/>
    <c:showDLblsOverMax val="0"/>
  </c:chart>
  <c:spPr>
    <a:noFill/>
    <a:ln>
      <a:noFill/>
    </a:ln>
  </c:spPr>
  <c:txPr>
    <a:bodyPr/>
    <a:lstStyle/>
    <a:p>
      <a:pPr>
        <a:defRPr sz="1850" b="1" i="0" u="none" strike="noStrike" baseline="0">
          <a:solidFill>
            <a:schemeClr val="tx1"/>
          </a:solidFill>
          <a:latin typeface="Arial"/>
          <a:ea typeface="Arial"/>
          <a:cs typeface="Arial"/>
        </a:defRPr>
      </a:pPr>
      <a:endParaRPr lang="el-G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706672542886848"/>
          <c:y val="0.24952792052010134"/>
          <c:w val="0.85535226919413132"/>
          <c:h val="0.58202691616844293"/>
        </c:manualLayout>
      </c:layout>
      <c:barChart>
        <c:barDir val="col"/>
        <c:grouping val="clustered"/>
        <c:varyColors val="0"/>
        <c:ser>
          <c:idx val="0"/>
          <c:order val="0"/>
          <c:tx>
            <c:strRef>
              <c:f>Sheet1!$B$1</c:f>
              <c:strCache>
                <c:ptCount val="1"/>
                <c:pt idx="0">
                  <c:v>8 week G/P</c:v>
                </c:pt>
              </c:strCache>
            </c:strRef>
          </c:tx>
          <c:spPr>
            <a:solidFill>
              <a:srgbClr val="0070C0"/>
            </a:solidFill>
          </c:spPr>
          <c:invertIfNegative val="0"/>
          <c:dPt>
            <c:idx val="0"/>
            <c:invertIfNegative val="0"/>
            <c:bubble3D val="0"/>
            <c:extLst>
              <c:ext xmlns:c16="http://schemas.microsoft.com/office/drawing/2014/chart" uri="{C3380CC4-5D6E-409C-BE32-E72D297353CC}">
                <c16:uniqueId val="{00000000-152E-4EB2-A78B-877BFC9447E9}"/>
              </c:ext>
            </c:extLst>
          </c:dPt>
          <c:dPt>
            <c:idx val="1"/>
            <c:invertIfNegative val="0"/>
            <c:bubble3D val="0"/>
            <c:extLst>
              <c:ext xmlns:c16="http://schemas.microsoft.com/office/drawing/2014/chart" uri="{C3380CC4-5D6E-409C-BE32-E72D297353CC}">
                <c16:uniqueId val="{00000001-152E-4EB2-A78B-877BFC9447E9}"/>
              </c:ext>
            </c:extLst>
          </c:dPt>
          <c:dPt>
            <c:idx val="2"/>
            <c:invertIfNegative val="0"/>
            <c:bubble3D val="0"/>
            <c:extLst>
              <c:ext xmlns:c16="http://schemas.microsoft.com/office/drawing/2014/chart" uri="{C3380CC4-5D6E-409C-BE32-E72D297353CC}">
                <c16:uniqueId val="{00000002-152E-4EB2-A78B-877BFC9447E9}"/>
              </c:ext>
            </c:extLst>
          </c:dPt>
          <c:dPt>
            <c:idx val="3"/>
            <c:invertIfNegative val="0"/>
            <c:bubble3D val="0"/>
            <c:extLst>
              <c:ext xmlns:c16="http://schemas.microsoft.com/office/drawing/2014/chart" uri="{C3380CC4-5D6E-409C-BE32-E72D297353CC}">
                <c16:uniqueId val="{00000003-152E-4EB2-A78B-877BFC9447E9}"/>
              </c:ext>
            </c:extLst>
          </c:dPt>
          <c:dLbls>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percentage"/>
            <c:noEndCap val="0"/>
            <c:val val="5"/>
          </c:errBars>
          <c:cat>
            <c:strRef>
              <c:f>Sheet1!$A$2:$A$8</c:f>
              <c:strCache>
                <c:ptCount val="7"/>
                <c:pt idx="0">
                  <c:v>Overall</c:v>
                </c:pt>
                <c:pt idx="1">
                  <c:v>GT1</c:v>
                </c:pt>
                <c:pt idx="2">
                  <c:v>GT2</c:v>
                </c:pt>
                <c:pt idx="3">
                  <c:v>GT3*</c:v>
                </c:pt>
                <c:pt idx="4">
                  <c:v>GT4</c:v>
                </c:pt>
                <c:pt idx="5">
                  <c:v>GT5</c:v>
                </c:pt>
                <c:pt idx="6">
                  <c:v>GT6</c:v>
                </c:pt>
              </c:strCache>
            </c:strRef>
          </c:cat>
          <c:val>
            <c:numRef>
              <c:f>Sheet1!$B$2:$B$8</c:f>
              <c:numCache>
                <c:formatCode>0.00</c:formatCode>
                <c:ptCount val="7"/>
                <c:pt idx="0">
                  <c:v>98</c:v>
                </c:pt>
                <c:pt idx="1">
                  <c:v>99.8</c:v>
                </c:pt>
                <c:pt idx="2">
                  <c:v>98</c:v>
                </c:pt>
                <c:pt idx="3">
                  <c:v>95</c:v>
                </c:pt>
                <c:pt idx="4">
                  <c:v>95</c:v>
                </c:pt>
                <c:pt idx="5">
                  <c:v>100</c:v>
                </c:pt>
                <c:pt idx="6">
                  <c:v>92</c:v>
                </c:pt>
              </c:numCache>
            </c:numRef>
          </c:val>
          <c:extLst>
            <c:ext xmlns:c16="http://schemas.microsoft.com/office/drawing/2014/chart" uri="{C3380CC4-5D6E-409C-BE32-E72D297353CC}">
              <c16:uniqueId val="{00000004-152E-4EB2-A78B-877BFC9447E9}"/>
            </c:ext>
          </c:extLst>
        </c:ser>
        <c:ser>
          <c:idx val="1"/>
          <c:order val="1"/>
          <c:tx>
            <c:strRef>
              <c:f>Sheet1!$C$1</c:f>
              <c:strCache>
                <c:ptCount val="1"/>
                <c:pt idx="0">
                  <c:v>12 week G/P</c:v>
                </c:pt>
              </c:strCache>
            </c:strRef>
          </c:tx>
          <c:spPr>
            <a:solidFill>
              <a:srgbClr val="8CE2D0"/>
            </a:solidFill>
          </c:spPr>
          <c:invertIfNegative val="0"/>
          <c:dLbls>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percentage"/>
            <c:noEndCap val="0"/>
            <c:val val="5"/>
          </c:errBars>
          <c:cat>
            <c:strRef>
              <c:f>Sheet1!$A$2:$A$8</c:f>
              <c:strCache>
                <c:ptCount val="7"/>
                <c:pt idx="0">
                  <c:v>Overall</c:v>
                </c:pt>
                <c:pt idx="1">
                  <c:v>GT1</c:v>
                </c:pt>
                <c:pt idx="2">
                  <c:v>GT2</c:v>
                </c:pt>
                <c:pt idx="3">
                  <c:v>GT3*</c:v>
                </c:pt>
                <c:pt idx="4">
                  <c:v>GT4</c:v>
                </c:pt>
                <c:pt idx="5">
                  <c:v>GT5</c:v>
                </c:pt>
                <c:pt idx="6">
                  <c:v>GT6</c:v>
                </c:pt>
              </c:strCache>
            </c:strRef>
          </c:cat>
          <c:val>
            <c:numRef>
              <c:f>Sheet1!$C$2:$C$8</c:f>
              <c:numCache>
                <c:formatCode>0.00</c:formatCode>
                <c:ptCount val="7"/>
                <c:pt idx="0">
                  <c:v>99</c:v>
                </c:pt>
                <c:pt idx="1">
                  <c:v>100</c:v>
                </c:pt>
                <c:pt idx="2">
                  <c:v>99</c:v>
                </c:pt>
                <c:pt idx="3">
                  <c:v>96</c:v>
                </c:pt>
                <c:pt idx="4">
                  <c:v>99</c:v>
                </c:pt>
                <c:pt idx="5">
                  <c:v>100</c:v>
                </c:pt>
                <c:pt idx="6">
                  <c:v>100</c:v>
                </c:pt>
              </c:numCache>
            </c:numRef>
          </c:val>
          <c:extLst>
            <c:ext xmlns:c16="http://schemas.microsoft.com/office/drawing/2014/chart" uri="{C3380CC4-5D6E-409C-BE32-E72D297353CC}">
              <c16:uniqueId val="{00000005-152E-4EB2-A78B-877BFC9447E9}"/>
            </c:ext>
          </c:extLst>
        </c:ser>
        <c:dLbls>
          <c:showLegendKey val="0"/>
          <c:showVal val="0"/>
          <c:showCatName val="0"/>
          <c:showSerName val="0"/>
          <c:showPercent val="0"/>
          <c:showBubbleSize val="0"/>
        </c:dLbls>
        <c:gapWidth val="25"/>
        <c:axId val="181055488"/>
        <c:axId val="181057024"/>
      </c:barChart>
      <c:catAx>
        <c:axId val="181055488"/>
        <c:scaling>
          <c:orientation val="minMax"/>
        </c:scaling>
        <c:delete val="0"/>
        <c:axPos val="b"/>
        <c:numFmt formatCode="General" sourceLinked="0"/>
        <c:majorTickMark val="out"/>
        <c:minorTickMark val="none"/>
        <c:tickLblPos val="nextTo"/>
        <c:spPr>
          <a:ln w="28575"/>
        </c:spPr>
        <c:crossAx val="181057024"/>
        <c:crosses val="autoZero"/>
        <c:auto val="1"/>
        <c:lblAlgn val="ctr"/>
        <c:lblOffset val="100"/>
        <c:noMultiLvlLbl val="0"/>
      </c:catAx>
      <c:valAx>
        <c:axId val="181057024"/>
        <c:scaling>
          <c:orientation val="minMax"/>
          <c:max val="100"/>
          <c:min val="0"/>
        </c:scaling>
        <c:delete val="0"/>
        <c:axPos val="l"/>
        <c:title>
          <c:tx>
            <c:rich>
              <a:bodyPr rot="-5400000" vert="horz"/>
              <a:lstStyle/>
              <a:p>
                <a:pPr>
                  <a:defRPr/>
                </a:pPr>
                <a:r>
                  <a:rPr lang="en-US" dirty="0"/>
                  <a:t>SVR12, ITT (%)</a:t>
                </a:r>
              </a:p>
            </c:rich>
          </c:tx>
          <c:layout>
            <c:manualLayout>
              <c:xMode val="edge"/>
              <c:yMode val="edge"/>
              <c:x val="1.3826526550205227E-2"/>
              <c:y val="0.40653067199665244"/>
            </c:manualLayout>
          </c:layout>
          <c:overlay val="0"/>
        </c:title>
        <c:numFmt formatCode="0" sourceLinked="0"/>
        <c:majorTickMark val="out"/>
        <c:minorTickMark val="none"/>
        <c:tickLblPos val="nextTo"/>
        <c:spPr>
          <a:ln w="28575"/>
        </c:spPr>
        <c:crossAx val="181055488"/>
        <c:crosses val="autoZero"/>
        <c:crossBetween val="between"/>
        <c:majorUnit val="20"/>
        <c:minorUnit val="4"/>
      </c:valAx>
    </c:plotArea>
    <c:legend>
      <c:legendPos val="t"/>
      <c:layout>
        <c:manualLayout>
          <c:xMode val="edge"/>
          <c:yMode val="edge"/>
          <c:x val="0.23204701896101584"/>
          <c:y val="4.3644325523429874E-2"/>
          <c:w val="0.579313280059923"/>
          <c:h val="0.10744021254095618"/>
        </c:manualLayout>
      </c:layout>
      <c:overlay val="0"/>
    </c:legend>
    <c:plotVisOnly val="1"/>
    <c:dispBlanksAs val="gap"/>
    <c:showDLblsOverMax val="0"/>
  </c:chart>
  <c:txPr>
    <a:bodyPr/>
    <a:lstStyle/>
    <a:p>
      <a:pPr>
        <a:defRPr sz="1600"/>
      </a:pPr>
      <a:endParaRPr lang="el-G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invertIfNegative val="0"/>
          <c:val>
            <c:numRef>
              <c:f>Φύλλο1!$B$2:$B$5</c:f>
              <c:numCache>
                <c:formatCode>General</c:formatCode>
                <c:ptCount val="4"/>
                <c:pt idx="0">
                  <c:v>100</c:v>
                </c:pt>
                <c:pt idx="3">
                  <c:v>10</c:v>
                </c:pt>
              </c:numCache>
            </c:numRef>
          </c:val>
          <c:extLst>
            <c:ext xmlns:c16="http://schemas.microsoft.com/office/drawing/2014/chart" uri="{C3380CC4-5D6E-409C-BE32-E72D297353CC}">
              <c16:uniqueId val="{00000000-5F2F-47EB-A5E5-DB86A939E60A}"/>
            </c:ext>
          </c:extLst>
        </c:ser>
        <c:dLbls>
          <c:showLegendKey val="0"/>
          <c:showVal val="0"/>
          <c:showCatName val="0"/>
          <c:showSerName val="0"/>
          <c:showPercent val="0"/>
          <c:showBubbleSize val="0"/>
        </c:dLbls>
        <c:gapWidth val="150"/>
        <c:axId val="80788864"/>
        <c:axId val="81545088"/>
      </c:barChart>
      <c:catAx>
        <c:axId val="80788864"/>
        <c:scaling>
          <c:orientation val="minMax"/>
        </c:scaling>
        <c:delete val="1"/>
        <c:axPos val="b"/>
        <c:majorTickMark val="out"/>
        <c:minorTickMark val="none"/>
        <c:tickLblPos val="none"/>
        <c:crossAx val="81545088"/>
        <c:crosses val="autoZero"/>
        <c:auto val="1"/>
        <c:lblAlgn val="ctr"/>
        <c:lblOffset val="100"/>
        <c:noMultiLvlLbl val="0"/>
      </c:catAx>
      <c:valAx>
        <c:axId val="81545088"/>
        <c:scaling>
          <c:orientation val="minMax"/>
          <c:max val="100"/>
        </c:scaling>
        <c:delete val="1"/>
        <c:axPos val="l"/>
        <c:numFmt formatCode="General" sourceLinked="1"/>
        <c:majorTickMark val="out"/>
        <c:minorTickMark val="none"/>
        <c:tickLblPos val="none"/>
        <c:crossAx val="80788864"/>
        <c:crosses val="autoZero"/>
        <c:crossBetween val="between"/>
        <c:majorUnit val="20"/>
      </c:valAx>
    </c:plotArea>
    <c:plotVisOnly val="1"/>
    <c:dispBlanksAs val="gap"/>
    <c:showDLblsOverMax val="0"/>
  </c:chart>
  <c:txPr>
    <a:bodyPr/>
    <a:lstStyle/>
    <a:p>
      <a:pPr>
        <a:defRPr sz="1802"/>
      </a:pPr>
      <a:endParaRPr lang="el-G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5346" name="Rectangle 2"/>
          <p:cNvSpPr>
            <a:spLocks noGrp="1" noChangeArrowheads="1"/>
          </p:cNvSpPr>
          <p:nvPr>
            <p:ph type="hdr" sz="quarter"/>
          </p:nvPr>
        </p:nvSpPr>
        <p:spPr bwMode="auto">
          <a:xfrm>
            <a:off x="0" y="0"/>
            <a:ext cx="4267200" cy="381000"/>
          </a:xfrm>
          <a:prstGeom prst="rect">
            <a:avLst/>
          </a:prstGeom>
          <a:noFill/>
          <a:ln w="12700">
            <a:noFill/>
            <a:miter lim="800000"/>
            <a:headEnd type="none" w="sm" len="sm"/>
            <a:tailEnd type="none" w="sm" len="sm"/>
          </a:ln>
          <a:effectLst/>
        </p:spPr>
        <p:txBody>
          <a:bodyPr vert="horz" wrap="square" lIns="91440" tIns="45720" rIns="91440" bIns="45720" numCol="1" anchor="t" anchorCtr="0" compatLnSpc="1">
            <a:prstTxWarp prst="textNoShape">
              <a:avLst/>
            </a:prstTxWarp>
          </a:bodyPr>
          <a:lstStyle>
            <a:lvl1pPr eaLnBrk="0" hangingPunct="0">
              <a:defRPr sz="1200" b="0">
                <a:latin typeface="Arial" charset="0"/>
                <a:cs typeface="+mn-cs"/>
              </a:defRPr>
            </a:lvl1pPr>
          </a:lstStyle>
          <a:p>
            <a:pPr>
              <a:defRPr/>
            </a:pPr>
            <a:endParaRPr lang="el-GR"/>
          </a:p>
        </p:txBody>
      </p:sp>
      <p:sp>
        <p:nvSpPr>
          <p:cNvPr id="185347" name="Rectangle 3"/>
          <p:cNvSpPr>
            <a:spLocks noGrp="1" noChangeArrowheads="1"/>
          </p:cNvSpPr>
          <p:nvPr>
            <p:ph type="dt" sz="quarter" idx="1"/>
          </p:nvPr>
        </p:nvSpPr>
        <p:spPr bwMode="auto">
          <a:xfrm>
            <a:off x="5562600" y="0"/>
            <a:ext cx="4343400" cy="381000"/>
          </a:xfrm>
          <a:prstGeom prst="rect">
            <a:avLst/>
          </a:prstGeom>
          <a:noFill/>
          <a:ln w="12700">
            <a:noFill/>
            <a:miter lim="800000"/>
            <a:headEnd type="none" w="sm" len="sm"/>
            <a:tailEnd type="none" w="sm" len="sm"/>
          </a:ln>
          <a:effectLst/>
        </p:spPr>
        <p:txBody>
          <a:bodyPr vert="horz" wrap="square" lIns="91440" tIns="45720" rIns="91440" bIns="45720" numCol="1" anchor="t" anchorCtr="0" compatLnSpc="1">
            <a:prstTxWarp prst="textNoShape">
              <a:avLst/>
            </a:prstTxWarp>
          </a:bodyPr>
          <a:lstStyle>
            <a:lvl1pPr algn="r" eaLnBrk="0" hangingPunct="0">
              <a:defRPr sz="1200" b="0">
                <a:latin typeface="Arial" charset="0"/>
                <a:cs typeface="+mn-cs"/>
              </a:defRPr>
            </a:lvl1pPr>
          </a:lstStyle>
          <a:p>
            <a:pPr>
              <a:defRPr/>
            </a:pPr>
            <a:endParaRPr lang="el-GR"/>
          </a:p>
        </p:txBody>
      </p:sp>
      <p:sp>
        <p:nvSpPr>
          <p:cNvPr id="185348" name="Rectangle 4"/>
          <p:cNvSpPr>
            <a:spLocks noGrp="1" noChangeArrowheads="1"/>
          </p:cNvSpPr>
          <p:nvPr>
            <p:ph type="ftr" sz="quarter" idx="2"/>
          </p:nvPr>
        </p:nvSpPr>
        <p:spPr bwMode="auto">
          <a:xfrm>
            <a:off x="0" y="6477000"/>
            <a:ext cx="4267200" cy="381000"/>
          </a:xfrm>
          <a:prstGeom prst="rect">
            <a:avLst/>
          </a:prstGeom>
          <a:noFill/>
          <a:ln w="12700">
            <a:noFill/>
            <a:miter lim="800000"/>
            <a:headEnd type="none" w="sm" len="sm"/>
            <a:tailEnd type="none" w="sm" len="sm"/>
          </a:ln>
          <a:effectLst/>
        </p:spPr>
        <p:txBody>
          <a:bodyPr vert="horz" wrap="square" lIns="91440" tIns="45720" rIns="91440" bIns="45720" numCol="1" anchor="b" anchorCtr="0" compatLnSpc="1">
            <a:prstTxWarp prst="textNoShape">
              <a:avLst/>
            </a:prstTxWarp>
          </a:bodyPr>
          <a:lstStyle>
            <a:lvl1pPr eaLnBrk="0" hangingPunct="0">
              <a:defRPr sz="1200" b="0">
                <a:latin typeface="Arial" charset="0"/>
                <a:cs typeface="+mn-cs"/>
              </a:defRPr>
            </a:lvl1pPr>
          </a:lstStyle>
          <a:p>
            <a:pPr>
              <a:defRPr/>
            </a:pPr>
            <a:endParaRPr lang="el-GR"/>
          </a:p>
        </p:txBody>
      </p:sp>
      <p:sp>
        <p:nvSpPr>
          <p:cNvPr id="185349" name="Rectangle 5"/>
          <p:cNvSpPr>
            <a:spLocks noGrp="1" noChangeArrowheads="1"/>
          </p:cNvSpPr>
          <p:nvPr>
            <p:ph type="sldNum" sz="quarter" idx="3"/>
          </p:nvPr>
        </p:nvSpPr>
        <p:spPr bwMode="auto">
          <a:xfrm>
            <a:off x="5562600" y="6477000"/>
            <a:ext cx="4343400" cy="381000"/>
          </a:xfrm>
          <a:prstGeom prst="rect">
            <a:avLst/>
          </a:prstGeom>
          <a:noFill/>
          <a:ln w="12700">
            <a:noFill/>
            <a:miter lim="800000"/>
            <a:headEnd type="none" w="sm" len="sm"/>
            <a:tailEnd type="none" w="sm" len="sm"/>
          </a:ln>
          <a:effectLst/>
        </p:spPr>
        <p:txBody>
          <a:bodyPr vert="horz" wrap="square" lIns="91440" tIns="45720" rIns="91440" bIns="45720" numCol="1" anchor="b" anchorCtr="0" compatLnSpc="1">
            <a:prstTxWarp prst="textNoShape">
              <a:avLst/>
            </a:prstTxWarp>
          </a:bodyPr>
          <a:lstStyle>
            <a:lvl1pPr algn="r" eaLnBrk="0" hangingPunct="0">
              <a:defRPr sz="1200" b="0">
                <a:latin typeface="Arial" charset="0"/>
                <a:cs typeface="+mn-cs"/>
              </a:defRPr>
            </a:lvl1pPr>
          </a:lstStyle>
          <a:p>
            <a:pPr>
              <a:defRPr/>
            </a:pPr>
            <a:fld id="{3B6131F9-C912-4C07-9908-46E8FEF739AD}" type="slidenum">
              <a:rPr lang="el-GR"/>
              <a:pPr>
                <a:defRPr/>
              </a:pPr>
              <a:t>‹#›</a:t>
            </a:fld>
            <a:endParaRPr lang="el-GR"/>
          </a:p>
        </p:txBody>
      </p:sp>
    </p:spTree>
    <p:extLst>
      <p:ext uri="{BB962C8B-B14F-4D97-AF65-F5344CB8AC3E}">
        <p14:creationId xmlns:p14="http://schemas.microsoft.com/office/powerpoint/2010/main" val="3577813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1140189"/>
      </p:ext>
    </p:extLst>
  </p:cSld>
  <p:clrMap bg1="lt1" tx1="dk1" bg2="lt2" tx2="dk2" accent1="accent1" accent2="accent2" accent3="accent3" accent4="accent4" accent5="accent5" accent6="accent6" hlink="hlink" folHlink="folHlink"/>
  <p:notesStyle>
    <a:lvl1pPr algn="l" defTabSz="762000" rtl="0" eaLnBrk="0" fontAlgn="base" hangingPunct="0">
      <a:spcBef>
        <a:spcPct val="30000"/>
      </a:spcBef>
      <a:spcAft>
        <a:spcPct val="0"/>
      </a:spcAft>
      <a:defRPr sz="1200" kern="1200">
        <a:solidFill>
          <a:schemeClr val="tx1"/>
        </a:solidFill>
        <a:latin typeface="Arial" charset="0"/>
        <a:ea typeface="+mn-ea"/>
        <a:cs typeface="+mn-cs"/>
      </a:defRPr>
    </a:lvl1pPr>
    <a:lvl2pPr marL="457200" algn="l" defTabSz="762000" rtl="0" eaLnBrk="0" fontAlgn="base" hangingPunct="0">
      <a:spcBef>
        <a:spcPct val="30000"/>
      </a:spcBef>
      <a:spcAft>
        <a:spcPct val="0"/>
      </a:spcAft>
      <a:defRPr sz="1200" kern="1200">
        <a:solidFill>
          <a:schemeClr val="tx1"/>
        </a:solidFill>
        <a:latin typeface="Arial" charset="0"/>
        <a:ea typeface="+mn-ea"/>
        <a:cs typeface="+mn-cs"/>
      </a:defRPr>
    </a:lvl2pPr>
    <a:lvl3pPr marL="914400" algn="l" defTabSz="762000" rtl="0" eaLnBrk="0" fontAlgn="base" hangingPunct="0">
      <a:spcBef>
        <a:spcPct val="30000"/>
      </a:spcBef>
      <a:spcAft>
        <a:spcPct val="0"/>
      </a:spcAft>
      <a:defRPr sz="1200" kern="1200">
        <a:solidFill>
          <a:schemeClr val="tx1"/>
        </a:solidFill>
        <a:latin typeface="Arial" charset="0"/>
        <a:ea typeface="+mn-ea"/>
        <a:cs typeface="+mn-cs"/>
      </a:defRPr>
    </a:lvl3pPr>
    <a:lvl4pPr marL="1371600" algn="l" defTabSz="762000" rtl="0" eaLnBrk="0" fontAlgn="base" hangingPunct="0">
      <a:spcBef>
        <a:spcPct val="30000"/>
      </a:spcBef>
      <a:spcAft>
        <a:spcPct val="0"/>
      </a:spcAft>
      <a:defRPr sz="1200" kern="1200">
        <a:solidFill>
          <a:schemeClr val="tx1"/>
        </a:solidFill>
        <a:latin typeface="Arial" charset="0"/>
        <a:ea typeface="+mn-ea"/>
        <a:cs typeface="+mn-cs"/>
      </a:defRPr>
    </a:lvl4pPr>
    <a:lvl5pPr marL="1828800" algn="l" defTabSz="762000"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a:extLst>
              <a:ext uri="{FF2B5EF4-FFF2-40B4-BE49-F238E27FC236}">
                <a16:creationId xmlns:a16="http://schemas.microsoft.com/office/drawing/2014/main" id="{87C601D3-C46A-41E5-B678-19DDE0062BB6}"/>
              </a:ext>
            </a:extLst>
          </p:cNvPr>
          <p:cNvSpPr>
            <a:spLocks noGrp="1" noRot="1" noChangeAspect="1" noTextEdit="1"/>
          </p:cNvSpPr>
          <p:nvPr>
            <p:ph type="sldImg"/>
          </p:nvPr>
        </p:nvSpPr>
        <p:spPr>
          <a:ln/>
        </p:spPr>
      </p:sp>
      <p:sp>
        <p:nvSpPr>
          <p:cNvPr id="73731" name="Notes Placeholder 2">
            <a:extLst>
              <a:ext uri="{FF2B5EF4-FFF2-40B4-BE49-F238E27FC236}">
                <a16:creationId xmlns:a16="http://schemas.microsoft.com/office/drawing/2014/main" id="{D3D37F36-694C-4536-A66F-4BDB6AFA738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l-GR"/>
              <a:t>This slide shows a picture of the Korean mummy found with chronic hepatitis B infection. This is the mummy of a 500-year-old child who underwent laparoscopy and a liver biopsy. The child was found to have HBV genotype C, which is typical for Korean patients. We will talk more about genotypes later, but this discovery highlights how long hepatitis B has been present as a chronic disease in a variety of Asian populations. Interestingly, the liver pathology, as best it could be ascertained from this very old mummy, showed minimal liver disease.</a:t>
            </a:r>
          </a:p>
          <a:p>
            <a:endParaRPr lang="en-US" altLang="el-GR"/>
          </a:p>
        </p:txBody>
      </p:sp>
      <p:sp>
        <p:nvSpPr>
          <p:cNvPr id="73732" name="Slide Number Placeholder 3">
            <a:extLst>
              <a:ext uri="{FF2B5EF4-FFF2-40B4-BE49-F238E27FC236}">
                <a16:creationId xmlns:a16="http://schemas.microsoft.com/office/drawing/2014/main" id="{C811C192-4B7C-4BD5-8689-12607317312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eaLnBrk="0" hangingPunct="0">
              <a:defRPr i="1">
                <a:solidFill>
                  <a:schemeClr val="tx1"/>
                </a:solidFill>
                <a:latin typeface="Arial" panose="020B0604020202020204" pitchFamily="34" charset="0"/>
              </a:defRPr>
            </a:lvl1pPr>
            <a:lvl2pPr marL="742950" indent="-285750" defTabSz="966788" eaLnBrk="0" hangingPunct="0">
              <a:defRPr i="1">
                <a:solidFill>
                  <a:schemeClr val="tx1"/>
                </a:solidFill>
                <a:latin typeface="Arial" panose="020B0604020202020204" pitchFamily="34" charset="0"/>
              </a:defRPr>
            </a:lvl2pPr>
            <a:lvl3pPr marL="1143000" indent="-228600" defTabSz="966788" eaLnBrk="0" hangingPunct="0">
              <a:defRPr i="1">
                <a:solidFill>
                  <a:schemeClr val="tx1"/>
                </a:solidFill>
                <a:latin typeface="Arial" panose="020B0604020202020204" pitchFamily="34" charset="0"/>
              </a:defRPr>
            </a:lvl3pPr>
            <a:lvl4pPr marL="1600200" indent="-228600" defTabSz="966788" eaLnBrk="0" hangingPunct="0">
              <a:defRPr i="1">
                <a:solidFill>
                  <a:schemeClr val="tx1"/>
                </a:solidFill>
                <a:latin typeface="Arial" panose="020B0604020202020204" pitchFamily="34" charset="0"/>
              </a:defRPr>
            </a:lvl4pPr>
            <a:lvl5pPr marL="2057400" indent="-228600" defTabSz="966788" eaLnBrk="0" hangingPunct="0">
              <a:defRPr i="1">
                <a:solidFill>
                  <a:schemeClr val="tx1"/>
                </a:solidFill>
                <a:latin typeface="Arial" panose="020B0604020202020204" pitchFamily="34" charset="0"/>
              </a:defRPr>
            </a:lvl5pPr>
            <a:lvl6pPr marL="2514600" indent="-228600" defTabSz="966788"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6pPr>
            <a:lvl7pPr marL="2971800" indent="-228600" defTabSz="966788"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7pPr>
            <a:lvl8pPr marL="3429000" indent="-228600" defTabSz="966788"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8pPr>
            <a:lvl9pPr marL="3886200" indent="-228600" defTabSz="966788"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9pPr>
          </a:lstStyle>
          <a:p>
            <a:pPr eaLnBrk="1" hangingPunct="1"/>
            <a:fld id="{D93ED07F-C4BE-483F-9EFB-610186EF9174}" type="slidenum">
              <a:rPr lang="en-US" altLang="el-GR" i="0"/>
              <a:pPr eaLnBrk="1" hangingPunct="1"/>
              <a:t>5</a:t>
            </a:fld>
            <a:endParaRPr lang="en-US" altLang="el-GR" i="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08313" y="514350"/>
            <a:ext cx="3857625" cy="2571750"/>
          </a:xfrm>
          <a:prstGeom prst="rect">
            <a:avLst/>
          </a:prstGeom>
        </p:spPr>
      </p:sp>
      <p:sp>
        <p:nvSpPr>
          <p:cNvPr id="3" name="Notes Placeholder 2"/>
          <p:cNvSpPr>
            <a:spLocks noGrp="1"/>
          </p:cNvSpPr>
          <p:nvPr>
            <p:ph type="body" idx="1"/>
          </p:nvPr>
        </p:nvSpPr>
        <p:spPr>
          <a:xfrm>
            <a:off x="987267" y="3257550"/>
            <a:ext cx="7898130" cy="3086100"/>
          </a:xfrm>
          <a:prstGeom prst="rect">
            <a:avLst/>
          </a:prstGeom>
        </p:spPr>
        <p:txBody>
          <a:bodyPr/>
          <a:lstStyle/>
          <a:p>
            <a:endParaRPr lang="el-GR" dirty="0"/>
          </a:p>
        </p:txBody>
      </p:sp>
      <p:sp>
        <p:nvSpPr>
          <p:cNvPr id="4" name="Slide Number Placeholder 3"/>
          <p:cNvSpPr>
            <a:spLocks noGrp="1"/>
          </p:cNvSpPr>
          <p:nvPr>
            <p:ph type="sldNum" sz="quarter" idx="10"/>
          </p:nvPr>
        </p:nvSpPr>
        <p:spPr>
          <a:xfrm>
            <a:off x="5592224" y="6513910"/>
            <a:ext cx="4278154" cy="342900"/>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16E3D522-C51E-4954-BE8F-3E1D717569D2}" type="slidenum">
              <a:rPr kumimoji="0" lang="el-GR" sz="2400" b="1"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47</a:t>
            </a:fld>
            <a:endParaRPr kumimoji="0" lang="el-GR" sz="2400" b="1"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1392429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008313" y="514350"/>
            <a:ext cx="3857625" cy="2571750"/>
          </a:xfrm>
          <a:prstGeom prst="rect">
            <a:avLst/>
          </a:prstGeom>
          <a:noFill/>
          <a:ln>
            <a:miter lim="800000"/>
            <a:headEnd/>
            <a:tailEnd/>
          </a:ln>
        </p:spPr>
      </p:sp>
      <p:sp>
        <p:nvSpPr>
          <p:cNvPr id="28674" name="Notes Placeholder 2"/>
          <p:cNvSpPr>
            <a:spLocks noGrp="1"/>
          </p:cNvSpPr>
          <p:nvPr>
            <p:ph type="body" idx="1"/>
          </p:nvPr>
        </p:nvSpPr>
        <p:spPr bwMode="auto">
          <a:xfrm>
            <a:off x="987425" y="3257550"/>
            <a:ext cx="7897813" cy="3086100"/>
          </a:xfrm>
          <a:prstGeom prst="rect">
            <a:avLst/>
          </a:prstGeom>
          <a:noFill/>
          <a:ln>
            <a:miter lim="800000"/>
            <a:headEnd/>
            <a:tailEnd/>
          </a:ln>
        </p:spPr>
        <p:txBody>
          <a:bodyPr/>
          <a:lstStyle/>
          <a:p>
            <a:endParaRPr lang="en-US" altLang="en-US"/>
          </a:p>
        </p:txBody>
      </p:sp>
      <p:sp>
        <p:nvSpPr>
          <p:cNvPr id="28675" name="Slide Number Placeholder 3"/>
          <p:cNvSpPr>
            <a:spLocks noGrp="1"/>
          </p:cNvSpPr>
          <p:nvPr>
            <p:ph type="sldNum" sz="quarter" idx="4294967295"/>
          </p:nvPr>
        </p:nvSpPr>
        <p:spPr bwMode="auto">
          <a:xfrm>
            <a:off x="5592763" y="6513513"/>
            <a:ext cx="4278312" cy="342900"/>
          </a:xfrm>
          <a:prstGeom prst="rect">
            <a:avLst/>
          </a:prstGeom>
          <a:noFill/>
          <a:ln>
            <a:miter lim="800000"/>
            <a:headEnd/>
            <a:tailEnd/>
          </a:ln>
        </p:spPr>
        <p:txBody>
          <a:bodyPr/>
          <a:lstStyle/>
          <a:p>
            <a:pPr eaLnBrk="0" hangingPunct="0"/>
            <a:fld id="{AA82ACAC-35EC-48FA-81F4-BDE4356FFCC0}" type="slidenum">
              <a:rPr lang="en-US" altLang="en-US"/>
              <a:pPr eaLnBrk="0" hangingPunct="0"/>
              <a:t>49</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Slide Image Placeholder 1">
            <a:extLst>
              <a:ext uri="{FF2B5EF4-FFF2-40B4-BE49-F238E27FC236}">
                <a16:creationId xmlns:a16="http://schemas.microsoft.com/office/drawing/2014/main" id="{DFC12D9B-6EFF-4D1D-B7DC-5B27621AB5D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8899" name="Notes Placeholder 2">
            <a:extLst>
              <a:ext uri="{FF2B5EF4-FFF2-40B4-BE49-F238E27FC236}">
                <a16:creationId xmlns:a16="http://schemas.microsoft.com/office/drawing/2014/main" id="{0D0A2BD4-496B-496F-9CBA-E87DD03501B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l-GR" altLang="el-GR"/>
          </a:p>
        </p:txBody>
      </p:sp>
      <p:sp>
        <p:nvSpPr>
          <p:cNvPr id="208900" name="Slide Number Placeholder 3">
            <a:extLst>
              <a:ext uri="{FF2B5EF4-FFF2-40B4-BE49-F238E27FC236}">
                <a16:creationId xmlns:a16="http://schemas.microsoft.com/office/drawing/2014/main" id="{FB4606FE-5AE9-4F0E-AE54-0CADAFFEF98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97830E71-4DDA-4A51-93D2-2C47F6710B74}" type="slidenum">
              <a:rPr lang="en-US" altLang="el-GR">
                <a:solidFill>
                  <a:srgbClr val="000000"/>
                </a:solidFill>
                <a:ea typeface="ＭＳ Ｐゴシック" panose="020B0600070205080204" pitchFamily="34" charset="-128"/>
              </a:rPr>
              <a:pPr/>
              <a:t>6</a:t>
            </a:fld>
            <a:endParaRPr lang="en-US" altLang="el-GR">
              <a:solidFill>
                <a:srgbClr val="000000"/>
              </a:solidFill>
              <a:ea typeface="ＭＳ Ｐゴシック" panose="020B0600070205080204"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5275" y="8685256"/>
            <a:ext cx="2971092" cy="457273"/>
          </a:xfrm>
          <a:prstGeom prst="rect">
            <a:avLst/>
          </a:prstGeom>
          <a:noFill/>
          <a:ln w="9525">
            <a:noFill/>
            <a:miter lim="800000"/>
            <a:headEnd/>
            <a:tailEnd/>
          </a:ln>
        </p:spPr>
        <p:txBody>
          <a:bodyPr anchor="b"/>
          <a:lstStyle/>
          <a:p>
            <a:pPr algn="r"/>
            <a:fld id="{C8678B48-A2D2-4700-9C81-A34B80778C58}" type="slidenum">
              <a:rPr lang="de-DE" sz="1200"/>
              <a:pPr algn="r"/>
              <a:t>7</a:t>
            </a:fld>
            <a:endParaRPr lang="de-DE" sz="1200"/>
          </a:p>
        </p:txBody>
      </p:sp>
      <p:sp>
        <p:nvSpPr>
          <p:cNvPr id="5837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837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b="0" dirty="0"/>
          </a:p>
        </p:txBody>
      </p:sp>
    </p:spTree>
    <p:extLst>
      <p:ext uri="{BB962C8B-B14F-4D97-AF65-F5344CB8AC3E}">
        <p14:creationId xmlns:p14="http://schemas.microsoft.com/office/powerpoint/2010/main" val="2266630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WHO estimated that in 2019, globally, 296 million (3.8%) people were living with chronic hepatitis B virus (HBV) infection. </a:t>
            </a:r>
          </a:p>
          <a:p>
            <a:r>
              <a:rPr lang="en-US" altLang="ko-KR" dirty="0"/>
              <a:t>In 2019, 30.4 million individuals living with hepatitis B knew their infection status and 6.6 million people diagnosed with hepatitis B received treatment. </a:t>
            </a:r>
          </a:p>
          <a:p>
            <a:endParaRPr lang="en-US" altLang="ko-KR" dirty="0"/>
          </a:p>
          <a:p>
            <a:r>
              <a:rPr lang="en-US" altLang="ko-KR" dirty="0"/>
              <a:t>Globally, there were more than 3 million new infections with HBV and HCV and more than 1.1 million deaths due to the viruses in 2019. </a:t>
            </a:r>
          </a:p>
          <a:p>
            <a:endParaRPr lang="en-US" altLang="ko-KR" dirty="0"/>
          </a:p>
          <a:p>
            <a:r>
              <a:rPr lang="en-US" altLang="ko-KR" sz="1800" dirty="0">
                <a:latin typeface="Segoe UI" panose="020B0502040204020203" pitchFamily="34" charset="0"/>
              </a:rPr>
              <a:t>Cui F, </a:t>
            </a:r>
            <a:r>
              <a:rPr lang="en-US" altLang="ko-KR" sz="1800" dirty="0" err="1">
                <a:latin typeface="Segoe UI" panose="020B0502040204020203" pitchFamily="34" charset="0"/>
              </a:rPr>
              <a:t>Blach</a:t>
            </a:r>
            <a:r>
              <a:rPr lang="en-US" altLang="ko-KR" sz="1800" dirty="0">
                <a:latin typeface="Segoe UI" panose="020B0502040204020203" pitchFamily="34" charset="0"/>
              </a:rPr>
              <a:t> S, </a:t>
            </a:r>
            <a:r>
              <a:rPr lang="en-US" altLang="ko-KR" sz="1800" dirty="0" err="1">
                <a:latin typeface="Segoe UI" panose="020B0502040204020203" pitchFamily="34" charset="0"/>
              </a:rPr>
              <a:t>Manzengo</a:t>
            </a:r>
            <a:r>
              <a:rPr lang="en-US" altLang="ko-KR" sz="1800" dirty="0">
                <a:latin typeface="Segoe UI" panose="020B0502040204020203" pitchFamily="34" charset="0"/>
              </a:rPr>
              <a:t> </a:t>
            </a:r>
            <a:r>
              <a:rPr lang="en-US" altLang="ko-KR" sz="1800" dirty="0" err="1">
                <a:latin typeface="Segoe UI" panose="020B0502040204020203" pitchFamily="34" charset="0"/>
              </a:rPr>
              <a:t>Mingiedi</a:t>
            </a:r>
            <a:r>
              <a:rPr lang="en-US" altLang="ko-KR" sz="1800" dirty="0">
                <a:latin typeface="Segoe UI" panose="020B0502040204020203" pitchFamily="34" charset="0"/>
              </a:rPr>
              <a:t> C, et al. Global reporting of progress towards elimination of hepatitis B and hepatitis C. Lancet Gastroenterol Hepatol 2023:Online ahead of print.</a:t>
            </a:r>
          </a:p>
          <a:p>
            <a:endParaRPr lang="en-US" altLang="ko-KR" sz="1800" dirty="0">
              <a:latin typeface="Segoe UI" panose="020B0502040204020203" pitchFamily="34" charset="0"/>
            </a:endParaRPr>
          </a:p>
          <a:p>
            <a:r>
              <a:rPr lang="en-US" altLang="ko-KR" dirty="0"/>
              <a:t>Only 2.2 percent of chronic HBV-infected patients are estimated to be on treatment, leaving more than 29 to 67 million patients worldwide eligible but not on treatment.</a:t>
            </a:r>
            <a:endParaRPr lang="en-US" altLang="ko-KR" sz="1800" dirty="0">
              <a:latin typeface="Segoe UI" panose="020B0502040204020203" pitchFamily="34" charset="0"/>
            </a:endParaRPr>
          </a:p>
          <a:p>
            <a:r>
              <a:rPr lang="en-US" altLang="ko-KR" dirty="0"/>
              <a:t>HBV Market Report 2022</a:t>
            </a:r>
            <a:r>
              <a:rPr lang="en-US" altLang="ko-KR" sz="1800" dirty="0">
                <a:latin typeface="Segoe UI" panose="020B0502040204020203" pitchFamily="34" charset="0"/>
              </a:rPr>
              <a:t> (CHAI)</a:t>
            </a:r>
            <a:endParaRPr lang="ko-KR" altLang="en-US" dirty="0"/>
          </a:p>
        </p:txBody>
      </p:sp>
      <p:sp>
        <p:nvSpPr>
          <p:cNvPr id="4" name="슬라이드 번호 개체 틀 3"/>
          <p:cNvSpPr>
            <a:spLocks noGrp="1"/>
          </p:cNvSpPr>
          <p:nvPr>
            <p:ph type="sldNum" sz="quarter" idx="5"/>
          </p:nvPr>
        </p:nvSpPr>
        <p:spPr/>
        <p:txBody>
          <a:bodyPr/>
          <a:lstStyle/>
          <a:p>
            <a:fld id="{D2515FD5-8EDF-4A6B-8C5E-F0D3D75B079C}" type="slidenum">
              <a:rPr lang="ko-KR" altLang="en-US" smtClean="0"/>
              <a:t>11</a:t>
            </a:fld>
            <a:endParaRPr lang="ko-KR" altLang="en-US"/>
          </a:p>
        </p:txBody>
      </p:sp>
    </p:spTree>
    <p:extLst>
      <p:ext uri="{BB962C8B-B14F-4D97-AF65-F5344CB8AC3E}">
        <p14:creationId xmlns:p14="http://schemas.microsoft.com/office/powerpoint/2010/main" val="426959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1 - Θέση εικόνας διαφάνειας">
            <a:extLst>
              <a:ext uri="{FF2B5EF4-FFF2-40B4-BE49-F238E27FC236}">
                <a16:creationId xmlns:a16="http://schemas.microsoft.com/office/drawing/2014/main" id="{5EE156C7-C9C0-47BD-98D7-D54BD95BB888}"/>
              </a:ext>
            </a:extLst>
          </p:cNvPr>
          <p:cNvSpPr>
            <a:spLocks noGrp="1" noRot="1" noChangeAspect="1"/>
          </p:cNvSpPr>
          <p:nvPr>
            <p:ph type="sldImg"/>
          </p:nvPr>
        </p:nvSpPr>
        <p:spPr bwMode="auto">
          <a:xfrm>
            <a:off x="857250" y="685800"/>
            <a:ext cx="5143500" cy="342900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2 - Θέση σημειώσεων">
            <a:extLst>
              <a:ext uri="{FF2B5EF4-FFF2-40B4-BE49-F238E27FC236}">
                <a16:creationId xmlns:a16="http://schemas.microsoft.com/office/drawing/2014/main" id="{98D66D8F-7827-44AF-A4EE-EFB144550937}"/>
              </a:ext>
            </a:extLst>
          </p:cNvPr>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el-G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05B0F977-0B16-42A0-8F73-EF1B465A80D5}"/>
              </a:ext>
            </a:extLst>
          </p:cNvPr>
          <p:cNvSpPr>
            <a:spLocks noGrp="1" noRot="1" noChangeAspect="1"/>
          </p:cNvSpPr>
          <p:nvPr>
            <p:ph type="sldImg"/>
          </p:nvPr>
        </p:nvSpPr>
        <p:spPr bwMode="auto">
          <a:xfrm>
            <a:off x="857250" y="685800"/>
            <a:ext cx="5143500" cy="34290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71683" name="Notes Placeholder 2">
            <a:extLst>
              <a:ext uri="{FF2B5EF4-FFF2-40B4-BE49-F238E27FC236}">
                <a16:creationId xmlns:a16="http://schemas.microsoft.com/office/drawing/2014/main" id="{7531A518-F99D-44E1-9483-DCB814F8C882}"/>
              </a:ext>
            </a:extLst>
          </p:cNvPr>
          <p:cNvSpPr>
            <a:spLocks noGrp="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400"/>
            <a:r>
              <a:rPr lang="en-GB" altLang="en-US"/>
              <a:t>Reprinted with permission from Elsevier</a:t>
            </a:r>
          </a:p>
          <a:p>
            <a:pPr defTabSz="914400"/>
            <a:endParaRPr lang="en-GB" altLang="el-GR"/>
          </a:p>
        </p:txBody>
      </p:sp>
      <p:sp>
        <p:nvSpPr>
          <p:cNvPr id="71684" name="Slide Number Placeholder 3">
            <a:extLst>
              <a:ext uri="{FF2B5EF4-FFF2-40B4-BE49-F238E27FC236}">
                <a16:creationId xmlns:a16="http://schemas.microsoft.com/office/drawing/2014/main" id="{96CD1EF7-BD68-4F3F-8C66-E4EDC08BCB70}"/>
              </a:ext>
            </a:extLst>
          </p:cNvPr>
          <p:cNvSpPr>
            <a:spLocks noGrp="1"/>
          </p:cNvSpPr>
          <p:nvPr>
            <p:ph type="sldNum" sz="quarter" idx="4294967295"/>
          </p:nvPr>
        </p:nvSpPr>
        <p:spPr bwMode="auto">
          <a:xfrm>
            <a:off x="3884613"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fld id="{47A15DE0-B14E-4705-8620-77B74129D0DE}" type="slidenum">
              <a:rPr lang="en-GB" altLang="el-GR"/>
              <a:pPr/>
              <a:t>23</a:t>
            </a:fld>
            <a:endParaRPr lang="en-GB" altLang="el-G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r>
              <a:rPr lang="en-US" altLang="ko-KR" dirty="0"/>
              <a:t>WHO estimated that in 2019, globally, 296 million (3.8%) people were living with chronic hepatitis B virus (HBV) infection. </a:t>
            </a:r>
          </a:p>
          <a:p>
            <a:r>
              <a:rPr lang="en-US" altLang="ko-KR" dirty="0"/>
              <a:t>In 2019, 30.4 million individuals living with hepatitis B knew their infection status and 6.6 million people diagnosed with hepatitis B received treatment. </a:t>
            </a:r>
          </a:p>
          <a:p>
            <a:endParaRPr lang="en-US" altLang="ko-KR" dirty="0"/>
          </a:p>
          <a:p>
            <a:r>
              <a:rPr lang="en-US" altLang="ko-KR" dirty="0"/>
              <a:t>Globally, there were more than 3 million new infections with HBV and HCV and more than 1.1 million deaths due to the viruses in 2019. </a:t>
            </a:r>
          </a:p>
          <a:p>
            <a:endParaRPr lang="en-US" altLang="ko-KR" dirty="0"/>
          </a:p>
          <a:p>
            <a:r>
              <a:rPr lang="en-US" altLang="ko-KR" sz="1800" dirty="0">
                <a:latin typeface="Segoe UI" panose="020B0502040204020203" pitchFamily="34" charset="0"/>
              </a:rPr>
              <a:t>Cui F, </a:t>
            </a:r>
            <a:r>
              <a:rPr lang="en-US" altLang="ko-KR" sz="1800" dirty="0" err="1">
                <a:latin typeface="Segoe UI" panose="020B0502040204020203" pitchFamily="34" charset="0"/>
              </a:rPr>
              <a:t>Blach</a:t>
            </a:r>
            <a:r>
              <a:rPr lang="en-US" altLang="ko-KR" sz="1800" dirty="0">
                <a:latin typeface="Segoe UI" panose="020B0502040204020203" pitchFamily="34" charset="0"/>
              </a:rPr>
              <a:t> S, </a:t>
            </a:r>
            <a:r>
              <a:rPr lang="en-US" altLang="ko-KR" sz="1800" dirty="0" err="1">
                <a:latin typeface="Segoe UI" panose="020B0502040204020203" pitchFamily="34" charset="0"/>
              </a:rPr>
              <a:t>Manzengo</a:t>
            </a:r>
            <a:r>
              <a:rPr lang="en-US" altLang="ko-KR" sz="1800" dirty="0">
                <a:latin typeface="Segoe UI" panose="020B0502040204020203" pitchFamily="34" charset="0"/>
              </a:rPr>
              <a:t> </a:t>
            </a:r>
            <a:r>
              <a:rPr lang="en-US" altLang="ko-KR" sz="1800" dirty="0" err="1">
                <a:latin typeface="Segoe UI" panose="020B0502040204020203" pitchFamily="34" charset="0"/>
              </a:rPr>
              <a:t>Mingiedi</a:t>
            </a:r>
            <a:r>
              <a:rPr lang="en-US" altLang="ko-KR" sz="1800" dirty="0">
                <a:latin typeface="Segoe UI" panose="020B0502040204020203" pitchFamily="34" charset="0"/>
              </a:rPr>
              <a:t> C, et al. Global reporting of progress towards elimination of hepatitis B and hepatitis C. Lancet Gastroenterol Hepatol 2023:Online ahead of print.</a:t>
            </a:r>
          </a:p>
          <a:p>
            <a:endParaRPr lang="en-US" altLang="ko-KR" sz="1800" dirty="0">
              <a:latin typeface="Segoe UI" panose="020B0502040204020203" pitchFamily="34" charset="0"/>
            </a:endParaRPr>
          </a:p>
          <a:p>
            <a:r>
              <a:rPr lang="en-US" altLang="ko-KR" dirty="0"/>
              <a:t>Only 2.2 percent of chronic HBV-infected patients are estimated to be on treatment, leaving more than 29 to 67 million patients worldwide eligible but not on treatment.</a:t>
            </a:r>
            <a:endParaRPr lang="en-US" altLang="ko-KR" sz="1800" dirty="0">
              <a:latin typeface="Segoe UI" panose="020B0502040204020203" pitchFamily="34" charset="0"/>
            </a:endParaRPr>
          </a:p>
          <a:p>
            <a:r>
              <a:rPr lang="en-US" altLang="ko-KR" dirty="0"/>
              <a:t>HBV Market Report 2022</a:t>
            </a:r>
            <a:r>
              <a:rPr lang="en-US" altLang="ko-KR" sz="1800" dirty="0">
                <a:latin typeface="Segoe UI" panose="020B0502040204020203" pitchFamily="34" charset="0"/>
              </a:rPr>
              <a:t> (CHAI)</a:t>
            </a:r>
            <a:endParaRPr lang="ko-KR" altLang="en-US" dirty="0"/>
          </a:p>
        </p:txBody>
      </p:sp>
      <p:sp>
        <p:nvSpPr>
          <p:cNvPr id="4" name="슬라이드 번호 개체 틀 3"/>
          <p:cNvSpPr>
            <a:spLocks noGrp="1"/>
          </p:cNvSpPr>
          <p:nvPr>
            <p:ph type="sldNum" sz="quarter" idx="5"/>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D2515FD5-8EDF-4A6B-8C5E-F0D3D75B079C}" type="slidenum">
              <a:rPr kumimoji="0" lang="ko-KR" altLang="en-US" sz="2400" b="1" i="0" u="none" strike="noStrike" kern="1200" cap="none" spc="0" normalizeH="0" baseline="0" noProof="0" smtClean="0">
                <a:ln>
                  <a:noFill/>
                </a:ln>
                <a:solidFill>
                  <a:srgbClr val="000000"/>
                </a:solidFill>
                <a:effectLst/>
                <a:uLnTx/>
                <a:uFillTx/>
                <a:latin typeface="Arial" charset="0"/>
                <a:ea typeface="맑은 고딕" panose="020B0503020000020004" pitchFamily="34" charset="-127"/>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28</a:t>
            </a:fld>
            <a:endParaRPr kumimoji="0" lang="ko-KR" altLang="en-US" sz="2400" b="1" i="0" u="none" strike="noStrike" kern="1200" cap="none" spc="0" normalizeH="0" baseline="0" noProof="0">
              <a:ln>
                <a:noFill/>
              </a:ln>
              <a:solidFill>
                <a:srgbClr val="000000"/>
              </a:solidFill>
              <a:effectLst/>
              <a:uLnTx/>
              <a:uFillTx/>
              <a:latin typeface="Arial" charset="0"/>
              <a:ea typeface="맑은 고딕" panose="020B0503020000020004" pitchFamily="34" charset="-127"/>
              <a:cs typeface="Arial" charset="0"/>
            </a:endParaRPr>
          </a:p>
        </p:txBody>
      </p:sp>
    </p:spTree>
    <p:extLst>
      <p:ext uri="{BB962C8B-B14F-4D97-AF65-F5344CB8AC3E}">
        <p14:creationId xmlns:p14="http://schemas.microsoft.com/office/powerpoint/2010/main" val="27049142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CB055610-B122-4716-91A1-C80A8E1A2E13}"/>
              </a:ext>
            </a:extLst>
          </p:cNvPr>
          <p:cNvSpPr>
            <a:spLocks noGrp="1" noRot="1" noChangeAspect="1" noChangeArrowheads="1" noTextEdit="1"/>
          </p:cNvSpPr>
          <p:nvPr>
            <p:ph type="sldImg"/>
          </p:nvPr>
        </p:nvSpPr>
        <p:spPr bwMode="auto">
          <a:xfrm>
            <a:off x="960438" y="636588"/>
            <a:ext cx="5110162" cy="3406775"/>
          </a:xfrm>
          <a:prstGeom prst="rect">
            <a:avLst/>
          </a:prstGeom>
          <a:solidFill>
            <a:srgbClr val="FFFFFF"/>
          </a:solidFill>
          <a:ln>
            <a:solidFill>
              <a:srgbClr val="000000"/>
            </a:solidFill>
            <a:miter lim="800000"/>
            <a:headEnd/>
            <a:tailEnd/>
          </a:ln>
        </p:spPr>
      </p:sp>
      <p:sp>
        <p:nvSpPr>
          <p:cNvPr id="9219" name="Rectangle 3">
            <a:extLst>
              <a:ext uri="{FF2B5EF4-FFF2-40B4-BE49-F238E27FC236}">
                <a16:creationId xmlns:a16="http://schemas.microsoft.com/office/drawing/2014/main" id="{D5BC073A-4C33-420D-A906-B5AC55D2B28B}"/>
              </a:ext>
            </a:extLst>
          </p:cNvPr>
          <p:cNvSpPr>
            <a:spLocks noGrp="1" noChangeArrowheads="1"/>
          </p:cNvSpPr>
          <p:nvPr>
            <p:ph type="body" idx="1"/>
          </p:nvPr>
        </p:nvSpPr>
        <p:spPr bwMode="auto">
          <a:xfrm>
            <a:off x="608013" y="4233863"/>
            <a:ext cx="5659437" cy="4400550"/>
          </a:xfrm>
          <a:prstGeom prst="rect">
            <a:avLst/>
          </a:prstGeom>
          <a:solidFill>
            <a:srgbClr val="FFFFFF"/>
          </a:solidFill>
          <a:ln>
            <a:solidFill>
              <a:srgbClr val="000000"/>
            </a:solidFill>
            <a:miter lim="800000"/>
            <a:headEnd/>
            <a:tailEnd/>
          </a:ln>
        </p:spPr>
        <p:txBody>
          <a:bodyPr/>
          <a:lstStyle/>
          <a:p>
            <a:endParaRPr lang="en-US" altLang="el-GR" sz="10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Slide Image Placeholder 1"/>
          <p:cNvSpPr>
            <a:spLocks noGrp="1" noRot="1" noChangeAspect="1" noChangeArrowheads="1" noTextEdit="1"/>
          </p:cNvSpPr>
          <p:nvPr>
            <p:ph type="sldImg"/>
          </p:nvPr>
        </p:nvSpPr>
        <p:spPr>
          <a:xfrm>
            <a:off x="3006725" y="514350"/>
            <a:ext cx="3859213" cy="2571750"/>
          </a:xfrm>
          <a:prstGeom prst="rect">
            <a:avLst/>
          </a:prstGeom>
          <a:ln/>
        </p:spPr>
      </p:sp>
      <p:sp>
        <p:nvSpPr>
          <p:cNvPr id="210947" name="Notes Placeholder 2"/>
          <p:cNvSpPr>
            <a:spLocks noGrp="1" noChangeArrowheads="1"/>
          </p:cNvSpPr>
          <p:nvPr>
            <p:ph type="body" idx="1"/>
          </p:nvPr>
        </p:nvSpPr>
        <p:spPr>
          <a:xfrm>
            <a:off x="987696" y="3257778"/>
            <a:ext cx="7897273" cy="308541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i="1">
                <a:latin typeface="Arial" pitchFamily="34" charset="0"/>
              </a:rPr>
              <a:t>GT, genotype; SOF, sofosbuvir; VEL, velpatasvir; VOX, voxilaprevir.</a:t>
            </a:r>
            <a:endParaRPr lang="en-US" altLang="en-US">
              <a:latin typeface="Arial" pitchFamily="34" charset="0"/>
            </a:endParaRPr>
          </a:p>
        </p:txBody>
      </p:sp>
      <p:sp>
        <p:nvSpPr>
          <p:cNvPr id="210948" name="Slide Number Placeholder 3"/>
          <p:cNvSpPr>
            <a:spLocks noGrp="1" noChangeArrowheads="1"/>
          </p:cNvSpPr>
          <p:nvPr>
            <p:ph type="sldNum" sz="quarter" idx="5"/>
          </p:nvPr>
        </p:nvSpPr>
        <p:spPr>
          <a:xfrm>
            <a:off x="5591938" y="6514421"/>
            <a:ext cx="4278583" cy="342446"/>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itchFamily="34" charset="0"/>
                <a:cs typeface="Arial" pitchFamily="34" charset="0"/>
              </a:defRPr>
            </a:lvl1pPr>
            <a:lvl2pPr marL="742950" indent="-285750">
              <a:defRPr b="1">
                <a:solidFill>
                  <a:schemeClr val="tx1"/>
                </a:solidFill>
                <a:latin typeface="Arial" pitchFamily="34" charset="0"/>
                <a:cs typeface="Arial" pitchFamily="34" charset="0"/>
              </a:defRPr>
            </a:lvl2pPr>
            <a:lvl3pPr marL="1143000" indent="-228600">
              <a:defRPr b="1">
                <a:solidFill>
                  <a:schemeClr val="tx1"/>
                </a:solidFill>
                <a:latin typeface="Arial" pitchFamily="34" charset="0"/>
                <a:cs typeface="Arial" pitchFamily="34" charset="0"/>
              </a:defRPr>
            </a:lvl3pPr>
            <a:lvl4pPr marL="1600200" indent="-228600">
              <a:defRPr b="1">
                <a:solidFill>
                  <a:schemeClr val="tx1"/>
                </a:solidFill>
                <a:latin typeface="Arial" pitchFamily="34" charset="0"/>
                <a:cs typeface="Arial" pitchFamily="34" charset="0"/>
              </a:defRPr>
            </a:lvl4pPr>
            <a:lvl5pPr marL="2057400" indent="-22860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fld id="{69FC1AB4-917E-41EA-AF85-6D575DBE0A36}" type="slidenum">
              <a:rPr lang="en-US" altLang="en-US" b="0">
                <a:solidFill>
                  <a:prstClr val="black"/>
                </a:solidFill>
                <a:ea typeface="MS PGothic" pitchFamily="34" charset="-128"/>
              </a:rPr>
              <a:pPr/>
              <a:t>45</a:t>
            </a:fld>
            <a:endParaRPr lang="en-US" altLang="en-US" b="0">
              <a:solidFill>
                <a:prstClr val="black"/>
              </a:solidFill>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71525" y="2130425"/>
            <a:ext cx="8743950" cy="1470025"/>
          </a:xfrm>
        </p:spPr>
        <p:txBody>
          <a:bodyPr/>
          <a:lstStyle/>
          <a:p>
            <a:r>
              <a:rPr lang="el-GR"/>
              <a:t>Kλικ για επεξεργασία του τίτλου</a:t>
            </a:r>
          </a:p>
        </p:txBody>
      </p:sp>
      <p:sp>
        <p:nvSpPr>
          <p:cNvPr id="3" name="2 - Υπότιτλος"/>
          <p:cNvSpPr>
            <a:spLocks noGrp="1"/>
          </p:cNvSpPr>
          <p:nvPr>
            <p:ph type="subTitle" idx="1"/>
          </p:nvPr>
        </p:nvSpPr>
        <p:spPr>
          <a:xfrm>
            <a:off x="1543050" y="3886200"/>
            <a:ext cx="72009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a:t>Κάντε κλικ για να επεξεργαστείτε τον υπότιτλο του υποδείγματος</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B609846-A4CD-47E4-9A31-826B74726A56}" type="slidenum">
              <a:rPr lang="el-GR"/>
              <a:pPr>
                <a:defRPr/>
              </a:pPr>
              <a:t>‹#›</a:t>
            </a:fld>
            <a:endParaRPr lang="el-GR"/>
          </a:p>
        </p:txBody>
      </p:sp>
    </p:spTree>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713644F-2C6A-4317-AA60-94C87A16971F}" type="slidenum">
              <a:rPr lang="el-GR"/>
              <a:pPr>
                <a:defRPr/>
              </a:pPr>
              <a:t>‹#›</a:t>
            </a:fld>
            <a:endParaRPr lang="el-GR"/>
          </a:p>
        </p:txBody>
      </p:sp>
    </p:spTree>
  </p:cSld>
  <p:clrMapOvr>
    <a:masterClrMapping/>
  </p:clrMapOvr>
  <p:transition spd="med">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510A36-0F71-4CD8-92C4-840CBD56FB5E}"/>
              </a:ext>
            </a:extLst>
          </p:cNvPr>
          <p:cNvSpPr>
            <a:spLocks noGrp="1"/>
          </p:cNvSpPr>
          <p:nvPr>
            <p:ph type="title"/>
          </p:nvPr>
        </p:nvSpPr>
        <p:spPr>
          <a:xfrm>
            <a:off x="708025" y="457200"/>
            <a:ext cx="3317875" cy="1600200"/>
          </a:xfrm>
        </p:spPr>
        <p:txBody>
          <a:bodyPr anchor="b"/>
          <a:lstStyle>
            <a:lvl1pPr>
              <a:defRPr sz="32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4C3B14B6-D52A-4AF1-82D7-E7FEAF1D0EB2}"/>
              </a:ext>
            </a:extLst>
          </p:cNvPr>
          <p:cNvSpPr>
            <a:spLocks noGrp="1"/>
          </p:cNvSpPr>
          <p:nvPr>
            <p:ph idx="1"/>
          </p:nvPr>
        </p:nvSpPr>
        <p:spPr>
          <a:xfrm>
            <a:off x="4373563" y="987425"/>
            <a:ext cx="52070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F7DFED43-6BBA-45F2-A3A0-C4BE63AF11E4}"/>
              </a:ext>
            </a:extLst>
          </p:cNvPr>
          <p:cNvSpPr>
            <a:spLocks noGrp="1"/>
          </p:cNvSpPr>
          <p:nvPr>
            <p:ph type="body" sz="half" idx="2"/>
          </p:nvPr>
        </p:nvSpPr>
        <p:spPr>
          <a:xfrm>
            <a:off x="708025" y="2057400"/>
            <a:ext cx="33178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285E4D2-BE1D-4346-BFC3-D748F44B7CFF}"/>
              </a:ext>
            </a:extLst>
          </p:cNvPr>
          <p:cNvSpPr>
            <a:spLocks noGrp="1"/>
          </p:cNvSpPr>
          <p:nvPr>
            <p:ph type="dt" sz="half" idx="10"/>
          </p:nvPr>
        </p:nvSpPr>
        <p:spPr/>
        <p:txBody>
          <a:bodyPr/>
          <a:lstStyle>
            <a:lvl1pPr>
              <a:defRPr/>
            </a:lvl1pPr>
          </a:lstStyle>
          <a:p>
            <a:endParaRPr lang="el-GR" altLang="el-GR"/>
          </a:p>
        </p:txBody>
      </p:sp>
      <p:sp>
        <p:nvSpPr>
          <p:cNvPr id="6" name="Footer Placeholder 5">
            <a:extLst>
              <a:ext uri="{FF2B5EF4-FFF2-40B4-BE49-F238E27FC236}">
                <a16:creationId xmlns:a16="http://schemas.microsoft.com/office/drawing/2014/main" id="{F4AF7F20-0DB1-41B8-9535-299A282A05D9}"/>
              </a:ext>
            </a:extLst>
          </p:cNvPr>
          <p:cNvSpPr>
            <a:spLocks noGrp="1"/>
          </p:cNvSpPr>
          <p:nvPr>
            <p:ph type="ftr" sz="quarter" idx="11"/>
          </p:nvPr>
        </p:nvSpPr>
        <p:spPr/>
        <p:txBody>
          <a:bodyPr/>
          <a:lstStyle>
            <a:lvl1pPr>
              <a:defRPr/>
            </a:lvl1pPr>
          </a:lstStyle>
          <a:p>
            <a:endParaRPr lang="el-GR" altLang="el-GR"/>
          </a:p>
        </p:txBody>
      </p:sp>
      <p:sp>
        <p:nvSpPr>
          <p:cNvPr id="7" name="Slide Number Placeholder 6">
            <a:extLst>
              <a:ext uri="{FF2B5EF4-FFF2-40B4-BE49-F238E27FC236}">
                <a16:creationId xmlns:a16="http://schemas.microsoft.com/office/drawing/2014/main" id="{CCFF7ECD-4442-499A-96C5-C83757D5BAC1}"/>
              </a:ext>
            </a:extLst>
          </p:cNvPr>
          <p:cNvSpPr>
            <a:spLocks noGrp="1"/>
          </p:cNvSpPr>
          <p:nvPr>
            <p:ph type="sldNum" sz="quarter" idx="12"/>
          </p:nvPr>
        </p:nvSpPr>
        <p:spPr/>
        <p:txBody>
          <a:bodyPr/>
          <a:lstStyle>
            <a:lvl1pPr>
              <a:defRPr/>
            </a:lvl1pPr>
          </a:lstStyle>
          <a:p>
            <a:fld id="{2F52207C-82B7-462B-B9CF-0CBC5B154DF1}" type="slidenum">
              <a:rPr lang="el-GR" altLang="el-GR"/>
              <a:pPr/>
              <a:t>‹#›</a:t>
            </a:fld>
            <a:endParaRPr lang="el-GR" altLang="el-GR"/>
          </a:p>
        </p:txBody>
      </p:sp>
    </p:spTree>
    <p:extLst>
      <p:ext uri="{BB962C8B-B14F-4D97-AF65-F5344CB8AC3E}">
        <p14:creationId xmlns:p14="http://schemas.microsoft.com/office/powerpoint/2010/main" val="2851060963"/>
      </p:ext>
    </p:extLst>
  </p:cSld>
  <p:clrMapOvr>
    <a:masterClrMapping/>
  </p:clrMapOvr>
  <p:transition>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B1BBD-7187-40F0-971B-4A15C15314DE}"/>
              </a:ext>
            </a:extLst>
          </p:cNvPr>
          <p:cNvSpPr>
            <a:spLocks noGrp="1"/>
          </p:cNvSpPr>
          <p:nvPr>
            <p:ph type="title"/>
          </p:nvPr>
        </p:nvSpPr>
        <p:spPr>
          <a:xfrm>
            <a:off x="708025" y="457200"/>
            <a:ext cx="3317875" cy="1600200"/>
          </a:xfrm>
        </p:spPr>
        <p:txBody>
          <a:bodyPr anchor="b"/>
          <a:lstStyle>
            <a:lvl1pPr>
              <a:defRPr sz="32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7BF32E34-13D9-4ADB-BCDC-502F71FEB3E8}"/>
              </a:ext>
            </a:extLst>
          </p:cNvPr>
          <p:cNvSpPr>
            <a:spLocks noGrp="1"/>
          </p:cNvSpPr>
          <p:nvPr>
            <p:ph type="pic" idx="1"/>
          </p:nvPr>
        </p:nvSpPr>
        <p:spPr>
          <a:xfrm>
            <a:off x="4373563" y="987425"/>
            <a:ext cx="52070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a:extLst>
              <a:ext uri="{FF2B5EF4-FFF2-40B4-BE49-F238E27FC236}">
                <a16:creationId xmlns:a16="http://schemas.microsoft.com/office/drawing/2014/main" id="{27EA06B2-CA7B-4768-B0A5-78E2E9A042FE}"/>
              </a:ext>
            </a:extLst>
          </p:cNvPr>
          <p:cNvSpPr>
            <a:spLocks noGrp="1"/>
          </p:cNvSpPr>
          <p:nvPr>
            <p:ph type="body" sz="half" idx="2"/>
          </p:nvPr>
        </p:nvSpPr>
        <p:spPr>
          <a:xfrm>
            <a:off x="708025" y="2057400"/>
            <a:ext cx="33178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A3ACBE4-1E5B-433E-8ED9-6CE665FE1D54}"/>
              </a:ext>
            </a:extLst>
          </p:cNvPr>
          <p:cNvSpPr>
            <a:spLocks noGrp="1"/>
          </p:cNvSpPr>
          <p:nvPr>
            <p:ph type="dt" sz="half" idx="10"/>
          </p:nvPr>
        </p:nvSpPr>
        <p:spPr/>
        <p:txBody>
          <a:bodyPr/>
          <a:lstStyle>
            <a:lvl1pPr>
              <a:defRPr/>
            </a:lvl1pPr>
          </a:lstStyle>
          <a:p>
            <a:endParaRPr lang="el-GR" altLang="el-GR"/>
          </a:p>
        </p:txBody>
      </p:sp>
      <p:sp>
        <p:nvSpPr>
          <p:cNvPr id="6" name="Footer Placeholder 5">
            <a:extLst>
              <a:ext uri="{FF2B5EF4-FFF2-40B4-BE49-F238E27FC236}">
                <a16:creationId xmlns:a16="http://schemas.microsoft.com/office/drawing/2014/main" id="{6E9E5FFE-FCBF-42FC-8581-9117D29ACEAD}"/>
              </a:ext>
            </a:extLst>
          </p:cNvPr>
          <p:cNvSpPr>
            <a:spLocks noGrp="1"/>
          </p:cNvSpPr>
          <p:nvPr>
            <p:ph type="ftr" sz="quarter" idx="11"/>
          </p:nvPr>
        </p:nvSpPr>
        <p:spPr/>
        <p:txBody>
          <a:bodyPr/>
          <a:lstStyle>
            <a:lvl1pPr>
              <a:defRPr/>
            </a:lvl1pPr>
          </a:lstStyle>
          <a:p>
            <a:endParaRPr lang="el-GR" altLang="el-GR"/>
          </a:p>
        </p:txBody>
      </p:sp>
      <p:sp>
        <p:nvSpPr>
          <p:cNvPr id="7" name="Slide Number Placeholder 6">
            <a:extLst>
              <a:ext uri="{FF2B5EF4-FFF2-40B4-BE49-F238E27FC236}">
                <a16:creationId xmlns:a16="http://schemas.microsoft.com/office/drawing/2014/main" id="{5F440BFF-AA93-4697-AA59-A34DA5271932}"/>
              </a:ext>
            </a:extLst>
          </p:cNvPr>
          <p:cNvSpPr>
            <a:spLocks noGrp="1"/>
          </p:cNvSpPr>
          <p:nvPr>
            <p:ph type="sldNum" sz="quarter" idx="12"/>
          </p:nvPr>
        </p:nvSpPr>
        <p:spPr/>
        <p:txBody>
          <a:bodyPr/>
          <a:lstStyle>
            <a:lvl1pPr>
              <a:defRPr/>
            </a:lvl1pPr>
          </a:lstStyle>
          <a:p>
            <a:fld id="{37949B78-FA9F-4BF4-83FD-F3AC60D38ED0}" type="slidenum">
              <a:rPr lang="el-GR" altLang="el-GR"/>
              <a:pPr/>
              <a:t>‹#›</a:t>
            </a:fld>
            <a:endParaRPr lang="el-GR" altLang="el-GR"/>
          </a:p>
        </p:txBody>
      </p:sp>
    </p:spTree>
    <p:extLst>
      <p:ext uri="{BB962C8B-B14F-4D97-AF65-F5344CB8AC3E}">
        <p14:creationId xmlns:p14="http://schemas.microsoft.com/office/powerpoint/2010/main" val="3962381482"/>
      </p:ext>
    </p:extLst>
  </p:cSld>
  <p:clrMapOvr>
    <a:masterClrMapping/>
  </p:clrMapOvr>
  <p:transition>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891A8-28FC-4A1F-A421-6CC8D4943DA6}"/>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3C6B7153-B08B-4A22-BE0D-BA62CA839BC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D73CA80C-CB76-4DE9-A07A-BC1BEA19131E}"/>
              </a:ext>
            </a:extLst>
          </p:cNvPr>
          <p:cNvSpPr>
            <a:spLocks noGrp="1"/>
          </p:cNvSpPr>
          <p:nvPr>
            <p:ph type="dt" sz="half" idx="10"/>
          </p:nvPr>
        </p:nvSpPr>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6E6CC542-7F68-4DF8-92F8-404F4BA4565F}"/>
              </a:ext>
            </a:extLst>
          </p:cNvPr>
          <p:cNvSpPr>
            <a:spLocks noGrp="1"/>
          </p:cNvSpPr>
          <p:nvPr>
            <p:ph type="ftr" sz="quarter" idx="11"/>
          </p:nvPr>
        </p:nvSpPr>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34516CE7-BC36-4B5E-A5D3-5CD7911B43FF}"/>
              </a:ext>
            </a:extLst>
          </p:cNvPr>
          <p:cNvSpPr>
            <a:spLocks noGrp="1"/>
          </p:cNvSpPr>
          <p:nvPr>
            <p:ph type="sldNum" sz="quarter" idx="12"/>
          </p:nvPr>
        </p:nvSpPr>
        <p:spPr/>
        <p:txBody>
          <a:bodyPr/>
          <a:lstStyle>
            <a:lvl1pPr>
              <a:defRPr/>
            </a:lvl1pPr>
          </a:lstStyle>
          <a:p>
            <a:fld id="{578FC2A1-253D-400E-AA4F-C9A989508B6D}" type="slidenum">
              <a:rPr lang="el-GR" altLang="el-GR"/>
              <a:pPr/>
              <a:t>‹#›</a:t>
            </a:fld>
            <a:endParaRPr lang="el-GR" altLang="el-GR"/>
          </a:p>
        </p:txBody>
      </p:sp>
    </p:spTree>
    <p:extLst>
      <p:ext uri="{BB962C8B-B14F-4D97-AF65-F5344CB8AC3E}">
        <p14:creationId xmlns:p14="http://schemas.microsoft.com/office/powerpoint/2010/main" val="313772809"/>
      </p:ext>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F47F53-F3BF-4D0E-884F-9C9B866B71AF}"/>
              </a:ext>
            </a:extLst>
          </p:cNvPr>
          <p:cNvSpPr>
            <a:spLocks noGrp="1"/>
          </p:cNvSpPr>
          <p:nvPr>
            <p:ph type="title" orient="vert"/>
          </p:nvPr>
        </p:nvSpPr>
        <p:spPr>
          <a:xfrm>
            <a:off x="7329488" y="609600"/>
            <a:ext cx="2185987" cy="5486400"/>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B6300C53-E6FB-4A22-AD4A-5B8255A6C684}"/>
              </a:ext>
            </a:extLst>
          </p:cNvPr>
          <p:cNvSpPr>
            <a:spLocks noGrp="1"/>
          </p:cNvSpPr>
          <p:nvPr>
            <p:ph type="body" orient="vert" idx="1"/>
          </p:nvPr>
        </p:nvSpPr>
        <p:spPr>
          <a:xfrm>
            <a:off x="771525" y="609600"/>
            <a:ext cx="6405563"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C4883E28-5AB6-4434-904E-1F2F442A912A}"/>
              </a:ext>
            </a:extLst>
          </p:cNvPr>
          <p:cNvSpPr>
            <a:spLocks noGrp="1"/>
          </p:cNvSpPr>
          <p:nvPr>
            <p:ph type="dt" sz="half" idx="10"/>
          </p:nvPr>
        </p:nvSpPr>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5500B3BE-65B9-4360-9433-86A67EC93CE0}"/>
              </a:ext>
            </a:extLst>
          </p:cNvPr>
          <p:cNvSpPr>
            <a:spLocks noGrp="1"/>
          </p:cNvSpPr>
          <p:nvPr>
            <p:ph type="ftr" sz="quarter" idx="11"/>
          </p:nvPr>
        </p:nvSpPr>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1CD8AE13-A673-4EFF-B8E5-6520E42FB607}"/>
              </a:ext>
            </a:extLst>
          </p:cNvPr>
          <p:cNvSpPr>
            <a:spLocks noGrp="1"/>
          </p:cNvSpPr>
          <p:nvPr>
            <p:ph type="sldNum" sz="quarter" idx="12"/>
          </p:nvPr>
        </p:nvSpPr>
        <p:spPr/>
        <p:txBody>
          <a:bodyPr/>
          <a:lstStyle>
            <a:lvl1pPr>
              <a:defRPr/>
            </a:lvl1pPr>
          </a:lstStyle>
          <a:p>
            <a:fld id="{C2095B21-3F3C-4D6A-8FFA-4CABAF420C04}" type="slidenum">
              <a:rPr lang="el-GR" altLang="el-GR"/>
              <a:pPr/>
              <a:t>‹#›</a:t>
            </a:fld>
            <a:endParaRPr lang="el-GR" altLang="el-GR"/>
          </a:p>
        </p:txBody>
      </p:sp>
    </p:spTree>
    <p:extLst>
      <p:ext uri="{BB962C8B-B14F-4D97-AF65-F5344CB8AC3E}">
        <p14:creationId xmlns:p14="http://schemas.microsoft.com/office/powerpoint/2010/main" val="1661968933"/>
      </p:ext>
    </p:extLst>
  </p:cSld>
  <p:clrMapOvr>
    <a:masterClrMapping/>
  </p:clrMapOvr>
  <p:transition>
    <p:wipe dir="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6389D-81A7-4553-9DCD-014E01E3AD0D}"/>
              </a:ext>
            </a:extLst>
          </p:cNvPr>
          <p:cNvSpPr>
            <a:spLocks noGrp="1"/>
          </p:cNvSpPr>
          <p:nvPr>
            <p:ph type="title"/>
          </p:nvPr>
        </p:nvSpPr>
        <p:spPr>
          <a:xfrm>
            <a:off x="771525" y="609600"/>
            <a:ext cx="8743950" cy="1143000"/>
          </a:xfrm>
        </p:spPr>
        <p:txBody>
          <a:bodyPr/>
          <a:lstStyle/>
          <a:p>
            <a:r>
              <a:rPr lang="en-US"/>
              <a:t>Click to edit Master title style</a:t>
            </a:r>
            <a:endParaRPr lang="el-GR"/>
          </a:p>
        </p:txBody>
      </p:sp>
      <p:sp>
        <p:nvSpPr>
          <p:cNvPr id="3" name="Chart Placeholder 2">
            <a:extLst>
              <a:ext uri="{FF2B5EF4-FFF2-40B4-BE49-F238E27FC236}">
                <a16:creationId xmlns:a16="http://schemas.microsoft.com/office/drawing/2014/main" id="{7FA23F64-CBCC-4316-AF19-136598E273D9}"/>
              </a:ext>
            </a:extLst>
          </p:cNvPr>
          <p:cNvSpPr>
            <a:spLocks noGrp="1"/>
          </p:cNvSpPr>
          <p:nvPr>
            <p:ph type="chart" idx="1"/>
          </p:nvPr>
        </p:nvSpPr>
        <p:spPr>
          <a:xfrm>
            <a:off x="771525" y="1981200"/>
            <a:ext cx="8743950" cy="4114800"/>
          </a:xfrm>
        </p:spPr>
        <p:txBody>
          <a:bodyPr/>
          <a:lstStyle/>
          <a:p>
            <a:endParaRPr lang="el-GR"/>
          </a:p>
        </p:txBody>
      </p:sp>
      <p:sp>
        <p:nvSpPr>
          <p:cNvPr id="4" name="Date Placeholder 3">
            <a:extLst>
              <a:ext uri="{FF2B5EF4-FFF2-40B4-BE49-F238E27FC236}">
                <a16:creationId xmlns:a16="http://schemas.microsoft.com/office/drawing/2014/main" id="{8F0B7158-3C57-4348-9619-7C9346889676}"/>
              </a:ext>
            </a:extLst>
          </p:cNvPr>
          <p:cNvSpPr>
            <a:spLocks noGrp="1"/>
          </p:cNvSpPr>
          <p:nvPr>
            <p:ph type="dt" sz="half" idx="10"/>
          </p:nvPr>
        </p:nvSpPr>
        <p:spPr>
          <a:xfrm>
            <a:off x="771525" y="6248400"/>
            <a:ext cx="2143125" cy="457200"/>
          </a:xfrm>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ABDC868C-3BC6-442F-84F9-65D6F46C3901}"/>
              </a:ext>
            </a:extLst>
          </p:cNvPr>
          <p:cNvSpPr>
            <a:spLocks noGrp="1"/>
          </p:cNvSpPr>
          <p:nvPr>
            <p:ph type="ftr" sz="quarter" idx="11"/>
          </p:nvPr>
        </p:nvSpPr>
        <p:spPr>
          <a:xfrm>
            <a:off x="3514725" y="6248400"/>
            <a:ext cx="3257550" cy="457200"/>
          </a:xfrm>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57EC148C-CCCA-4A99-8DD5-C8CEB82FBB7A}"/>
              </a:ext>
            </a:extLst>
          </p:cNvPr>
          <p:cNvSpPr>
            <a:spLocks noGrp="1"/>
          </p:cNvSpPr>
          <p:nvPr>
            <p:ph type="sldNum" sz="quarter" idx="12"/>
          </p:nvPr>
        </p:nvSpPr>
        <p:spPr>
          <a:xfrm>
            <a:off x="7372350" y="6248400"/>
            <a:ext cx="2143125" cy="457200"/>
          </a:xfrm>
        </p:spPr>
        <p:txBody>
          <a:bodyPr/>
          <a:lstStyle>
            <a:lvl1pPr>
              <a:defRPr/>
            </a:lvl1pPr>
          </a:lstStyle>
          <a:p>
            <a:fld id="{7F3AEAE0-8707-4249-B969-4C84A7E96375}" type="slidenum">
              <a:rPr lang="el-GR" altLang="el-GR"/>
              <a:pPr/>
              <a:t>‹#›</a:t>
            </a:fld>
            <a:endParaRPr lang="el-GR" altLang="el-GR"/>
          </a:p>
        </p:txBody>
      </p:sp>
    </p:spTree>
    <p:extLst>
      <p:ext uri="{BB962C8B-B14F-4D97-AF65-F5344CB8AC3E}">
        <p14:creationId xmlns:p14="http://schemas.microsoft.com/office/powerpoint/2010/main" val="880611627"/>
      </p:ext>
    </p:extLst>
  </p:cSld>
  <p:clrMapOvr>
    <a:masterClrMapping/>
  </p:clrMapOvr>
  <p:transition>
    <p:wipe dir="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52581-1A8D-4521-89EB-BC513485CD1A}"/>
              </a:ext>
            </a:extLst>
          </p:cNvPr>
          <p:cNvSpPr>
            <a:spLocks noGrp="1"/>
          </p:cNvSpPr>
          <p:nvPr>
            <p:ph type="title"/>
          </p:nvPr>
        </p:nvSpPr>
        <p:spPr>
          <a:xfrm>
            <a:off x="771525" y="609600"/>
            <a:ext cx="8743950" cy="1143000"/>
          </a:xfrm>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AFAAF9BE-D192-4C85-A532-1B4B855C3B09}"/>
              </a:ext>
            </a:extLst>
          </p:cNvPr>
          <p:cNvSpPr>
            <a:spLocks noGrp="1"/>
          </p:cNvSpPr>
          <p:nvPr>
            <p:ph sz="half" idx="1"/>
          </p:nvPr>
        </p:nvSpPr>
        <p:spPr>
          <a:xfrm>
            <a:off x="771525" y="1981200"/>
            <a:ext cx="874395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A067797E-E288-4AEC-9A26-3EA3246F1B3F}"/>
              </a:ext>
            </a:extLst>
          </p:cNvPr>
          <p:cNvSpPr>
            <a:spLocks noGrp="1"/>
          </p:cNvSpPr>
          <p:nvPr>
            <p:ph type="body" sz="half" idx="2"/>
          </p:nvPr>
        </p:nvSpPr>
        <p:spPr>
          <a:xfrm>
            <a:off x="771525" y="4114800"/>
            <a:ext cx="8743950" cy="198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36ECD5CD-CB76-4DBB-A646-E46ECB1B4F73}"/>
              </a:ext>
            </a:extLst>
          </p:cNvPr>
          <p:cNvSpPr>
            <a:spLocks noGrp="1"/>
          </p:cNvSpPr>
          <p:nvPr>
            <p:ph type="dt" sz="half" idx="10"/>
          </p:nvPr>
        </p:nvSpPr>
        <p:spPr>
          <a:xfrm>
            <a:off x="771525" y="6248400"/>
            <a:ext cx="2143125" cy="457200"/>
          </a:xfrm>
        </p:spPr>
        <p:txBody>
          <a:bodyPr/>
          <a:lstStyle>
            <a:lvl1pPr>
              <a:defRPr/>
            </a:lvl1pPr>
          </a:lstStyle>
          <a:p>
            <a:endParaRPr lang="el-GR" altLang="el-GR"/>
          </a:p>
        </p:txBody>
      </p:sp>
      <p:sp>
        <p:nvSpPr>
          <p:cNvPr id="6" name="Footer Placeholder 5">
            <a:extLst>
              <a:ext uri="{FF2B5EF4-FFF2-40B4-BE49-F238E27FC236}">
                <a16:creationId xmlns:a16="http://schemas.microsoft.com/office/drawing/2014/main" id="{EF59FDBD-362B-445D-934D-6D03F8D55CF2}"/>
              </a:ext>
            </a:extLst>
          </p:cNvPr>
          <p:cNvSpPr>
            <a:spLocks noGrp="1"/>
          </p:cNvSpPr>
          <p:nvPr>
            <p:ph type="ftr" sz="quarter" idx="11"/>
          </p:nvPr>
        </p:nvSpPr>
        <p:spPr>
          <a:xfrm>
            <a:off x="3514725" y="6248400"/>
            <a:ext cx="3257550" cy="457200"/>
          </a:xfrm>
        </p:spPr>
        <p:txBody>
          <a:bodyPr/>
          <a:lstStyle>
            <a:lvl1pPr>
              <a:defRPr/>
            </a:lvl1pPr>
          </a:lstStyle>
          <a:p>
            <a:endParaRPr lang="el-GR" altLang="el-GR"/>
          </a:p>
        </p:txBody>
      </p:sp>
      <p:sp>
        <p:nvSpPr>
          <p:cNvPr id="7" name="Slide Number Placeholder 6">
            <a:extLst>
              <a:ext uri="{FF2B5EF4-FFF2-40B4-BE49-F238E27FC236}">
                <a16:creationId xmlns:a16="http://schemas.microsoft.com/office/drawing/2014/main" id="{E5C69E75-6EAD-451E-8774-F977305614B6}"/>
              </a:ext>
            </a:extLst>
          </p:cNvPr>
          <p:cNvSpPr>
            <a:spLocks noGrp="1"/>
          </p:cNvSpPr>
          <p:nvPr>
            <p:ph type="sldNum" sz="quarter" idx="12"/>
          </p:nvPr>
        </p:nvSpPr>
        <p:spPr>
          <a:xfrm>
            <a:off x="7372350" y="6248400"/>
            <a:ext cx="2143125" cy="457200"/>
          </a:xfrm>
        </p:spPr>
        <p:txBody>
          <a:bodyPr/>
          <a:lstStyle>
            <a:lvl1pPr>
              <a:defRPr/>
            </a:lvl1pPr>
          </a:lstStyle>
          <a:p>
            <a:fld id="{C7BCA890-30D3-4AB7-99B6-DD3429D53B45}" type="slidenum">
              <a:rPr lang="el-GR" altLang="el-GR"/>
              <a:pPr/>
              <a:t>‹#›</a:t>
            </a:fld>
            <a:endParaRPr lang="el-GR" altLang="el-GR"/>
          </a:p>
        </p:txBody>
      </p:sp>
    </p:spTree>
    <p:extLst>
      <p:ext uri="{BB962C8B-B14F-4D97-AF65-F5344CB8AC3E}">
        <p14:creationId xmlns:p14="http://schemas.microsoft.com/office/powerpoint/2010/main" val="536059978"/>
      </p:ext>
    </p:extLst>
  </p:cSld>
  <p:clrMapOvr>
    <a:masterClrMapping/>
  </p:clrMapOvr>
  <p:transition>
    <p:wipe dir="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026B084E-01FC-4107-B5FA-9D009F951120}" type="slidenum">
              <a:rPr lang="de-DE" altLang="de-DE"/>
              <a:pPr>
                <a:defRPr/>
              </a:pPr>
              <a:t>‹#›</a:t>
            </a:fld>
            <a:endParaRPr lang="de-DE" altLang="de-DE"/>
          </a:p>
        </p:txBody>
      </p:sp>
    </p:spTree>
    <p:extLst>
      <p:ext uri="{BB962C8B-B14F-4D97-AF65-F5344CB8AC3E}">
        <p14:creationId xmlns:p14="http://schemas.microsoft.com/office/powerpoint/2010/main" val="3631243510"/>
      </p:ext>
    </p:extLst>
  </p:cSld>
  <p:clrMapOvr>
    <a:masterClrMapping/>
  </p:clrMapOvr>
  <p:transition>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8980" y="314312"/>
            <a:ext cx="8887968" cy="908622"/>
          </a:xfrm>
        </p:spPr>
        <p:txBody>
          <a:bodyPr/>
          <a:lstStyle>
            <a:lvl1pPr>
              <a:defRPr sz="3000"/>
            </a:lvl1pPr>
          </a:lstStyle>
          <a:p>
            <a:r>
              <a:rPr lang="en-US" dirty="0"/>
              <a:t>Click to edit Master title style</a:t>
            </a:r>
          </a:p>
        </p:txBody>
      </p:sp>
      <p:sp>
        <p:nvSpPr>
          <p:cNvPr id="3" name="Content Placeholder 2"/>
          <p:cNvSpPr>
            <a:spLocks noGrp="1"/>
          </p:cNvSpPr>
          <p:nvPr>
            <p:ph idx="1"/>
          </p:nvPr>
        </p:nvSpPr>
        <p:spPr>
          <a:xfrm>
            <a:off x="282178" y="1387366"/>
            <a:ext cx="9815513" cy="5200759"/>
          </a:xfrm>
        </p:spPr>
        <p:txBody>
          <a:bodyPr/>
          <a:lstStyle>
            <a:lvl1pPr>
              <a:buClrTx/>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300038" y="6350298"/>
            <a:ext cx="5286375" cy="457200"/>
          </a:xfrm>
        </p:spPr>
        <p:txBody>
          <a:bodyPr anchor="b"/>
          <a:lstStyle>
            <a:lvl1pPr marL="0" indent="0">
              <a:spcBef>
                <a:spcPts val="0"/>
              </a:spcBef>
              <a:buNone/>
              <a:defRPr sz="1100"/>
            </a:lvl1pPr>
          </a:lstStyle>
          <a:p>
            <a:pPr lvl="0"/>
            <a:r>
              <a:rPr lang="en-US" dirty="0"/>
              <a:t>Click to edit Master text styles</a:t>
            </a:r>
          </a:p>
        </p:txBody>
      </p:sp>
      <p:sp>
        <p:nvSpPr>
          <p:cNvPr id="5" name="Content Placeholder 4"/>
          <p:cNvSpPr>
            <a:spLocks noGrp="1"/>
          </p:cNvSpPr>
          <p:nvPr>
            <p:ph sz="quarter" idx="12"/>
          </p:nvPr>
        </p:nvSpPr>
        <p:spPr>
          <a:xfrm>
            <a:off x="5786437" y="6320136"/>
            <a:ext cx="4329113" cy="487362"/>
          </a:xfrm>
        </p:spPr>
        <p:txBody>
          <a:bodyPr anchor="b"/>
          <a:lstStyle>
            <a:lvl1pPr marL="0" indent="0" algn="r">
              <a:buNone/>
              <a:defRPr sz="1100"/>
            </a:lvl1pPr>
            <a:lvl2pPr>
              <a:defRPr sz="1200"/>
            </a:lvl2pPr>
            <a:lvl3pPr>
              <a:defRPr sz="1200"/>
            </a:lvl3pPr>
            <a:lvl4pPr>
              <a:defRPr sz="1200"/>
            </a:lvl4pPr>
            <a:lvl5pPr>
              <a:defRPr sz="1200"/>
            </a:lvl5pPr>
          </a:lstStyle>
          <a:p>
            <a:pPr lvl="0"/>
            <a:r>
              <a:rPr lang="en-US" dirty="0"/>
              <a:t>Click to edit Master text styles</a:t>
            </a:r>
          </a:p>
        </p:txBody>
      </p:sp>
    </p:spTree>
    <p:extLst>
      <p:ext uri="{BB962C8B-B14F-4D97-AF65-F5344CB8AC3E}">
        <p14:creationId xmlns:p14="http://schemas.microsoft.com/office/powerpoint/2010/main" val="3306728632"/>
      </p:ext>
    </p:extLst>
  </p:cSld>
  <p:clrMapOvr>
    <a:masterClrMapping/>
  </p:clrMapOvr>
  <p:transition>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lvl1pPr>
              <a:defRPr sz="2800"/>
            </a:lvl1pPr>
            <a:lvl2pPr>
              <a:defRPr sz="2400"/>
            </a:lvl2pPr>
            <a:lvl3pPr>
              <a:defRPr sz="2000"/>
            </a:lvl3pPr>
            <a:lvl4pPr>
              <a:defRPr sz="1800"/>
            </a:lvl4pPr>
            <a:lvl5pPr>
              <a:defRPr sz="1800"/>
            </a:lvl5pPr>
          </a:lstStyle>
          <a:p>
            <a:pPr lvl="0"/>
            <a:r>
              <a:rPr lang="el-GR" dirty="0"/>
              <a:t>Kλικ για επεξεργασία των στυλ του υποδείγματος</a:t>
            </a:r>
          </a:p>
          <a:p>
            <a:pPr lvl="1"/>
            <a:r>
              <a:rPr lang="el-GR" dirty="0"/>
              <a:t>Δεύτερου επιπέδου</a:t>
            </a:r>
          </a:p>
          <a:p>
            <a:pPr lvl="2"/>
            <a:r>
              <a:rPr lang="el-GR" dirty="0"/>
              <a:t>Τρίτου επιπέδου</a:t>
            </a:r>
          </a:p>
          <a:p>
            <a:pPr lvl="3"/>
            <a:r>
              <a:rPr lang="el-GR" dirty="0"/>
              <a:t>Τέταρτου επιπέδου</a:t>
            </a:r>
          </a:p>
          <a:p>
            <a:pPr lvl="4"/>
            <a:r>
              <a:rPr lang="el-GR" dirty="0"/>
              <a:t>Πέμπτου επιπέδου</a:t>
            </a:r>
          </a:p>
        </p:txBody>
      </p:sp>
      <p:sp>
        <p:nvSpPr>
          <p:cNvPr id="8" name="Text Placeholder 7"/>
          <p:cNvSpPr>
            <a:spLocks noGrp="1"/>
          </p:cNvSpPr>
          <p:nvPr>
            <p:ph type="body" sz="quarter" idx="13"/>
          </p:nvPr>
        </p:nvSpPr>
        <p:spPr>
          <a:xfrm>
            <a:off x="309611" y="6362526"/>
            <a:ext cx="6075759" cy="431800"/>
          </a:xfrm>
        </p:spPr>
        <p:txBody>
          <a:bodyPr anchor="b"/>
          <a:lstStyle>
            <a:lvl1pPr marL="0" indent="0">
              <a:spcBef>
                <a:spcPts val="0"/>
              </a:spcBef>
              <a:buNone/>
              <a:defRPr sz="1100"/>
            </a:lvl1pPr>
          </a:lstStyle>
          <a:p>
            <a:pPr lvl="0"/>
            <a:endParaRPr lang="en-GB" dirty="0"/>
          </a:p>
        </p:txBody>
      </p:sp>
      <p:sp>
        <p:nvSpPr>
          <p:cNvPr id="9" name="Text Placeholder 7"/>
          <p:cNvSpPr>
            <a:spLocks noGrp="1"/>
          </p:cNvSpPr>
          <p:nvPr>
            <p:ph type="body" sz="quarter" idx="14"/>
          </p:nvPr>
        </p:nvSpPr>
        <p:spPr>
          <a:xfrm>
            <a:off x="4033299" y="6362526"/>
            <a:ext cx="6075759" cy="431800"/>
          </a:xfrm>
        </p:spPr>
        <p:txBody>
          <a:bodyPr anchor="b"/>
          <a:lstStyle>
            <a:lvl1pPr marL="0" indent="0" algn="r">
              <a:spcBef>
                <a:spcPts val="0"/>
              </a:spcBef>
              <a:buNone/>
              <a:defRPr sz="1100"/>
            </a:lvl1pPr>
          </a:lstStyle>
          <a:p>
            <a:pPr lvl="0"/>
            <a:endParaRPr lang="en-GB" dirty="0"/>
          </a:p>
        </p:txBody>
      </p:sp>
    </p:spTree>
    <p:extLst>
      <p:ext uri="{BB962C8B-B14F-4D97-AF65-F5344CB8AC3E}">
        <p14:creationId xmlns:p14="http://schemas.microsoft.com/office/powerpoint/2010/main" val="3348865272"/>
      </p:ext>
    </p:extLst>
  </p:cSld>
  <p:clrMapOvr>
    <a:masterClrMapping/>
  </p:clrMapOvr>
  <p:transition>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4" name="Line 4"/>
          <p:cNvSpPr>
            <a:spLocks noChangeShapeType="1"/>
          </p:cNvSpPr>
          <p:nvPr/>
        </p:nvSpPr>
        <p:spPr bwMode="auto">
          <a:xfrm>
            <a:off x="771525" y="1066800"/>
            <a:ext cx="8915400" cy="0"/>
          </a:xfrm>
          <a:prstGeom prst="line">
            <a:avLst/>
          </a:prstGeom>
          <a:noFill/>
          <a:ln w="53975">
            <a:solidFill>
              <a:srgbClr val="969696"/>
            </a:solidFill>
            <a:round/>
            <a:headEnd/>
            <a:tailEnd/>
          </a:ln>
          <a:extLst>
            <a:ext uri="{909E8E84-426E-40DD-AFC4-6F175D3DCCD1}">
              <a14:hiddenFill xmlns:a14="http://schemas.microsoft.com/office/drawing/2010/main">
                <a:noFill/>
              </a14:hiddenFill>
            </a:ext>
          </a:extLst>
        </p:spPr>
        <p:txBody>
          <a:bodyPr wrap="none" anchor="ctr"/>
          <a:lstStyle/>
          <a:p>
            <a:pPr eaLnBrk="0" hangingPunct="0"/>
            <a:endParaRPr lang="it-IT" sz="3600" b="1" baseline="-25000">
              <a:solidFill>
                <a:prstClr val="black"/>
              </a:solidFill>
              <a:latin typeface="Calibri" pitchFamily="34" charset="0"/>
              <a:cs typeface="Arial" pitchFamily="34" charset="0"/>
            </a:endParaRPr>
          </a:p>
        </p:txBody>
      </p:sp>
      <p:sp>
        <p:nvSpPr>
          <p:cNvPr id="5" name="Line 25"/>
          <p:cNvSpPr>
            <a:spLocks noChangeShapeType="1"/>
          </p:cNvSpPr>
          <p:nvPr userDrawn="1"/>
        </p:nvSpPr>
        <p:spPr bwMode="auto">
          <a:xfrm>
            <a:off x="771525" y="1143000"/>
            <a:ext cx="8915400" cy="0"/>
          </a:xfrm>
          <a:prstGeom prst="line">
            <a:avLst/>
          </a:prstGeom>
          <a:noFill/>
          <a:ln w="53975">
            <a:solidFill>
              <a:srgbClr val="A50021"/>
            </a:solidFill>
            <a:round/>
            <a:headEnd/>
            <a:tailEnd/>
          </a:ln>
          <a:extLst>
            <a:ext uri="{909E8E84-426E-40DD-AFC4-6F175D3DCCD1}">
              <a14:hiddenFill xmlns:a14="http://schemas.microsoft.com/office/drawing/2010/main">
                <a:noFill/>
              </a14:hiddenFill>
            </a:ext>
          </a:extLst>
        </p:spPr>
        <p:txBody>
          <a:bodyPr wrap="none" anchor="ctr"/>
          <a:lstStyle/>
          <a:p>
            <a:pPr eaLnBrk="0" hangingPunct="0"/>
            <a:endParaRPr lang="it-IT" sz="3600" b="1" baseline="-25000">
              <a:solidFill>
                <a:prstClr val="black"/>
              </a:solidFill>
              <a:latin typeface="Calibri" pitchFamily="34" charset="0"/>
              <a:cs typeface="Arial" pitchFamily="34" charset="0"/>
            </a:endParaRPr>
          </a:p>
        </p:txBody>
      </p:sp>
      <p:sp>
        <p:nvSpPr>
          <p:cNvPr id="6" name="Text Box 27"/>
          <p:cNvSpPr txBox="1">
            <a:spLocks noChangeArrowheads="1"/>
          </p:cNvSpPr>
          <p:nvPr userDrawn="1"/>
        </p:nvSpPr>
        <p:spPr bwMode="auto">
          <a:xfrm>
            <a:off x="9315451" y="6578600"/>
            <a:ext cx="824265" cy="23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3600" b="1" baseline="-25000">
                <a:solidFill>
                  <a:schemeClr val="tx1"/>
                </a:solidFill>
                <a:latin typeface="Arial" charset="0"/>
              </a:defRPr>
            </a:lvl1pPr>
            <a:lvl2pPr marL="742950" indent="-285750" eaLnBrk="0" hangingPunct="0">
              <a:defRPr sz="3600" b="1" baseline="-25000">
                <a:solidFill>
                  <a:schemeClr val="tx1"/>
                </a:solidFill>
                <a:latin typeface="Arial" charset="0"/>
              </a:defRPr>
            </a:lvl2pPr>
            <a:lvl3pPr marL="1143000" indent="-228600" eaLnBrk="0" hangingPunct="0">
              <a:defRPr sz="3600" b="1" baseline="-25000">
                <a:solidFill>
                  <a:schemeClr val="tx1"/>
                </a:solidFill>
                <a:latin typeface="Arial" charset="0"/>
              </a:defRPr>
            </a:lvl3pPr>
            <a:lvl4pPr marL="1600200" indent="-228600" eaLnBrk="0" hangingPunct="0">
              <a:defRPr sz="3600" b="1" baseline="-25000">
                <a:solidFill>
                  <a:schemeClr val="tx1"/>
                </a:solidFill>
                <a:latin typeface="Arial" charset="0"/>
              </a:defRPr>
            </a:lvl4pPr>
            <a:lvl5pPr marL="2057400" indent="-228600" eaLnBrk="0" hangingPunct="0">
              <a:defRPr sz="3600" b="1" baseline="-25000">
                <a:solidFill>
                  <a:schemeClr val="tx1"/>
                </a:solidFill>
                <a:latin typeface="Arial" charset="0"/>
              </a:defRPr>
            </a:lvl5pPr>
            <a:lvl6pPr marL="2514600" indent="-228600" eaLnBrk="0" fontAlgn="base" hangingPunct="0">
              <a:spcBef>
                <a:spcPct val="0"/>
              </a:spcBef>
              <a:spcAft>
                <a:spcPct val="0"/>
              </a:spcAft>
              <a:defRPr sz="3600" b="1" baseline="-25000">
                <a:solidFill>
                  <a:schemeClr val="tx1"/>
                </a:solidFill>
                <a:latin typeface="Arial" charset="0"/>
              </a:defRPr>
            </a:lvl6pPr>
            <a:lvl7pPr marL="2971800" indent="-228600" eaLnBrk="0" fontAlgn="base" hangingPunct="0">
              <a:spcBef>
                <a:spcPct val="0"/>
              </a:spcBef>
              <a:spcAft>
                <a:spcPct val="0"/>
              </a:spcAft>
              <a:defRPr sz="3600" b="1" baseline="-25000">
                <a:solidFill>
                  <a:schemeClr val="tx1"/>
                </a:solidFill>
                <a:latin typeface="Arial" charset="0"/>
              </a:defRPr>
            </a:lvl7pPr>
            <a:lvl8pPr marL="3429000" indent="-228600" eaLnBrk="0" fontAlgn="base" hangingPunct="0">
              <a:spcBef>
                <a:spcPct val="0"/>
              </a:spcBef>
              <a:spcAft>
                <a:spcPct val="0"/>
              </a:spcAft>
              <a:defRPr sz="3600" b="1" baseline="-25000">
                <a:solidFill>
                  <a:schemeClr val="tx1"/>
                </a:solidFill>
                <a:latin typeface="Arial" charset="0"/>
              </a:defRPr>
            </a:lvl8pPr>
            <a:lvl9pPr marL="3886200" indent="-228600" eaLnBrk="0" fontAlgn="base" hangingPunct="0">
              <a:spcBef>
                <a:spcPct val="0"/>
              </a:spcBef>
              <a:spcAft>
                <a:spcPct val="0"/>
              </a:spcAft>
              <a:defRPr sz="3600" b="1" baseline="-25000">
                <a:solidFill>
                  <a:schemeClr val="tx1"/>
                </a:solidFill>
                <a:latin typeface="Arial" charset="0"/>
              </a:defRPr>
            </a:lvl9pPr>
          </a:lstStyle>
          <a:p>
            <a:pPr eaLnBrk="1" hangingPunct="1">
              <a:spcAft>
                <a:spcPct val="25000"/>
              </a:spcAft>
              <a:defRPr/>
            </a:pPr>
            <a:r>
              <a:rPr lang="en-US" sz="1400" b="0">
                <a:solidFill>
                  <a:prstClr val="black"/>
                </a:solidFill>
                <a:cs typeface="Arial" pitchFamily="34" charset="0"/>
              </a:rPr>
              <a:t>Confidential</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8990798"/>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7329488" y="609600"/>
            <a:ext cx="2185987" cy="5486400"/>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771525" y="609600"/>
            <a:ext cx="6405563" cy="5486400"/>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137A16F-2C39-4B29-82AF-D9E579619336}" type="slidenum">
              <a:rPr lang="el-GR"/>
              <a:pPr>
                <a:defRPr/>
              </a:pPr>
              <a:t>‹#›</a:t>
            </a:fld>
            <a:endParaRPr lang="el-GR"/>
          </a:p>
        </p:txBody>
      </p:sp>
    </p:spTree>
  </p:cSld>
  <p:clrMapOvr>
    <a:masterClrMapping/>
  </p:clrMapOvr>
  <p:transition spd="med">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chart">
  <p:cSld name="Τίτλος και Γράφημα">
    <p:spTree>
      <p:nvGrpSpPr>
        <p:cNvPr id="1" name=""/>
        <p:cNvGrpSpPr/>
        <p:nvPr/>
      </p:nvGrpSpPr>
      <p:grpSpPr>
        <a:xfrm>
          <a:off x="0" y="0"/>
          <a:ext cx="0" cy="0"/>
          <a:chOff x="0" y="0"/>
          <a:chExt cx="0" cy="0"/>
        </a:xfrm>
      </p:grpSpPr>
      <p:sp>
        <p:nvSpPr>
          <p:cNvPr id="2" name="1 - Τίτλος"/>
          <p:cNvSpPr>
            <a:spLocks noGrp="1"/>
          </p:cNvSpPr>
          <p:nvPr>
            <p:ph type="title"/>
          </p:nvPr>
        </p:nvSpPr>
        <p:spPr>
          <a:xfrm>
            <a:off x="771525" y="609600"/>
            <a:ext cx="8743950" cy="1143000"/>
          </a:xfrm>
        </p:spPr>
        <p:txBody>
          <a:bodyPr/>
          <a:lstStyle/>
          <a:p>
            <a:r>
              <a:rPr lang="el-GR"/>
              <a:t>Kλικ για επεξεργασία του τίτλου</a:t>
            </a:r>
          </a:p>
        </p:txBody>
      </p:sp>
      <p:sp>
        <p:nvSpPr>
          <p:cNvPr id="3" name="2 - Θέση γραφήματος"/>
          <p:cNvSpPr>
            <a:spLocks noGrp="1"/>
          </p:cNvSpPr>
          <p:nvPr>
            <p:ph type="chart" idx="1"/>
          </p:nvPr>
        </p:nvSpPr>
        <p:spPr>
          <a:xfrm>
            <a:off x="771525" y="1981200"/>
            <a:ext cx="8743950" cy="4114800"/>
          </a:xfrm>
        </p:spPr>
        <p:txBody>
          <a:bodyPr/>
          <a:lstStyle/>
          <a:p>
            <a:pPr lvl="0"/>
            <a:endParaRPr lang="el-GR" noProof="0"/>
          </a:p>
        </p:txBody>
      </p:sp>
      <p:sp>
        <p:nvSpPr>
          <p:cNvPr id="4" name="Rectangle 4"/>
          <p:cNvSpPr>
            <a:spLocks noGrp="1" noChangeArrowheads="1"/>
          </p:cNvSpPr>
          <p:nvPr>
            <p:ph type="dt" sz="half" idx="10"/>
          </p:nvPr>
        </p:nvSpPr>
        <p:spPr>
          <a:xfrm>
            <a:off x="771525" y="6248400"/>
            <a:ext cx="2143125" cy="457200"/>
          </a:xfrm>
          <a:prstGeom prst="rect">
            <a:avLst/>
          </a:prstGeom>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3514725" y="6248400"/>
            <a:ext cx="3257550" cy="457200"/>
          </a:xfrm>
          <a:prstGeom prst="rect">
            <a:avLst/>
          </a:prstGeom>
        </p:spPr>
        <p:txBody>
          <a:bodyPr/>
          <a:lstStyle>
            <a:lvl1pPr>
              <a:defRPr/>
            </a:lvl1pPr>
          </a:lstStyle>
          <a:p>
            <a:pPr>
              <a:defRPr/>
            </a:pPr>
            <a:r>
              <a:rPr lang="en-US"/>
              <a:t>GP</a:t>
            </a:r>
            <a:r>
              <a:rPr lang="el-GR"/>
              <a:t> – </a:t>
            </a:r>
            <a:r>
              <a:rPr lang="en-US"/>
              <a:t>Paris</a:t>
            </a:r>
            <a:r>
              <a:rPr lang="el-GR"/>
              <a:t>, 1</a:t>
            </a:r>
            <a:r>
              <a:rPr lang="en-US"/>
              <a:t>8</a:t>
            </a:r>
            <a:r>
              <a:rPr lang="el-GR"/>
              <a:t>/</a:t>
            </a:r>
            <a:r>
              <a:rPr lang="en-US"/>
              <a:t>1</a:t>
            </a:r>
            <a:r>
              <a:rPr lang="el-GR"/>
              <a:t>/20</a:t>
            </a:r>
            <a:r>
              <a:rPr lang="en-US"/>
              <a:t>11</a:t>
            </a:r>
            <a:endParaRPr lang="el-GR"/>
          </a:p>
        </p:txBody>
      </p:sp>
      <p:sp>
        <p:nvSpPr>
          <p:cNvPr id="6" name="Rectangle 6"/>
          <p:cNvSpPr>
            <a:spLocks noGrp="1" noChangeArrowheads="1"/>
          </p:cNvSpPr>
          <p:nvPr>
            <p:ph type="sldNum" sz="quarter" idx="12"/>
          </p:nvPr>
        </p:nvSpPr>
        <p:spPr/>
        <p:txBody>
          <a:bodyPr/>
          <a:lstStyle>
            <a:lvl1pPr>
              <a:defRPr/>
            </a:lvl1pPr>
          </a:lstStyle>
          <a:p>
            <a:pPr>
              <a:defRPr/>
            </a:pPr>
            <a:fld id="{BA688A2F-70C5-4560-8C2F-34A0968D7BBC}" type="slidenum">
              <a:rPr lang="el-GR"/>
              <a:pPr>
                <a:defRPr/>
              </a:pPr>
              <a:t>‹#›</a:t>
            </a:fld>
            <a:endParaRPr lang="el-GR"/>
          </a:p>
        </p:txBody>
      </p:sp>
    </p:spTree>
    <p:extLst>
      <p:ext uri="{BB962C8B-B14F-4D97-AF65-F5344CB8AC3E}">
        <p14:creationId xmlns:p14="http://schemas.microsoft.com/office/powerpoint/2010/main" val="2725051545"/>
      </p:ext>
    </p:extLst>
  </p:cSld>
  <p:clrMapOvr>
    <a:masterClrMapping/>
  </p:clrMapOvr>
  <p:transition>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7"/>
          <p:cNvSpPr>
            <a:spLocks noGrp="1"/>
          </p:cNvSpPr>
          <p:nvPr>
            <p:ph type="body" sz="quarter" idx="10"/>
          </p:nvPr>
        </p:nvSpPr>
        <p:spPr>
          <a:xfrm>
            <a:off x="69399" y="6512550"/>
            <a:ext cx="5317129" cy="288925"/>
          </a:xfrm>
          <a:prstGeom prst="rect">
            <a:avLst/>
          </a:prstGeom>
        </p:spPr>
        <p:txBody>
          <a:bodyPr anchor="b">
            <a:normAutofit/>
          </a:bodyPr>
          <a:lstStyle>
            <a:lvl1pPr marL="0" indent="0">
              <a:spcBef>
                <a:spcPts val="0"/>
              </a:spcBef>
              <a:buNone/>
              <a:defRPr sz="750">
                <a:latin typeface="Arial" panose="020B0604020202020204" pitchFamily="34" charset="0"/>
                <a:cs typeface="Arial" panose="020B0604020202020204" pitchFamily="34" charset="0"/>
              </a:defRPr>
            </a:lvl1pPr>
          </a:lstStyle>
          <a:p>
            <a:pPr lvl="0"/>
            <a:endParaRPr lang="en-GB" dirty="0"/>
          </a:p>
        </p:txBody>
      </p:sp>
      <p:sp>
        <p:nvSpPr>
          <p:cNvPr id="7" name="Text Placeholder 7"/>
          <p:cNvSpPr>
            <a:spLocks noGrp="1"/>
          </p:cNvSpPr>
          <p:nvPr>
            <p:ph type="body" sz="quarter" idx="11"/>
          </p:nvPr>
        </p:nvSpPr>
        <p:spPr>
          <a:xfrm>
            <a:off x="5629554" y="6512550"/>
            <a:ext cx="4583330" cy="288925"/>
          </a:xfrm>
          <a:prstGeom prst="rect">
            <a:avLst/>
          </a:prstGeom>
        </p:spPr>
        <p:txBody>
          <a:bodyPr anchor="b">
            <a:normAutofit/>
          </a:bodyPr>
          <a:lstStyle>
            <a:lvl1pPr marL="0" indent="0" algn="r">
              <a:spcBef>
                <a:spcPts val="0"/>
              </a:spcBef>
              <a:buNone/>
              <a:defRPr sz="750">
                <a:latin typeface="Arial" panose="020B0604020202020204" pitchFamily="34" charset="0"/>
                <a:cs typeface="Arial" panose="020B0604020202020204" pitchFamily="34" charset="0"/>
              </a:defRPr>
            </a:lvl1pPr>
          </a:lstStyle>
          <a:p>
            <a:pPr lvl="0"/>
            <a:endParaRPr lang="en-GB" dirty="0"/>
          </a:p>
        </p:txBody>
      </p:sp>
    </p:spTree>
    <p:extLst>
      <p:ext uri="{BB962C8B-B14F-4D97-AF65-F5344CB8AC3E}">
        <p14:creationId xmlns:p14="http://schemas.microsoft.com/office/powerpoint/2010/main" val="1900764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285875" y="1122363"/>
            <a:ext cx="7715250" cy="2387600"/>
          </a:xfrm>
        </p:spPr>
        <p:txBody>
          <a:bodyPr anchor="b"/>
          <a:lstStyle>
            <a:lvl1pPr algn="ctr">
              <a:defRPr sz="5063"/>
            </a:lvl1pPr>
          </a:lstStyle>
          <a:p>
            <a:r>
              <a:rPr lang="fr-FR"/>
              <a:t>Cliquez et modifiez le titre</a:t>
            </a:r>
          </a:p>
        </p:txBody>
      </p:sp>
      <p:sp>
        <p:nvSpPr>
          <p:cNvPr id="3" name="Sous-titre 2"/>
          <p:cNvSpPr>
            <a:spLocks noGrp="1"/>
          </p:cNvSpPr>
          <p:nvPr>
            <p:ph type="subTitle" idx="1"/>
          </p:nvPr>
        </p:nvSpPr>
        <p:spPr>
          <a:xfrm>
            <a:off x="1285875" y="3602038"/>
            <a:ext cx="7715250" cy="1655762"/>
          </a:xfrm>
        </p:spPr>
        <p:txBody>
          <a:bodyPr/>
          <a:lstStyle>
            <a:lvl1pPr marL="0" indent="0" algn="ctr">
              <a:buNone/>
              <a:defRPr sz="2025"/>
            </a:lvl1pPr>
            <a:lvl2pPr marL="385785" indent="0" algn="ctr">
              <a:buNone/>
              <a:defRPr sz="1688"/>
            </a:lvl2pPr>
            <a:lvl3pPr marL="771571" indent="0" algn="ctr">
              <a:buNone/>
              <a:defRPr sz="1519"/>
            </a:lvl3pPr>
            <a:lvl4pPr marL="1157356" indent="0" algn="ctr">
              <a:buNone/>
              <a:defRPr sz="1350"/>
            </a:lvl4pPr>
            <a:lvl5pPr marL="1543141" indent="0" algn="ctr">
              <a:buNone/>
              <a:defRPr sz="1350"/>
            </a:lvl5pPr>
            <a:lvl6pPr marL="1928927" indent="0" algn="ctr">
              <a:buNone/>
              <a:defRPr sz="1350"/>
            </a:lvl6pPr>
            <a:lvl7pPr marL="2314712" indent="0" algn="ctr">
              <a:buNone/>
              <a:defRPr sz="1350"/>
            </a:lvl7pPr>
            <a:lvl8pPr marL="2700498" indent="0" algn="ctr">
              <a:buNone/>
              <a:defRPr sz="1350"/>
            </a:lvl8pPr>
            <a:lvl9pPr marL="3086283" indent="0" algn="ctr">
              <a:buNone/>
              <a:defRPr sz="1350"/>
            </a:lvl9pPr>
          </a:lstStyle>
          <a:p>
            <a:r>
              <a:rPr lang="fr-FR"/>
              <a:t>Cliquez pour modifier le style des sous-titres du masque</a:t>
            </a:r>
          </a:p>
        </p:txBody>
      </p:sp>
      <p:sp>
        <p:nvSpPr>
          <p:cNvPr id="4" name="Espace réservé de la date 3">
            <a:extLst>
              <a:ext uri="{FF2B5EF4-FFF2-40B4-BE49-F238E27FC236}">
                <a16:creationId xmlns:a16="http://schemas.microsoft.com/office/drawing/2014/main" id="{500A2BDA-1D33-46F1-8A4E-AA47CF3D03F8}"/>
              </a:ext>
            </a:extLst>
          </p:cNvPr>
          <p:cNvSpPr>
            <a:spLocks noGrp="1"/>
          </p:cNvSpPr>
          <p:nvPr>
            <p:ph type="dt" sz="half" idx="10"/>
          </p:nvPr>
        </p:nvSpPr>
        <p:spPr/>
        <p:txBody>
          <a:bodyPr/>
          <a:lstStyle>
            <a:lvl1pPr>
              <a:defRPr/>
            </a:lvl1pPr>
          </a:lstStyle>
          <a:p>
            <a:pPr>
              <a:defRPr/>
            </a:pPr>
            <a:fld id="{8B6CC50E-7F1C-4A81-AB75-4695F204A8BD}" type="datetimeFigureOut">
              <a:rPr lang="fr-FR"/>
              <a:pPr>
                <a:defRPr/>
              </a:pPr>
              <a:t>28/09/2023</a:t>
            </a:fld>
            <a:endParaRPr lang="fr-FR"/>
          </a:p>
        </p:txBody>
      </p:sp>
      <p:sp>
        <p:nvSpPr>
          <p:cNvPr id="5" name="Espace réservé du pied de page 4">
            <a:extLst>
              <a:ext uri="{FF2B5EF4-FFF2-40B4-BE49-F238E27FC236}">
                <a16:creationId xmlns:a16="http://schemas.microsoft.com/office/drawing/2014/main" id="{C134EF73-B5C2-4705-A294-D4B70D3B23DC}"/>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EA6EAFBF-E042-4180-A751-65418A328F0A}"/>
              </a:ext>
            </a:extLst>
          </p:cNvPr>
          <p:cNvSpPr>
            <a:spLocks noGrp="1"/>
          </p:cNvSpPr>
          <p:nvPr>
            <p:ph type="sldNum" sz="quarter" idx="12"/>
          </p:nvPr>
        </p:nvSpPr>
        <p:spPr/>
        <p:txBody>
          <a:bodyPr/>
          <a:lstStyle>
            <a:lvl1pPr>
              <a:defRPr/>
            </a:lvl1pPr>
          </a:lstStyle>
          <a:p>
            <a:fld id="{EBF11193-8213-4114-9DBB-908FB96EBCD5}" type="slidenum">
              <a:rPr lang="fr-FR" altLang="el-GR"/>
              <a:pPr/>
              <a:t>‹#›</a:t>
            </a:fld>
            <a:endParaRPr lang="fr-FR" altLang="el-GR"/>
          </a:p>
        </p:txBody>
      </p:sp>
    </p:spTree>
    <p:extLst>
      <p:ext uri="{BB962C8B-B14F-4D97-AF65-F5344CB8AC3E}">
        <p14:creationId xmlns:p14="http://schemas.microsoft.com/office/powerpoint/2010/main" val="3306426593"/>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Text Placeholder 7"/>
          <p:cNvSpPr>
            <a:spLocks noGrp="1"/>
          </p:cNvSpPr>
          <p:nvPr>
            <p:ph type="body" sz="quarter" idx="13"/>
          </p:nvPr>
        </p:nvSpPr>
        <p:spPr>
          <a:xfrm>
            <a:off x="37604" y="6433988"/>
            <a:ext cx="5050094" cy="365125"/>
          </a:xfrm>
        </p:spPr>
        <p:txBody>
          <a:bodyPr anchor="ctr">
            <a:noAutofit/>
          </a:bodyPr>
          <a:lstStyle>
            <a:lvl1pPr marL="0" indent="0">
              <a:buNone/>
              <a:defRPr sz="886"/>
            </a:lvl1pPr>
            <a:lvl2pPr>
              <a:defRPr sz="1013"/>
            </a:lvl2pPr>
            <a:lvl3pPr>
              <a:defRPr sz="1013"/>
            </a:lvl3pPr>
            <a:lvl4pPr>
              <a:defRPr sz="1013"/>
            </a:lvl4pPr>
            <a:lvl5pPr>
              <a:defRPr sz="1013"/>
            </a:lvl5pPr>
          </a:lstStyle>
          <a:p>
            <a:pPr lvl="0"/>
            <a:r>
              <a:rPr lang="en-US" dirty="0"/>
              <a:t>Edit Master text styles</a:t>
            </a:r>
          </a:p>
        </p:txBody>
      </p:sp>
      <p:sp>
        <p:nvSpPr>
          <p:cNvPr id="10" name="Text Placeholder 9"/>
          <p:cNvSpPr>
            <a:spLocks noGrp="1"/>
          </p:cNvSpPr>
          <p:nvPr>
            <p:ph type="body" sz="quarter" idx="14"/>
          </p:nvPr>
        </p:nvSpPr>
        <p:spPr>
          <a:xfrm>
            <a:off x="4832949" y="6432670"/>
            <a:ext cx="5372774" cy="365125"/>
          </a:xfrm>
        </p:spPr>
        <p:txBody>
          <a:bodyPr anchor="ctr">
            <a:noAutofit/>
          </a:bodyPr>
          <a:lstStyle>
            <a:lvl1pPr marL="0" indent="0" algn="r">
              <a:buNone/>
              <a:defRPr sz="886"/>
            </a:lvl1pPr>
            <a:lvl2pPr>
              <a:defRPr sz="886"/>
            </a:lvl2pPr>
            <a:lvl3pPr>
              <a:defRPr sz="886"/>
            </a:lvl3pPr>
            <a:lvl4pPr>
              <a:defRPr sz="886"/>
            </a:lvl4pPr>
            <a:lvl5pPr>
              <a:defRPr sz="886"/>
            </a:lvl5pPr>
          </a:lstStyle>
          <a:p>
            <a:pPr lvl="0"/>
            <a:r>
              <a:rPr lang="en-US" dirty="0"/>
              <a:t>Edit Master text styles</a:t>
            </a:r>
          </a:p>
        </p:txBody>
      </p:sp>
    </p:spTree>
    <p:extLst>
      <p:ext uri="{BB962C8B-B14F-4D97-AF65-F5344CB8AC3E}">
        <p14:creationId xmlns:p14="http://schemas.microsoft.com/office/powerpoint/2010/main" val="604519768"/>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01873" y="1709739"/>
            <a:ext cx="8872538" cy="2852737"/>
          </a:xfrm>
        </p:spPr>
        <p:txBody>
          <a:bodyPr anchor="b"/>
          <a:lstStyle>
            <a:lvl1pPr>
              <a:defRPr sz="5063"/>
            </a:lvl1pPr>
          </a:lstStyle>
          <a:p>
            <a:r>
              <a:rPr lang="fr-FR"/>
              <a:t>Cliquez et modifiez le titre</a:t>
            </a:r>
          </a:p>
        </p:txBody>
      </p:sp>
      <p:sp>
        <p:nvSpPr>
          <p:cNvPr id="3" name="Espace réservé du texte 2"/>
          <p:cNvSpPr>
            <a:spLocks noGrp="1"/>
          </p:cNvSpPr>
          <p:nvPr>
            <p:ph type="body" idx="1"/>
          </p:nvPr>
        </p:nvSpPr>
        <p:spPr>
          <a:xfrm>
            <a:off x="701873" y="4589464"/>
            <a:ext cx="8872538" cy="1500187"/>
          </a:xfrm>
        </p:spPr>
        <p:txBody>
          <a:bodyPr/>
          <a:lstStyle>
            <a:lvl1pPr marL="0" indent="0">
              <a:buNone/>
              <a:defRPr sz="2025">
                <a:solidFill>
                  <a:schemeClr val="tx1">
                    <a:tint val="75000"/>
                  </a:schemeClr>
                </a:solidFill>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E5FF6F97-DB2B-4EC0-AB7D-0DD211154A6F}"/>
              </a:ext>
            </a:extLst>
          </p:cNvPr>
          <p:cNvSpPr>
            <a:spLocks noGrp="1"/>
          </p:cNvSpPr>
          <p:nvPr>
            <p:ph type="dt" sz="half" idx="10"/>
          </p:nvPr>
        </p:nvSpPr>
        <p:spPr/>
        <p:txBody>
          <a:bodyPr/>
          <a:lstStyle>
            <a:lvl1pPr>
              <a:defRPr/>
            </a:lvl1pPr>
          </a:lstStyle>
          <a:p>
            <a:pPr>
              <a:defRPr/>
            </a:pPr>
            <a:fld id="{FF2AC7B7-19DA-4A8F-A535-CC0481E1515A}" type="datetimeFigureOut">
              <a:rPr lang="fr-FR"/>
              <a:pPr>
                <a:defRPr/>
              </a:pPr>
              <a:t>28/09/2023</a:t>
            </a:fld>
            <a:endParaRPr lang="fr-FR"/>
          </a:p>
        </p:txBody>
      </p:sp>
      <p:sp>
        <p:nvSpPr>
          <p:cNvPr id="5" name="Espace réservé du pied de page 4">
            <a:extLst>
              <a:ext uri="{FF2B5EF4-FFF2-40B4-BE49-F238E27FC236}">
                <a16:creationId xmlns:a16="http://schemas.microsoft.com/office/drawing/2014/main" id="{4F8721E6-6EB1-48C3-89CD-3AF38EE10C90}"/>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114C0482-C482-4586-8ADB-3B439F59740F}"/>
              </a:ext>
            </a:extLst>
          </p:cNvPr>
          <p:cNvSpPr>
            <a:spLocks noGrp="1"/>
          </p:cNvSpPr>
          <p:nvPr>
            <p:ph type="sldNum" sz="quarter" idx="12"/>
          </p:nvPr>
        </p:nvSpPr>
        <p:spPr/>
        <p:txBody>
          <a:bodyPr/>
          <a:lstStyle>
            <a:lvl1pPr>
              <a:defRPr/>
            </a:lvl1pPr>
          </a:lstStyle>
          <a:p>
            <a:fld id="{85749288-3D74-49BF-8988-7576735191C9}" type="slidenum">
              <a:rPr lang="fr-FR" altLang="el-GR"/>
              <a:pPr/>
              <a:t>‹#›</a:t>
            </a:fld>
            <a:endParaRPr lang="fr-FR" altLang="el-GR"/>
          </a:p>
        </p:txBody>
      </p:sp>
    </p:spTree>
    <p:extLst>
      <p:ext uri="{BB962C8B-B14F-4D97-AF65-F5344CB8AC3E}">
        <p14:creationId xmlns:p14="http://schemas.microsoft.com/office/powerpoint/2010/main" val="876483514"/>
      </p:ext>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07231" y="1825625"/>
            <a:ext cx="4371975"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5207794" y="1825625"/>
            <a:ext cx="4371975"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3">
            <a:extLst>
              <a:ext uri="{FF2B5EF4-FFF2-40B4-BE49-F238E27FC236}">
                <a16:creationId xmlns:a16="http://schemas.microsoft.com/office/drawing/2014/main" id="{3EBA586F-35DE-417F-A683-9D510BC0A940}"/>
              </a:ext>
            </a:extLst>
          </p:cNvPr>
          <p:cNvSpPr>
            <a:spLocks noGrp="1"/>
          </p:cNvSpPr>
          <p:nvPr>
            <p:ph type="dt" sz="half" idx="10"/>
          </p:nvPr>
        </p:nvSpPr>
        <p:spPr/>
        <p:txBody>
          <a:bodyPr/>
          <a:lstStyle>
            <a:lvl1pPr>
              <a:defRPr/>
            </a:lvl1pPr>
          </a:lstStyle>
          <a:p>
            <a:pPr>
              <a:defRPr/>
            </a:pPr>
            <a:fld id="{4CF254CB-8965-4267-AA8C-BB8A355B9744}" type="datetimeFigureOut">
              <a:rPr lang="fr-FR"/>
              <a:pPr>
                <a:defRPr/>
              </a:pPr>
              <a:t>28/09/2023</a:t>
            </a:fld>
            <a:endParaRPr lang="fr-FR"/>
          </a:p>
        </p:txBody>
      </p:sp>
      <p:sp>
        <p:nvSpPr>
          <p:cNvPr id="6" name="Espace réservé du pied de page 4">
            <a:extLst>
              <a:ext uri="{FF2B5EF4-FFF2-40B4-BE49-F238E27FC236}">
                <a16:creationId xmlns:a16="http://schemas.microsoft.com/office/drawing/2014/main" id="{4E27DE37-950F-4944-9445-D8DFE7DFA47C}"/>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a:extLst>
              <a:ext uri="{FF2B5EF4-FFF2-40B4-BE49-F238E27FC236}">
                <a16:creationId xmlns:a16="http://schemas.microsoft.com/office/drawing/2014/main" id="{53B517E9-1FCC-4F09-85A3-37A4BE654040}"/>
              </a:ext>
            </a:extLst>
          </p:cNvPr>
          <p:cNvSpPr>
            <a:spLocks noGrp="1"/>
          </p:cNvSpPr>
          <p:nvPr>
            <p:ph type="sldNum" sz="quarter" idx="12"/>
          </p:nvPr>
        </p:nvSpPr>
        <p:spPr/>
        <p:txBody>
          <a:bodyPr/>
          <a:lstStyle>
            <a:lvl1pPr>
              <a:defRPr/>
            </a:lvl1pPr>
          </a:lstStyle>
          <a:p>
            <a:fld id="{915D1C53-4F61-4230-9BE7-106E7FFC3E87}" type="slidenum">
              <a:rPr lang="fr-FR" altLang="el-GR"/>
              <a:pPr/>
              <a:t>‹#›</a:t>
            </a:fld>
            <a:endParaRPr lang="fr-FR" altLang="el-GR"/>
          </a:p>
        </p:txBody>
      </p:sp>
    </p:spTree>
    <p:extLst>
      <p:ext uri="{BB962C8B-B14F-4D97-AF65-F5344CB8AC3E}">
        <p14:creationId xmlns:p14="http://schemas.microsoft.com/office/powerpoint/2010/main" val="1617826832"/>
      </p:ext>
    </p:extLst>
  </p:cSld>
  <p:clrMapOvr>
    <a:masterClrMapping/>
  </p:clrMapOvr>
  <p:transition spd="med">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708571" y="365126"/>
            <a:ext cx="8872538" cy="1325563"/>
          </a:xfrm>
        </p:spPr>
        <p:txBody>
          <a:bodyPr/>
          <a:lstStyle/>
          <a:p>
            <a:r>
              <a:rPr lang="fr-FR"/>
              <a:t>Cliquez et modifiez le titre</a:t>
            </a:r>
          </a:p>
        </p:txBody>
      </p:sp>
      <p:sp>
        <p:nvSpPr>
          <p:cNvPr id="3" name="Espace réservé du texte 2"/>
          <p:cNvSpPr>
            <a:spLocks noGrp="1"/>
          </p:cNvSpPr>
          <p:nvPr>
            <p:ph type="body" idx="1"/>
          </p:nvPr>
        </p:nvSpPr>
        <p:spPr>
          <a:xfrm>
            <a:off x="708571" y="1681163"/>
            <a:ext cx="4351883" cy="823912"/>
          </a:xfrm>
        </p:spPr>
        <p:txBody>
          <a:bodyPr anchor="b"/>
          <a:lstStyle>
            <a:lvl1pPr marL="0" indent="0">
              <a:buNone/>
              <a:defRPr sz="2025" b="1"/>
            </a:lvl1pPr>
            <a:lvl2pPr marL="385785" indent="0">
              <a:buNone/>
              <a:defRPr sz="1688" b="1"/>
            </a:lvl2pPr>
            <a:lvl3pPr marL="771571" indent="0">
              <a:buNone/>
              <a:defRPr sz="1519" b="1"/>
            </a:lvl3pPr>
            <a:lvl4pPr marL="1157356" indent="0">
              <a:buNone/>
              <a:defRPr sz="1350" b="1"/>
            </a:lvl4pPr>
            <a:lvl5pPr marL="1543141" indent="0">
              <a:buNone/>
              <a:defRPr sz="1350" b="1"/>
            </a:lvl5pPr>
            <a:lvl6pPr marL="1928927" indent="0">
              <a:buNone/>
              <a:defRPr sz="1350" b="1"/>
            </a:lvl6pPr>
            <a:lvl7pPr marL="2314712" indent="0">
              <a:buNone/>
              <a:defRPr sz="1350" b="1"/>
            </a:lvl7pPr>
            <a:lvl8pPr marL="2700498" indent="0">
              <a:buNone/>
              <a:defRPr sz="1350" b="1"/>
            </a:lvl8pPr>
            <a:lvl9pPr marL="3086283" indent="0">
              <a:buNone/>
              <a:defRPr sz="1350" b="1"/>
            </a:lvl9pPr>
          </a:lstStyle>
          <a:p>
            <a:pPr lvl="0"/>
            <a:r>
              <a:rPr lang="fr-FR"/>
              <a:t>Cliquez pour modifier les styles du texte du masque</a:t>
            </a:r>
          </a:p>
        </p:txBody>
      </p:sp>
      <p:sp>
        <p:nvSpPr>
          <p:cNvPr id="4" name="Espace réservé du contenu 3"/>
          <p:cNvSpPr>
            <a:spLocks noGrp="1"/>
          </p:cNvSpPr>
          <p:nvPr>
            <p:ph sz="half" idx="2"/>
          </p:nvPr>
        </p:nvSpPr>
        <p:spPr>
          <a:xfrm>
            <a:off x="708571" y="2505075"/>
            <a:ext cx="4351883"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5207794" y="1681163"/>
            <a:ext cx="4373315" cy="823912"/>
          </a:xfrm>
        </p:spPr>
        <p:txBody>
          <a:bodyPr anchor="b"/>
          <a:lstStyle>
            <a:lvl1pPr marL="0" indent="0">
              <a:buNone/>
              <a:defRPr sz="2025" b="1"/>
            </a:lvl1pPr>
            <a:lvl2pPr marL="385785" indent="0">
              <a:buNone/>
              <a:defRPr sz="1688" b="1"/>
            </a:lvl2pPr>
            <a:lvl3pPr marL="771571" indent="0">
              <a:buNone/>
              <a:defRPr sz="1519" b="1"/>
            </a:lvl3pPr>
            <a:lvl4pPr marL="1157356" indent="0">
              <a:buNone/>
              <a:defRPr sz="1350" b="1"/>
            </a:lvl4pPr>
            <a:lvl5pPr marL="1543141" indent="0">
              <a:buNone/>
              <a:defRPr sz="1350" b="1"/>
            </a:lvl5pPr>
            <a:lvl6pPr marL="1928927" indent="0">
              <a:buNone/>
              <a:defRPr sz="1350" b="1"/>
            </a:lvl6pPr>
            <a:lvl7pPr marL="2314712" indent="0">
              <a:buNone/>
              <a:defRPr sz="1350" b="1"/>
            </a:lvl7pPr>
            <a:lvl8pPr marL="2700498" indent="0">
              <a:buNone/>
              <a:defRPr sz="1350" b="1"/>
            </a:lvl8pPr>
            <a:lvl9pPr marL="3086283" indent="0">
              <a:buNone/>
              <a:defRPr sz="1350" b="1"/>
            </a:lvl9pPr>
          </a:lstStyle>
          <a:p>
            <a:pPr lvl="0"/>
            <a:r>
              <a:rPr lang="fr-FR"/>
              <a:t>Cliquez pour modifier les styles du texte du masque</a:t>
            </a:r>
          </a:p>
        </p:txBody>
      </p:sp>
      <p:sp>
        <p:nvSpPr>
          <p:cNvPr id="6" name="Espace réservé du contenu 5"/>
          <p:cNvSpPr>
            <a:spLocks noGrp="1"/>
          </p:cNvSpPr>
          <p:nvPr>
            <p:ph sz="quarter" idx="4"/>
          </p:nvPr>
        </p:nvSpPr>
        <p:spPr>
          <a:xfrm>
            <a:off x="5207794" y="2505075"/>
            <a:ext cx="4373315"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3">
            <a:extLst>
              <a:ext uri="{FF2B5EF4-FFF2-40B4-BE49-F238E27FC236}">
                <a16:creationId xmlns:a16="http://schemas.microsoft.com/office/drawing/2014/main" id="{ED67AD3F-DA46-4069-B944-3B0661522C0A}"/>
              </a:ext>
            </a:extLst>
          </p:cNvPr>
          <p:cNvSpPr>
            <a:spLocks noGrp="1"/>
          </p:cNvSpPr>
          <p:nvPr>
            <p:ph type="dt" sz="half" idx="10"/>
          </p:nvPr>
        </p:nvSpPr>
        <p:spPr/>
        <p:txBody>
          <a:bodyPr/>
          <a:lstStyle>
            <a:lvl1pPr>
              <a:defRPr/>
            </a:lvl1pPr>
          </a:lstStyle>
          <a:p>
            <a:pPr>
              <a:defRPr/>
            </a:pPr>
            <a:fld id="{19152075-A1A5-4883-A9DD-4026D51D12F7}" type="datetimeFigureOut">
              <a:rPr lang="fr-FR"/>
              <a:pPr>
                <a:defRPr/>
              </a:pPr>
              <a:t>28/09/2023</a:t>
            </a:fld>
            <a:endParaRPr lang="fr-FR"/>
          </a:p>
        </p:txBody>
      </p:sp>
      <p:sp>
        <p:nvSpPr>
          <p:cNvPr id="8" name="Espace réservé du pied de page 4">
            <a:extLst>
              <a:ext uri="{FF2B5EF4-FFF2-40B4-BE49-F238E27FC236}">
                <a16:creationId xmlns:a16="http://schemas.microsoft.com/office/drawing/2014/main" id="{640BAEEF-0B40-4822-ABC0-9C6A25CF2B11}"/>
              </a:ext>
            </a:extLst>
          </p:cNvPr>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a:extLst>
              <a:ext uri="{FF2B5EF4-FFF2-40B4-BE49-F238E27FC236}">
                <a16:creationId xmlns:a16="http://schemas.microsoft.com/office/drawing/2014/main" id="{6A68B153-7C77-4C18-BD07-739DF64B5F2B}"/>
              </a:ext>
            </a:extLst>
          </p:cNvPr>
          <p:cNvSpPr>
            <a:spLocks noGrp="1"/>
          </p:cNvSpPr>
          <p:nvPr>
            <p:ph type="sldNum" sz="quarter" idx="12"/>
          </p:nvPr>
        </p:nvSpPr>
        <p:spPr/>
        <p:txBody>
          <a:bodyPr/>
          <a:lstStyle>
            <a:lvl1pPr>
              <a:defRPr/>
            </a:lvl1pPr>
          </a:lstStyle>
          <a:p>
            <a:fld id="{D04D4792-CE0D-408B-9282-9DEBEC471E26}" type="slidenum">
              <a:rPr lang="fr-FR" altLang="el-GR"/>
              <a:pPr/>
              <a:t>‹#›</a:t>
            </a:fld>
            <a:endParaRPr lang="fr-FR" altLang="el-GR"/>
          </a:p>
        </p:txBody>
      </p:sp>
    </p:spTree>
    <p:extLst>
      <p:ext uri="{BB962C8B-B14F-4D97-AF65-F5344CB8AC3E}">
        <p14:creationId xmlns:p14="http://schemas.microsoft.com/office/powerpoint/2010/main" val="3174300061"/>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3">
            <a:extLst>
              <a:ext uri="{FF2B5EF4-FFF2-40B4-BE49-F238E27FC236}">
                <a16:creationId xmlns:a16="http://schemas.microsoft.com/office/drawing/2014/main" id="{5620EEF7-3BAD-4715-9C3B-86CEEE2F57A1}"/>
              </a:ext>
            </a:extLst>
          </p:cNvPr>
          <p:cNvSpPr>
            <a:spLocks noGrp="1"/>
          </p:cNvSpPr>
          <p:nvPr>
            <p:ph type="dt" sz="half" idx="10"/>
          </p:nvPr>
        </p:nvSpPr>
        <p:spPr/>
        <p:txBody>
          <a:bodyPr/>
          <a:lstStyle>
            <a:lvl1pPr>
              <a:defRPr/>
            </a:lvl1pPr>
          </a:lstStyle>
          <a:p>
            <a:pPr>
              <a:defRPr/>
            </a:pPr>
            <a:fld id="{3DE1E566-EAD8-4353-ABAF-895AF1445B14}" type="datetimeFigureOut">
              <a:rPr lang="fr-FR"/>
              <a:pPr>
                <a:defRPr/>
              </a:pPr>
              <a:t>28/09/2023</a:t>
            </a:fld>
            <a:endParaRPr lang="fr-FR"/>
          </a:p>
        </p:txBody>
      </p:sp>
      <p:sp>
        <p:nvSpPr>
          <p:cNvPr id="4" name="Espace réservé du pied de page 4">
            <a:extLst>
              <a:ext uri="{FF2B5EF4-FFF2-40B4-BE49-F238E27FC236}">
                <a16:creationId xmlns:a16="http://schemas.microsoft.com/office/drawing/2014/main" id="{D869BF6C-EC3D-4158-AA15-773F3C60EA88}"/>
              </a:ext>
            </a:extLst>
          </p:cNvPr>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a:extLst>
              <a:ext uri="{FF2B5EF4-FFF2-40B4-BE49-F238E27FC236}">
                <a16:creationId xmlns:a16="http://schemas.microsoft.com/office/drawing/2014/main" id="{237C969A-727A-43D2-B508-57415CD95B5C}"/>
              </a:ext>
            </a:extLst>
          </p:cNvPr>
          <p:cNvSpPr>
            <a:spLocks noGrp="1"/>
          </p:cNvSpPr>
          <p:nvPr>
            <p:ph type="sldNum" sz="quarter" idx="12"/>
          </p:nvPr>
        </p:nvSpPr>
        <p:spPr/>
        <p:txBody>
          <a:bodyPr/>
          <a:lstStyle>
            <a:lvl1pPr>
              <a:defRPr/>
            </a:lvl1pPr>
          </a:lstStyle>
          <a:p>
            <a:fld id="{DF70944D-E1FD-43FD-9671-393DE75991C3}" type="slidenum">
              <a:rPr lang="fr-FR" altLang="el-GR"/>
              <a:pPr/>
              <a:t>‹#›</a:t>
            </a:fld>
            <a:endParaRPr lang="fr-FR" altLang="el-GR"/>
          </a:p>
        </p:txBody>
      </p:sp>
    </p:spTree>
    <p:extLst>
      <p:ext uri="{BB962C8B-B14F-4D97-AF65-F5344CB8AC3E}">
        <p14:creationId xmlns:p14="http://schemas.microsoft.com/office/powerpoint/2010/main" val="212541692"/>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a:extLst>
              <a:ext uri="{FF2B5EF4-FFF2-40B4-BE49-F238E27FC236}">
                <a16:creationId xmlns:a16="http://schemas.microsoft.com/office/drawing/2014/main" id="{56069292-AC63-4D1C-9B5F-A4B58B4E76FB}"/>
              </a:ext>
            </a:extLst>
          </p:cNvPr>
          <p:cNvSpPr>
            <a:spLocks noGrp="1"/>
          </p:cNvSpPr>
          <p:nvPr>
            <p:ph type="dt" sz="half" idx="10"/>
          </p:nvPr>
        </p:nvSpPr>
        <p:spPr/>
        <p:txBody>
          <a:bodyPr/>
          <a:lstStyle>
            <a:lvl1pPr>
              <a:defRPr/>
            </a:lvl1pPr>
          </a:lstStyle>
          <a:p>
            <a:pPr>
              <a:defRPr/>
            </a:pPr>
            <a:fld id="{16C9739F-B1CD-4B3C-B9EA-F43114C11DC2}" type="datetimeFigureOut">
              <a:rPr lang="fr-FR"/>
              <a:pPr>
                <a:defRPr/>
              </a:pPr>
              <a:t>28/09/2023</a:t>
            </a:fld>
            <a:endParaRPr lang="fr-FR"/>
          </a:p>
        </p:txBody>
      </p:sp>
      <p:sp>
        <p:nvSpPr>
          <p:cNvPr id="3" name="Espace réservé du pied de page 4">
            <a:extLst>
              <a:ext uri="{FF2B5EF4-FFF2-40B4-BE49-F238E27FC236}">
                <a16:creationId xmlns:a16="http://schemas.microsoft.com/office/drawing/2014/main" id="{2FEB2CC5-93EF-4B84-ADC9-B80326E845E2}"/>
              </a:ext>
            </a:extLst>
          </p:cNvPr>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a:extLst>
              <a:ext uri="{FF2B5EF4-FFF2-40B4-BE49-F238E27FC236}">
                <a16:creationId xmlns:a16="http://schemas.microsoft.com/office/drawing/2014/main" id="{F61B15E1-F1A1-4D4B-AC5C-D22448D2FB0A}"/>
              </a:ext>
            </a:extLst>
          </p:cNvPr>
          <p:cNvSpPr>
            <a:spLocks noGrp="1"/>
          </p:cNvSpPr>
          <p:nvPr>
            <p:ph type="sldNum" sz="quarter" idx="12"/>
          </p:nvPr>
        </p:nvSpPr>
        <p:spPr/>
        <p:txBody>
          <a:bodyPr/>
          <a:lstStyle>
            <a:lvl1pPr>
              <a:defRPr/>
            </a:lvl1pPr>
          </a:lstStyle>
          <a:p>
            <a:fld id="{7363F960-F361-4FD7-8C50-7A050A7464E3}" type="slidenum">
              <a:rPr lang="fr-FR" altLang="el-GR"/>
              <a:pPr/>
              <a:t>‹#›</a:t>
            </a:fld>
            <a:endParaRPr lang="fr-FR" altLang="el-GR"/>
          </a:p>
        </p:txBody>
      </p:sp>
    </p:spTree>
    <p:extLst>
      <p:ext uri="{BB962C8B-B14F-4D97-AF65-F5344CB8AC3E}">
        <p14:creationId xmlns:p14="http://schemas.microsoft.com/office/powerpoint/2010/main" val="2374533746"/>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708572" y="457200"/>
            <a:ext cx="3317825" cy="1600200"/>
          </a:xfrm>
        </p:spPr>
        <p:txBody>
          <a:bodyPr anchor="b"/>
          <a:lstStyle>
            <a:lvl1pPr>
              <a:defRPr sz="2700"/>
            </a:lvl1pPr>
          </a:lstStyle>
          <a:p>
            <a:r>
              <a:rPr lang="fr-FR"/>
              <a:t>Cliquez et modifiez le titre</a:t>
            </a:r>
          </a:p>
        </p:txBody>
      </p:sp>
      <p:sp>
        <p:nvSpPr>
          <p:cNvPr id="3" name="Espace réservé du contenu 2"/>
          <p:cNvSpPr>
            <a:spLocks noGrp="1"/>
          </p:cNvSpPr>
          <p:nvPr>
            <p:ph idx="1"/>
          </p:nvPr>
        </p:nvSpPr>
        <p:spPr>
          <a:xfrm>
            <a:off x="4373315" y="987426"/>
            <a:ext cx="5207794" cy="4873625"/>
          </a:xfrm>
        </p:spPr>
        <p:txBody>
          <a:bodyPr/>
          <a:lstStyle>
            <a:lvl1pPr>
              <a:defRPr sz="2700"/>
            </a:lvl1pPr>
            <a:lvl2pPr>
              <a:defRPr sz="2363"/>
            </a:lvl2pPr>
            <a:lvl3pPr>
              <a:defRPr sz="2025"/>
            </a:lvl3pPr>
            <a:lvl4pPr>
              <a:defRPr sz="1688"/>
            </a:lvl4pPr>
            <a:lvl5pPr>
              <a:defRPr sz="1688"/>
            </a:lvl5pPr>
            <a:lvl6pPr>
              <a:defRPr sz="1688"/>
            </a:lvl6pPr>
            <a:lvl7pPr>
              <a:defRPr sz="1688"/>
            </a:lvl7pPr>
            <a:lvl8pPr>
              <a:defRPr sz="1688"/>
            </a:lvl8pPr>
            <a:lvl9pPr>
              <a:defRPr sz="1688"/>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708572" y="2057400"/>
            <a:ext cx="3317825" cy="3811588"/>
          </a:xfrm>
        </p:spPr>
        <p:txBody>
          <a:bodyPr/>
          <a:lstStyle>
            <a:lvl1pPr marL="0" indent="0">
              <a:buNone/>
              <a:defRPr sz="1350"/>
            </a:lvl1pPr>
            <a:lvl2pPr marL="385785" indent="0">
              <a:buNone/>
              <a:defRPr sz="1181"/>
            </a:lvl2pPr>
            <a:lvl3pPr marL="771571" indent="0">
              <a:buNone/>
              <a:defRPr sz="1013"/>
            </a:lvl3pPr>
            <a:lvl4pPr marL="1157356" indent="0">
              <a:buNone/>
              <a:defRPr sz="844"/>
            </a:lvl4pPr>
            <a:lvl5pPr marL="1543141" indent="0">
              <a:buNone/>
              <a:defRPr sz="844"/>
            </a:lvl5pPr>
            <a:lvl6pPr marL="1928927" indent="0">
              <a:buNone/>
              <a:defRPr sz="844"/>
            </a:lvl6pPr>
            <a:lvl7pPr marL="2314712" indent="0">
              <a:buNone/>
              <a:defRPr sz="844"/>
            </a:lvl7pPr>
            <a:lvl8pPr marL="2700498" indent="0">
              <a:buNone/>
              <a:defRPr sz="844"/>
            </a:lvl8pPr>
            <a:lvl9pPr marL="3086283" indent="0">
              <a:buNone/>
              <a:defRPr sz="844"/>
            </a:lvl9pPr>
          </a:lstStyle>
          <a:p>
            <a:pPr lvl="0"/>
            <a:r>
              <a:rPr lang="fr-FR"/>
              <a:t>Cliquez pour modifier les styles du texte du masque</a:t>
            </a:r>
          </a:p>
        </p:txBody>
      </p:sp>
      <p:sp>
        <p:nvSpPr>
          <p:cNvPr id="5" name="Espace réservé de la date 3">
            <a:extLst>
              <a:ext uri="{FF2B5EF4-FFF2-40B4-BE49-F238E27FC236}">
                <a16:creationId xmlns:a16="http://schemas.microsoft.com/office/drawing/2014/main" id="{4C06921F-41F1-415F-8296-E95CEB854857}"/>
              </a:ext>
            </a:extLst>
          </p:cNvPr>
          <p:cNvSpPr>
            <a:spLocks noGrp="1"/>
          </p:cNvSpPr>
          <p:nvPr>
            <p:ph type="dt" sz="half" idx="10"/>
          </p:nvPr>
        </p:nvSpPr>
        <p:spPr/>
        <p:txBody>
          <a:bodyPr/>
          <a:lstStyle>
            <a:lvl1pPr>
              <a:defRPr/>
            </a:lvl1pPr>
          </a:lstStyle>
          <a:p>
            <a:pPr>
              <a:defRPr/>
            </a:pPr>
            <a:fld id="{F8A4304D-858D-4B20-8BB2-B18991C9D01C}" type="datetimeFigureOut">
              <a:rPr lang="fr-FR"/>
              <a:pPr>
                <a:defRPr/>
              </a:pPr>
              <a:t>28/09/2023</a:t>
            </a:fld>
            <a:endParaRPr lang="fr-FR"/>
          </a:p>
        </p:txBody>
      </p:sp>
      <p:sp>
        <p:nvSpPr>
          <p:cNvPr id="6" name="Espace réservé du pied de page 4">
            <a:extLst>
              <a:ext uri="{FF2B5EF4-FFF2-40B4-BE49-F238E27FC236}">
                <a16:creationId xmlns:a16="http://schemas.microsoft.com/office/drawing/2014/main" id="{4E2BC3B9-C9BE-4CFF-A571-D33C275D46DC}"/>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a:extLst>
              <a:ext uri="{FF2B5EF4-FFF2-40B4-BE49-F238E27FC236}">
                <a16:creationId xmlns:a16="http://schemas.microsoft.com/office/drawing/2014/main" id="{91A9B2FA-5A67-4030-884A-6BD8A9949076}"/>
              </a:ext>
            </a:extLst>
          </p:cNvPr>
          <p:cNvSpPr>
            <a:spLocks noGrp="1"/>
          </p:cNvSpPr>
          <p:nvPr>
            <p:ph type="sldNum" sz="quarter" idx="12"/>
          </p:nvPr>
        </p:nvSpPr>
        <p:spPr/>
        <p:txBody>
          <a:bodyPr/>
          <a:lstStyle>
            <a:lvl1pPr>
              <a:defRPr/>
            </a:lvl1pPr>
          </a:lstStyle>
          <a:p>
            <a:fld id="{D03F4B6E-2AB0-4BD3-84B4-CE46B3E1CA79}" type="slidenum">
              <a:rPr lang="fr-FR" altLang="el-GR"/>
              <a:pPr/>
              <a:t>‹#›</a:t>
            </a:fld>
            <a:endParaRPr lang="fr-FR" altLang="el-GR"/>
          </a:p>
        </p:txBody>
      </p:sp>
    </p:spTree>
    <p:extLst>
      <p:ext uri="{BB962C8B-B14F-4D97-AF65-F5344CB8AC3E}">
        <p14:creationId xmlns:p14="http://schemas.microsoft.com/office/powerpoint/2010/main" val="1967136408"/>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433984" y="330201"/>
            <a:ext cx="9520832" cy="5250792"/>
          </a:xfrm>
        </p:spPr>
        <p:txBody>
          <a:bodyPr anchorCtr="1"/>
          <a:lstStyle>
            <a:lvl1pPr algn="ctr">
              <a:defRPr sz="4000" b="1" cap="none">
                <a:solidFill>
                  <a:schemeClr val="tx1"/>
                </a:solidFill>
              </a:defRPr>
            </a:lvl1pPr>
          </a:lstStyle>
          <a:p>
            <a:r>
              <a:rPr lang="en-US"/>
              <a:t>Click to edit Master title style</a:t>
            </a:r>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708572" y="457200"/>
            <a:ext cx="3317825" cy="1600200"/>
          </a:xfrm>
        </p:spPr>
        <p:txBody>
          <a:bodyPr anchor="b"/>
          <a:lstStyle>
            <a:lvl1pPr>
              <a:defRPr sz="2700"/>
            </a:lvl1pPr>
          </a:lstStyle>
          <a:p>
            <a:r>
              <a:rPr lang="fr-FR"/>
              <a:t>Cliquez et modifiez le titre</a:t>
            </a:r>
          </a:p>
        </p:txBody>
      </p:sp>
      <p:sp>
        <p:nvSpPr>
          <p:cNvPr id="3" name="Espace réservé pour une image  2"/>
          <p:cNvSpPr>
            <a:spLocks noGrp="1"/>
          </p:cNvSpPr>
          <p:nvPr>
            <p:ph type="pic" idx="1"/>
          </p:nvPr>
        </p:nvSpPr>
        <p:spPr>
          <a:xfrm>
            <a:off x="4373315" y="987426"/>
            <a:ext cx="5207794" cy="4873625"/>
          </a:xfrm>
        </p:spPr>
        <p:txBody>
          <a:bodyPr rtlCol="0">
            <a:normAutofit/>
          </a:bodyPr>
          <a:lstStyle>
            <a:lvl1pPr marL="0" indent="0">
              <a:buNone/>
              <a:defRPr sz="2700"/>
            </a:lvl1pPr>
            <a:lvl2pPr marL="385785" indent="0">
              <a:buNone/>
              <a:defRPr sz="2363"/>
            </a:lvl2pPr>
            <a:lvl3pPr marL="771571" indent="0">
              <a:buNone/>
              <a:defRPr sz="2025"/>
            </a:lvl3pPr>
            <a:lvl4pPr marL="1157356" indent="0">
              <a:buNone/>
              <a:defRPr sz="1688"/>
            </a:lvl4pPr>
            <a:lvl5pPr marL="1543141" indent="0">
              <a:buNone/>
              <a:defRPr sz="1688"/>
            </a:lvl5pPr>
            <a:lvl6pPr marL="1928927" indent="0">
              <a:buNone/>
              <a:defRPr sz="1688"/>
            </a:lvl6pPr>
            <a:lvl7pPr marL="2314712" indent="0">
              <a:buNone/>
              <a:defRPr sz="1688"/>
            </a:lvl7pPr>
            <a:lvl8pPr marL="2700498" indent="0">
              <a:buNone/>
              <a:defRPr sz="1688"/>
            </a:lvl8pPr>
            <a:lvl9pPr marL="3086283" indent="0">
              <a:buNone/>
              <a:defRPr sz="1688"/>
            </a:lvl9pPr>
          </a:lstStyle>
          <a:p>
            <a:pPr lvl="0"/>
            <a:endParaRPr lang="fr-FR" noProof="0"/>
          </a:p>
        </p:txBody>
      </p:sp>
      <p:sp>
        <p:nvSpPr>
          <p:cNvPr id="4" name="Espace réservé du texte 3"/>
          <p:cNvSpPr>
            <a:spLocks noGrp="1"/>
          </p:cNvSpPr>
          <p:nvPr>
            <p:ph type="body" sz="half" idx="2"/>
          </p:nvPr>
        </p:nvSpPr>
        <p:spPr>
          <a:xfrm>
            <a:off x="708572" y="2057400"/>
            <a:ext cx="3317825" cy="3811588"/>
          </a:xfrm>
        </p:spPr>
        <p:txBody>
          <a:bodyPr/>
          <a:lstStyle>
            <a:lvl1pPr marL="0" indent="0">
              <a:buNone/>
              <a:defRPr sz="1350"/>
            </a:lvl1pPr>
            <a:lvl2pPr marL="385785" indent="0">
              <a:buNone/>
              <a:defRPr sz="1181"/>
            </a:lvl2pPr>
            <a:lvl3pPr marL="771571" indent="0">
              <a:buNone/>
              <a:defRPr sz="1013"/>
            </a:lvl3pPr>
            <a:lvl4pPr marL="1157356" indent="0">
              <a:buNone/>
              <a:defRPr sz="844"/>
            </a:lvl4pPr>
            <a:lvl5pPr marL="1543141" indent="0">
              <a:buNone/>
              <a:defRPr sz="844"/>
            </a:lvl5pPr>
            <a:lvl6pPr marL="1928927" indent="0">
              <a:buNone/>
              <a:defRPr sz="844"/>
            </a:lvl6pPr>
            <a:lvl7pPr marL="2314712" indent="0">
              <a:buNone/>
              <a:defRPr sz="844"/>
            </a:lvl7pPr>
            <a:lvl8pPr marL="2700498" indent="0">
              <a:buNone/>
              <a:defRPr sz="844"/>
            </a:lvl8pPr>
            <a:lvl9pPr marL="3086283" indent="0">
              <a:buNone/>
              <a:defRPr sz="844"/>
            </a:lvl9pPr>
          </a:lstStyle>
          <a:p>
            <a:pPr lvl="0"/>
            <a:r>
              <a:rPr lang="fr-FR"/>
              <a:t>Cliquez pour modifier les styles du texte du masque</a:t>
            </a:r>
          </a:p>
        </p:txBody>
      </p:sp>
      <p:sp>
        <p:nvSpPr>
          <p:cNvPr id="5" name="Espace réservé de la date 3">
            <a:extLst>
              <a:ext uri="{FF2B5EF4-FFF2-40B4-BE49-F238E27FC236}">
                <a16:creationId xmlns:a16="http://schemas.microsoft.com/office/drawing/2014/main" id="{5F0C9616-C6F0-43ED-8073-23D8DD032AB4}"/>
              </a:ext>
            </a:extLst>
          </p:cNvPr>
          <p:cNvSpPr>
            <a:spLocks noGrp="1"/>
          </p:cNvSpPr>
          <p:nvPr>
            <p:ph type="dt" sz="half" idx="10"/>
          </p:nvPr>
        </p:nvSpPr>
        <p:spPr/>
        <p:txBody>
          <a:bodyPr/>
          <a:lstStyle>
            <a:lvl1pPr>
              <a:defRPr/>
            </a:lvl1pPr>
          </a:lstStyle>
          <a:p>
            <a:pPr>
              <a:defRPr/>
            </a:pPr>
            <a:fld id="{FC9332FA-7643-42A0-988E-86C613F5D00C}" type="datetimeFigureOut">
              <a:rPr lang="fr-FR"/>
              <a:pPr>
                <a:defRPr/>
              </a:pPr>
              <a:t>28/09/2023</a:t>
            </a:fld>
            <a:endParaRPr lang="fr-FR"/>
          </a:p>
        </p:txBody>
      </p:sp>
      <p:sp>
        <p:nvSpPr>
          <p:cNvPr id="6" name="Espace réservé du pied de page 4">
            <a:extLst>
              <a:ext uri="{FF2B5EF4-FFF2-40B4-BE49-F238E27FC236}">
                <a16:creationId xmlns:a16="http://schemas.microsoft.com/office/drawing/2014/main" id="{50684455-8407-4436-A884-6B63AE4F2604}"/>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a:extLst>
              <a:ext uri="{FF2B5EF4-FFF2-40B4-BE49-F238E27FC236}">
                <a16:creationId xmlns:a16="http://schemas.microsoft.com/office/drawing/2014/main" id="{35575770-F12A-489E-9EDE-3A50C311FDBC}"/>
              </a:ext>
            </a:extLst>
          </p:cNvPr>
          <p:cNvSpPr>
            <a:spLocks noGrp="1"/>
          </p:cNvSpPr>
          <p:nvPr>
            <p:ph type="sldNum" sz="quarter" idx="12"/>
          </p:nvPr>
        </p:nvSpPr>
        <p:spPr/>
        <p:txBody>
          <a:bodyPr/>
          <a:lstStyle>
            <a:lvl1pPr>
              <a:defRPr/>
            </a:lvl1pPr>
          </a:lstStyle>
          <a:p>
            <a:fld id="{AA159D33-ABEC-4FEF-868B-AAC8D6DD3E4B}" type="slidenum">
              <a:rPr lang="fr-FR" altLang="el-GR"/>
              <a:pPr/>
              <a:t>‹#›</a:t>
            </a:fld>
            <a:endParaRPr lang="fr-FR" altLang="el-GR"/>
          </a:p>
        </p:txBody>
      </p:sp>
    </p:spTree>
    <p:extLst>
      <p:ext uri="{BB962C8B-B14F-4D97-AF65-F5344CB8AC3E}">
        <p14:creationId xmlns:p14="http://schemas.microsoft.com/office/powerpoint/2010/main" val="1386410834"/>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DA63CD0-217A-4468-A7A2-8A0AA12BD318}"/>
              </a:ext>
            </a:extLst>
          </p:cNvPr>
          <p:cNvSpPr>
            <a:spLocks noGrp="1"/>
          </p:cNvSpPr>
          <p:nvPr>
            <p:ph type="dt" sz="half" idx="10"/>
          </p:nvPr>
        </p:nvSpPr>
        <p:spPr/>
        <p:txBody>
          <a:bodyPr/>
          <a:lstStyle>
            <a:lvl1pPr>
              <a:defRPr/>
            </a:lvl1pPr>
          </a:lstStyle>
          <a:p>
            <a:pPr>
              <a:defRPr/>
            </a:pPr>
            <a:fld id="{81453C75-5757-46C2-9BA0-F690A5A8B4A1}" type="datetimeFigureOut">
              <a:rPr lang="fr-FR"/>
              <a:pPr>
                <a:defRPr/>
              </a:pPr>
              <a:t>28/09/2023</a:t>
            </a:fld>
            <a:endParaRPr lang="fr-FR"/>
          </a:p>
        </p:txBody>
      </p:sp>
      <p:sp>
        <p:nvSpPr>
          <p:cNvPr id="5" name="Espace réservé du pied de page 4">
            <a:extLst>
              <a:ext uri="{FF2B5EF4-FFF2-40B4-BE49-F238E27FC236}">
                <a16:creationId xmlns:a16="http://schemas.microsoft.com/office/drawing/2014/main" id="{79476D2C-3EDD-411B-9114-211C634932BD}"/>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06C4AEA1-08E0-4811-A002-A77DDA723113}"/>
              </a:ext>
            </a:extLst>
          </p:cNvPr>
          <p:cNvSpPr>
            <a:spLocks noGrp="1"/>
          </p:cNvSpPr>
          <p:nvPr>
            <p:ph type="sldNum" sz="quarter" idx="12"/>
          </p:nvPr>
        </p:nvSpPr>
        <p:spPr/>
        <p:txBody>
          <a:bodyPr/>
          <a:lstStyle>
            <a:lvl1pPr>
              <a:defRPr/>
            </a:lvl1pPr>
          </a:lstStyle>
          <a:p>
            <a:fld id="{74D9398F-932D-4A99-9016-6510DBFD899C}" type="slidenum">
              <a:rPr lang="fr-FR" altLang="el-GR"/>
              <a:pPr/>
              <a:t>‹#›</a:t>
            </a:fld>
            <a:endParaRPr lang="fr-FR" altLang="el-GR"/>
          </a:p>
        </p:txBody>
      </p:sp>
    </p:spTree>
    <p:extLst>
      <p:ext uri="{BB962C8B-B14F-4D97-AF65-F5344CB8AC3E}">
        <p14:creationId xmlns:p14="http://schemas.microsoft.com/office/powerpoint/2010/main" val="289713485"/>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0"/>
          </p:nvPr>
        </p:nvSpPr>
        <p:spPr>
          <a:xfrm>
            <a:off x="66679" y="6453339"/>
            <a:ext cx="5711428" cy="345395"/>
          </a:xfrm>
        </p:spPr>
        <p:txBody>
          <a:bodyPr anchor="b">
            <a:noAutofit/>
          </a:bodyPr>
          <a:lstStyle>
            <a:lvl1pPr marL="0" indent="0">
              <a:spcBef>
                <a:spcPts val="0"/>
              </a:spcBef>
              <a:buNone/>
              <a:defRPr sz="844"/>
            </a:lvl1pPr>
          </a:lstStyle>
          <a:p>
            <a:pPr lvl="0"/>
            <a:endParaRPr lang="en-GB" dirty="0"/>
          </a:p>
        </p:txBody>
      </p:sp>
      <p:sp>
        <p:nvSpPr>
          <p:cNvPr id="11" name="Text Placeholder 7"/>
          <p:cNvSpPr>
            <a:spLocks noGrp="1"/>
          </p:cNvSpPr>
          <p:nvPr>
            <p:ph type="body" sz="quarter" idx="11"/>
          </p:nvPr>
        </p:nvSpPr>
        <p:spPr>
          <a:xfrm>
            <a:off x="4508895" y="6453339"/>
            <a:ext cx="5711428" cy="345395"/>
          </a:xfrm>
        </p:spPr>
        <p:txBody>
          <a:bodyPr anchor="b">
            <a:noAutofit/>
          </a:bodyPr>
          <a:lstStyle>
            <a:lvl1pPr marL="0" indent="0" algn="r">
              <a:spcBef>
                <a:spcPts val="0"/>
              </a:spcBef>
              <a:buNone/>
              <a:defRPr sz="844"/>
            </a:lvl1pPr>
          </a:lstStyle>
          <a:p>
            <a:pPr lvl="0"/>
            <a:endParaRPr lang="en-GB" dirty="0"/>
          </a:p>
        </p:txBody>
      </p:sp>
    </p:spTree>
    <p:extLst>
      <p:ext uri="{BB962C8B-B14F-4D97-AF65-F5344CB8AC3E}">
        <p14:creationId xmlns:p14="http://schemas.microsoft.com/office/powerpoint/2010/main" val="4358986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7"/>
          <p:cNvSpPr>
            <a:spLocks noGrp="1"/>
          </p:cNvSpPr>
          <p:nvPr>
            <p:ph type="body" sz="quarter" idx="10"/>
          </p:nvPr>
        </p:nvSpPr>
        <p:spPr>
          <a:xfrm>
            <a:off x="69400" y="6512551"/>
            <a:ext cx="5317129" cy="288925"/>
          </a:xfrm>
        </p:spPr>
        <p:txBody>
          <a:bodyPr anchor="b"/>
          <a:lstStyle>
            <a:lvl1pPr marL="0" indent="0">
              <a:spcBef>
                <a:spcPts val="0"/>
              </a:spcBef>
              <a:buNone/>
              <a:defRPr sz="844">
                <a:latin typeface="Arial" panose="020B0604020202020204" pitchFamily="34" charset="0"/>
                <a:cs typeface="Arial" panose="020B0604020202020204" pitchFamily="34" charset="0"/>
              </a:defRPr>
            </a:lvl1pPr>
          </a:lstStyle>
          <a:p>
            <a:pPr lvl="0"/>
            <a:endParaRPr lang="en-GB" dirty="0"/>
          </a:p>
        </p:txBody>
      </p:sp>
      <p:sp>
        <p:nvSpPr>
          <p:cNvPr id="7" name="Text Placeholder 7"/>
          <p:cNvSpPr>
            <a:spLocks noGrp="1"/>
          </p:cNvSpPr>
          <p:nvPr>
            <p:ph type="body" sz="quarter" idx="11"/>
          </p:nvPr>
        </p:nvSpPr>
        <p:spPr>
          <a:xfrm>
            <a:off x="5629554" y="6512551"/>
            <a:ext cx="4583330" cy="288925"/>
          </a:xfrm>
        </p:spPr>
        <p:txBody>
          <a:bodyPr anchor="b"/>
          <a:lstStyle>
            <a:lvl1pPr marL="0" indent="0" algn="r">
              <a:spcBef>
                <a:spcPts val="0"/>
              </a:spcBef>
              <a:buNone/>
              <a:defRPr sz="844">
                <a:latin typeface="Arial" panose="020B0604020202020204" pitchFamily="34" charset="0"/>
                <a:cs typeface="Arial" panose="020B0604020202020204" pitchFamily="34" charset="0"/>
              </a:defRPr>
            </a:lvl1pPr>
          </a:lstStyle>
          <a:p>
            <a:pPr lvl="0"/>
            <a:endParaRPr lang="en-GB" dirty="0"/>
          </a:p>
        </p:txBody>
      </p:sp>
    </p:spTree>
    <p:extLst>
      <p:ext uri="{BB962C8B-B14F-4D97-AF65-F5344CB8AC3E}">
        <p14:creationId xmlns:p14="http://schemas.microsoft.com/office/powerpoint/2010/main" val="223177014"/>
      </p:ext>
    </p:extLst>
  </p:cSld>
  <p:clrMapOvr>
    <a:masterClrMapping/>
  </p:clrMapOvr>
  <p:transition>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707231" y="1825625"/>
            <a:ext cx="4371975" cy="4351338"/>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5207794" y="1825625"/>
            <a:ext cx="4371975"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Text Placeholder 7"/>
          <p:cNvSpPr>
            <a:spLocks noGrp="1"/>
          </p:cNvSpPr>
          <p:nvPr>
            <p:ph type="body" sz="quarter" idx="13"/>
          </p:nvPr>
        </p:nvSpPr>
        <p:spPr>
          <a:xfrm>
            <a:off x="37604" y="6433988"/>
            <a:ext cx="5050094" cy="365125"/>
          </a:xfrm>
        </p:spPr>
        <p:txBody>
          <a:bodyPr anchor="b">
            <a:noAutofit/>
          </a:bodyPr>
          <a:lstStyle>
            <a:lvl1pPr marL="0" indent="0">
              <a:buNone/>
              <a:defRPr sz="844">
                <a:latin typeface="Arial" panose="020B0604020202020204" pitchFamily="34" charset="0"/>
                <a:cs typeface="Arial" panose="020B0604020202020204" pitchFamily="34" charset="0"/>
              </a:defRPr>
            </a:lvl1pPr>
            <a:lvl2pPr>
              <a:defRPr sz="1013"/>
            </a:lvl2pPr>
            <a:lvl3pPr>
              <a:defRPr sz="1013"/>
            </a:lvl3pPr>
            <a:lvl4pPr>
              <a:defRPr sz="1013"/>
            </a:lvl4pPr>
            <a:lvl5pPr>
              <a:defRPr sz="1013"/>
            </a:lvl5pPr>
          </a:lstStyle>
          <a:p>
            <a:pPr lvl="0"/>
            <a:r>
              <a:rPr lang="en-US" dirty="0"/>
              <a:t>Edit Master text styles</a:t>
            </a:r>
          </a:p>
        </p:txBody>
      </p:sp>
      <p:sp>
        <p:nvSpPr>
          <p:cNvPr id="6" name="Text Placeholder 9"/>
          <p:cNvSpPr>
            <a:spLocks noGrp="1"/>
          </p:cNvSpPr>
          <p:nvPr>
            <p:ph type="body" sz="quarter" idx="14"/>
          </p:nvPr>
        </p:nvSpPr>
        <p:spPr>
          <a:xfrm>
            <a:off x="4832949" y="6432670"/>
            <a:ext cx="5372774" cy="365125"/>
          </a:xfrm>
        </p:spPr>
        <p:txBody>
          <a:bodyPr anchor="b">
            <a:noAutofit/>
          </a:bodyPr>
          <a:lstStyle>
            <a:lvl1pPr marL="0" indent="0" algn="r">
              <a:buNone/>
              <a:defRPr sz="844">
                <a:latin typeface="Arial" panose="020B0604020202020204" pitchFamily="34" charset="0"/>
                <a:cs typeface="Arial" panose="020B0604020202020204" pitchFamily="34" charset="0"/>
              </a:defRPr>
            </a:lvl1pPr>
            <a:lvl2pPr>
              <a:defRPr sz="886"/>
            </a:lvl2pPr>
            <a:lvl3pPr>
              <a:defRPr sz="886"/>
            </a:lvl3pPr>
            <a:lvl4pPr>
              <a:defRPr sz="886"/>
            </a:lvl4pPr>
            <a:lvl5pPr>
              <a:defRPr sz="886"/>
            </a:lvl5pPr>
          </a:lstStyle>
          <a:p>
            <a:pPr lvl="0"/>
            <a:r>
              <a:rPr lang="en-US" dirty="0"/>
              <a:t>Edit Master text styles</a:t>
            </a:r>
          </a:p>
        </p:txBody>
      </p:sp>
    </p:spTree>
    <p:extLst>
      <p:ext uri="{BB962C8B-B14F-4D97-AF65-F5344CB8AC3E}">
        <p14:creationId xmlns:p14="http://schemas.microsoft.com/office/powerpoint/2010/main" val="4172652713"/>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9007F82-582B-4992-9DCB-5EF347FF138A}"/>
              </a:ext>
            </a:extLst>
          </p:cNvPr>
          <p:cNvSpPr>
            <a:spLocks noGrp="1"/>
          </p:cNvSpPr>
          <p:nvPr>
            <p:ph type="dt" sz="half" idx="10"/>
          </p:nvPr>
        </p:nvSpPr>
        <p:spPr/>
        <p:txBody>
          <a:bodyPr/>
          <a:lstStyle>
            <a:lvl1pPr>
              <a:defRPr/>
            </a:lvl1pPr>
          </a:lstStyle>
          <a:p>
            <a:pPr>
              <a:defRPr/>
            </a:pPr>
            <a:fld id="{EBFDA3C2-2EEF-44CD-8E88-2DF092EC38E5}" type="datetimeFigureOut">
              <a:rPr lang="en-US"/>
              <a:pPr>
                <a:defRPr/>
              </a:pPr>
              <a:t>9/28/2023</a:t>
            </a:fld>
            <a:endParaRPr lang="en-US"/>
          </a:p>
        </p:txBody>
      </p:sp>
      <p:sp>
        <p:nvSpPr>
          <p:cNvPr id="5" name="Footer Placeholder 4">
            <a:extLst>
              <a:ext uri="{FF2B5EF4-FFF2-40B4-BE49-F238E27FC236}">
                <a16:creationId xmlns:a16="http://schemas.microsoft.com/office/drawing/2014/main" id="{DD8214C0-46FD-4B60-9FE8-710DB442CA4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F41A00B-CA84-4CFC-B607-99EA0A4EC18B}"/>
              </a:ext>
            </a:extLst>
          </p:cNvPr>
          <p:cNvSpPr>
            <a:spLocks noGrp="1"/>
          </p:cNvSpPr>
          <p:nvPr>
            <p:ph type="sldNum" sz="quarter" idx="12"/>
          </p:nvPr>
        </p:nvSpPr>
        <p:spPr/>
        <p:txBody>
          <a:bodyPr/>
          <a:lstStyle>
            <a:lvl1pPr>
              <a:defRPr/>
            </a:lvl1pPr>
          </a:lstStyle>
          <a:p>
            <a:fld id="{01AC1AA7-A566-4A05-A5CE-0362F11A9134}" type="slidenum">
              <a:rPr lang="en-US" altLang="el-GR"/>
              <a:pPr/>
              <a:t>‹#›</a:t>
            </a:fld>
            <a:endParaRPr lang="en-US" altLang="el-GR"/>
          </a:p>
        </p:txBody>
      </p:sp>
    </p:spTree>
    <p:extLst>
      <p:ext uri="{BB962C8B-B14F-4D97-AF65-F5344CB8AC3E}">
        <p14:creationId xmlns:p14="http://schemas.microsoft.com/office/powerpoint/2010/main" val="36788650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C0323FD-93CB-4EE6-9C5D-ED6B7DB565D6}"/>
              </a:ext>
            </a:extLst>
          </p:cNvPr>
          <p:cNvSpPr txBox="1">
            <a:spLocks noChangeArrowheads="1"/>
          </p:cNvSpPr>
          <p:nvPr/>
        </p:nvSpPr>
        <p:spPr bwMode="auto">
          <a:xfrm>
            <a:off x="771525" y="649763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sz="1200" b="1" dirty="0">
              <a:solidFill>
                <a:srgbClr val="000000"/>
              </a:solidFill>
            </a:endParaRPr>
          </a:p>
        </p:txBody>
      </p:sp>
      <p:sp>
        <p:nvSpPr>
          <p:cNvPr id="6" name="TextBox 5">
            <a:extLst>
              <a:ext uri="{FF2B5EF4-FFF2-40B4-BE49-F238E27FC236}">
                <a16:creationId xmlns:a16="http://schemas.microsoft.com/office/drawing/2014/main" id="{A689F80E-FEA0-4A0A-894E-E6637A614BAB}"/>
              </a:ext>
            </a:extLst>
          </p:cNvPr>
          <p:cNvSpPr txBox="1">
            <a:spLocks noChangeArrowheads="1"/>
          </p:cNvSpPr>
          <p:nvPr/>
        </p:nvSpPr>
        <p:spPr bwMode="auto">
          <a:xfrm>
            <a:off x="771525" y="650398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sz="1200" b="1" dirty="0">
              <a:solidFill>
                <a:srgbClr val="000000"/>
              </a:solidFill>
            </a:endParaRPr>
          </a:p>
        </p:txBody>
      </p:sp>
      <p:sp>
        <p:nvSpPr>
          <p:cNvPr id="2" name="Title 1"/>
          <p:cNvSpPr>
            <a:spLocks noGrp="1"/>
          </p:cNvSpPr>
          <p:nvPr>
            <p:ph type="title"/>
          </p:nvPr>
        </p:nvSpPr>
        <p:spPr>
          <a:xfrm>
            <a:off x="771525" y="167640"/>
            <a:ext cx="8915400" cy="787400"/>
          </a:xfrm>
        </p:spPr>
        <p:txBody>
          <a:bodyPr/>
          <a:lstStyle/>
          <a:p>
            <a:r>
              <a:rPr lang="en-US"/>
              <a:t>Click to edit Master title style</a:t>
            </a:r>
            <a:endParaRPr lang="en-US" dirty="0"/>
          </a:p>
        </p:txBody>
      </p:sp>
      <p:sp>
        <p:nvSpPr>
          <p:cNvPr id="3" name="Content Placeholder 2"/>
          <p:cNvSpPr>
            <a:spLocks noGrp="1"/>
          </p:cNvSpPr>
          <p:nvPr>
            <p:ph idx="1"/>
          </p:nvPr>
        </p:nvSpPr>
        <p:spPr>
          <a:xfrm>
            <a:off x="771525" y="1676400"/>
            <a:ext cx="8743950" cy="4419600"/>
          </a:xfrm>
        </p:spPr>
        <p:txBody>
          <a:bodyPr/>
          <a:lstStyle>
            <a:lvl1pPr>
              <a:spcBef>
                <a:spcPts val="900"/>
              </a:spcBef>
              <a:defRPr/>
            </a:lvl1pPr>
            <a:lvl2pPr>
              <a:spcBef>
                <a:spcPts val="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11"/>
          </p:nvPr>
        </p:nvSpPr>
        <p:spPr>
          <a:xfrm>
            <a:off x="771525" y="6248400"/>
            <a:ext cx="8768441" cy="457200"/>
          </a:xfrm>
        </p:spPr>
        <p:txBody>
          <a:bodyPr anchor="b"/>
          <a:lstStyle>
            <a:lvl1pPr marL="0" indent="0">
              <a:spcBef>
                <a:spcPts val="0"/>
              </a:spcBef>
              <a:buNone/>
              <a:defRPr sz="1200"/>
            </a:lvl1pPr>
          </a:lstStyle>
          <a:p>
            <a:pPr lvl="0"/>
            <a:r>
              <a:rPr lang="en-US"/>
              <a:t>Click to edit Master text styles</a:t>
            </a:r>
          </a:p>
        </p:txBody>
      </p:sp>
      <p:sp>
        <p:nvSpPr>
          <p:cNvPr id="8" name="Slide Number Placeholder 1">
            <a:extLst>
              <a:ext uri="{FF2B5EF4-FFF2-40B4-BE49-F238E27FC236}">
                <a16:creationId xmlns:a16="http://schemas.microsoft.com/office/drawing/2014/main" id="{5949446D-0431-4C88-A3CB-84FA3C81A88E}"/>
              </a:ext>
            </a:extLst>
          </p:cNvPr>
          <p:cNvSpPr>
            <a:spLocks noGrp="1"/>
          </p:cNvSpPr>
          <p:nvPr>
            <p:ph type="sldNum" sz="quarter" idx="12"/>
          </p:nvPr>
        </p:nvSpPr>
        <p:spPr/>
        <p:txBody>
          <a:bodyPr/>
          <a:lstStyle>
            <a:lvl1pPr>
              <a:defRPr sz="1200"/>
            </a:lvl1pPr>
          </a:lstStyle>
          <a:p>
            <a:fld id="{C2FB3D00-0255-4876-98BC-9EC6B306A637}" type="slidenum">
              <a:rPr lang="en-US" altLang="el-GR"/>
              <a:pPr/>
              <a:t>‹#›</a:t>
            </a:fld>
            <a:endParaRPr lang="en-US" altLang="el-GR"/>
          </a:p>
        </p:txBody>
      </p:sp>
    </p:spTree>
    <p:extLst>
      <p:ext uri="{BB962C8B-B14F-4D97-AF65-F5344CB8AC3E}">
        <p14:creationId xmlns:p14="http://schemas.microsoft.com/office/powerpoint/2010/main" val="32923128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74D29CB-C110-46C6-876A-C357ED2943B0}"/>
              </a:ext>
            </a:extLst>
          </p:cNvPr>
          <p:cNvSpPr txBox="1">
            <a:spLocks noChangeArrowheads="1"/>
          </p:cNvSpPr>
          <p:nvPr/>
        </p:nvSpPr>
        <p:spPr bwMode="auto">
          <a:xfrm>
            <a:off x="771525" y="649763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sz="1200" b="1" dirty="0">
              <a:solidFill>
                <a:srgbClr val="000000"/>
              </a:solidFill>
            </a:endParaRPr>
          </a:p>
        </p:txBody>
      </p:sp>
      <p:sp>
        <p:nvSpPr>
          <p:cNvPr id="6" name="TextBox 5">
            <a:extLst>
              <a:ext uri="{FF2B5EF4-FFF2-40B4-BE49-F238E27FC236}">
                <a16:creationId xmlns:a16="http://schemas.microsoft.com/office/drawing/2014/main" id="{0C24BBE9-0F71-45BB-8280-E1653B2CE34E}"/>
              </a:ext>
            </a:extLst>
          </p:cNvPr>
          <p:cNvSpPr txBox="1">
            <a:spLocks noChangeArrowheads="1"/>
          </p:cNvSpPr>
          <p:nvPr/>
        </p:nvSpPr>
        <p:spPr bwMode="auto">
          <a:xfrm>
            <a:off x="771525" y="650398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sz="1200" b="1" dirty="0">
              <a:solidFill>
                <a:srgbClr val="000000"/>
              </a:solidFill>
            </a:endParaRPr>
          </a:p>
        </p:txBody>
      </p:sp>
      <p:sp>
        <p:nvSpPr>
          <p:cNvPr id="2" name="Title 1"/>
          <p:cNvSpPr>
            <a:spLocks noGrp="1"/>
          </p:cNvSpPr>
          <p:nvPr>
            <p:ph type="title"/>
          </p:nvPr>
        </p:nvSpPr>
        <p:spPr>
          <a:xfrm>
            <a:off x="771525" y="167640"/>
            <a:ext cx="8915400" cy="787400"/>
          </a:xfrm>
        </p:spPr>
        <p:txBody>
          <a:bodyPr/>
          <a:lstStyle/>
          <a:p>
            <a:r>
              <a:rPr lang="en-US"/>
              <a:t>Click to edit Master title style</a:t>
            </a:r>
            <a:endParaRPr lang="en-US" dirty="0"/>
          </a:p>
        </p:txBody>
      </p:sp>
      <p:sp>
        <p:nvSpPr>
          <p:cNvPr id="3" name="Content Placeholder 2"/>
          <p:cNvSpPr>
            <a:spLocks noGrp="1"/>
          </p:cNvSpPr>
          <p:nvPr>
            <p:ph idx="1"/>
          </p:nvPr>
        </p:nvSpPr>
        <p:spPr>
          <a:xfrm>
            <a:off x="771525" y="1676400"/>
            <a:ext cx="8743950" cy="4419600"/>
          </a:xfrm>
        </p:spPr>
        <p:txBody>
          <a:bodyPr/>
          <a:lstStyle>
            <a:lvl1pPr>
              <a:spcBef>
                <a:spcPts val="900"/>
              </a:spcBef>
              <a:defRPr/>
            </a:lvl1pPr>
            <a:lvl2pPr>
              <a:spcBef>
                <a:spcPts val="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11"/>
          </p:nvPr>
        </p:nvSpPr>
        <p:spPr>
          <a:xfrm>
            <a:off x="771525" y="6248400"/>
            <a:ext cx="8768441" cy="457200"/>
          </a:xfrm>
        </p:spPr>
        <p:txBody>
          <a:bodyPr anchor="b"/>
          <a:lstStyle>
            <a:lvl1pPr marL="0" indent="0">
              <a:spcBef>
                <a:spcPts val="0"/>
              </a:spcBef>
              <a:buNone/>
              <a:defRPr sz="1200"/>
            </a:lvl1pPr>
          </a:lstStyle>
          <a:p>
            <a:pPr lvl="0"/>
            <a:r>
              <a:rPr lang="en-US"/>
              <a:t>Click to edit Master text styles</a:t>
            </a:r>
          </a:p>
        </p:txBody>
      </p:sp>
      <p:sp>
        <p:nvSpPr>
          <p:cNvPr id="8" name="Slide Number Placeholder 1">
            <a:extLst>
              <a:ext uri="{FF2B5EF4-FFF2-40B4-BE49-F238E27FC236}">
                <a16:creationId xmlns:a16="http://schemas.microsoft.com/office/drawing/2014/main" id="{F826E885-34EA-4011-A3DF-816C71A662AD}"/>
              </a:ext>
            </a:extLst>
          </p:cNvPr>
          <p:cNvSpPr>
            <a:spLocks noGrp="1"/>
          </p:cNvSpPr>
          <p:nvPr>
            <p:ph type="sldNum" sz="quarter" idx="12"/>
          </p:nvPr>
        </p:nvSpPr>
        <p:spPr/>
        <p:txBody>
          <a:bodyPr/>
          <a:lstStyle>
            <a:lvl1pPr>
              <a:defRPr sz="1200"/>
            </a:lvl1pPr>
          </a:lstStyle>
          <a:p>
            <a:fld id="{2D44E319-AA8C-4E3F-81BB-FDC7CEF77A3A}" type="slidenum">
              <a:rPr lang="en-US" altLang="el-GR"/>
              <a:pPr/>
              <a:t>‹#›</a:t>
            </a:fld>
            <a:endParaRPr lang="en-US" altLang="el-GR"/>
          </a:p>
        </p:txBody>
      </p:sp>
    </p:spTree>
    <p:extLst>
      <p:ext uri="{BB962C8B-B14F-4D97-AF65-F5344CB8AC3E}">
        <p14:creationId xmlns:p14="http://schemas.microsoft.com/office/powerpoint/2010/main" val="38442137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8980" y="314312"/>
            <a:ext cx="8887968" cy="908622"/>
          </a:xfrm>
        </p:spPr>
        <p:txBody>
          <a:bodyPr/>
          <a:lstStyle>
            <a:lvl1pPr>
              <a:defRPr sz="3000"/>
            </a:lvl1pPr>
          </a:lstStyle>
          <a:p>
            <a:r>
              <a:rPr lang="en-US" dirty="0"/>
              <a:t>Click to edit Master title style</a:t>
            </a:r>
          </a:p>
        </p:txBody>
      </p:sp>
      <p:sp>
        <p:nvSpPr>
          <p:cNvPr id="3" name="Content Placeholder 2"/>
          <p:cNvSpPr>
            <a:spLocks noGrp="1"/>
          </p:cNvSpPr>
          <p:nvPr>
            <p:ph idx="1"/>
          </p:nvPr>
        </p:nvSpPr>
        <p:spPr>
          <a:xfrm>
            <a:off x="282178" y="1387366"/>
            <a:ext cx="9815513" cy="5200759"/>
          </a:xfrm>
        </p:spPr>
        <p:txBody>
          <a:bodyPr/>
          <a:lstStyle>
            <a:lvl1pPr>
              <a:buClrTx/>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300038" y="6350298"/>
            <a:ext cx="5286375" cy="457200"/>
          </a:xfrm>
        </p:spPr>
        <p:txBody>
          <a:bodyPr anchor="b"/>
          <a:lstStyle>
            <a:lvl1pPr marL="0" indent="0">
              <a:spcBef>
                <a:spcPts val="0"/>
              </a:spcBef>
              <a:buNone/>
              <a:defRPr sz="1100"/>
            </a:lvl1pPr>
          </a:lstStyle>
          <a:p>
            <a:pPr lvl="0"/>
            <a:r>
              <a:rPr lang="en-US" dirty="0"/>
              <a:t>Click to edit Master text styles</a:t>
            </a:r>
          </a:p>
        </p:txBody>
      </p:sp>
      <p:sp>
        <p:nvSpPr>
          <p:cNvPr id="5" name="Content Placeholder 4"/>
          <p:cNvSpPr>
            <a:spLocks noGrp="1"/>
          </p:cNvSpPr>
          <p:nvPr>
            <p:ph sz="quarter" idx="12"/>
          </p:nvPr>
        </p:nvSpPr>
        <p:spPr>
          <a:xfrm>
            <a:off x="5786437" y="6320136"/>
            <a:ext cx="4329113" cy="487362"/>
          </a:xfrm>
        </p:spPr>
        <p:txBody>
          <a:bodyPr anchor="b"/>
          <a:lstStyle>
            <a:lvl1pPr marL="0" indent="0" algn="r">
              <a:buNone/>
              <a:defRPr sz="1100"/>
            </a:lvl1pPr>
            <a:lvl2pPr>
              <a:defRPr sz="1200"/>
            </a:lvl2pPr>
            <a:lvl3pPr>
              <a:defRPr sz="1200"/>
            </a:lvl3pPr>
            <a:lvl4pPr>
              <a:defRPr sz="1200"/>
            </a:lvl4pPr>
            <a:lvl5pPr>
              <a:defRPr sz="1200"/>
            </a:lvl5pPr>
          </a:lstStyle>
          <a:p>
            <a:pPr lvl="0"/>
            <a:r>
              <a:rPr lang="en-US" dirty="0"/>
              <a:t>Click to edit Master text styles</a:t>
            </a:r>
          </a:p>
        </p:txBody>
      </p:sp>
    </p:spTree>
    <p:extLst>
      <p:ext uri="{BB962C8B-B14F-4D97-AF65-F5344CB8AC3E}">
        <p14:creationId xmlns:p14="http://schemas.microsoft.com/office/powerpoint/2010/main" val="2879530274"/>
      </p:ext>
    </p:extLst>
  </p:cSld>
  <p:clrMapOvr>
    <a:masterClrMapping/>
  </p:clrMapOvr>
  <p:transition>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accent1">
                    <a:lumMod val="7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lvl2pPr marL="685765" indent="-228588">
              <a:buSzPct val="80000"/>
              <a:buFont typeface="Courier New" charset="0"/>
              <a:buChar char="o"/>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78515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D327B-1C7D-4C4B-9B44-BDA869C69A6E}"/>
              </a:ext>
            </a:extLst>
          </p:cNvPr>
          <p:cNvSpPr>
            <a:spLocks noGrp="1"/>
          </p:cNvSpPr>
          <p:nvPr>
            <p:ph type="title"/>
          </p:nvPr>
        </p:nvSpPr>
        <p:spPr>
          <a:xfrm>
            <a:off x="771525" y="609600"/>
            <a:ext cx="8743950" cy="1143000"/>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B399F85E-3704-4065-A31B-9E1F28CAFA7C}"/>
              </a:ext>
            </a:extLst>
          </p:cNvPr>
          <p:cNvSpPr>
            <a:spLocks noGrp="1"/>
          </p:cNvSpPr>
          <p:nvPr>
            <p:ph type="body" sz="half" idx="1"/>
          </p:nvPr>
        </p:nvSpPr>
        <p:spPr>
          <a:xfrm>
            <a:off x="771525" y="1981200"/>
            <a:ext cx="4295775"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FE2AF576-6FD2-4AD5-B964-AE86A30AD8F8}"/>
              </a:ext>
            </a:extLst>
          </p:cNvPr>
          <p:cNvSpPr>
            <a:spLocks noGrp="1"/>
          </p:cNvSpPr>
          <p:nvPr>
            <p:ph sz="half" idx="2"/>
          </p:nvPr>
        </p:nvSpPr>
        <p:spPr>
          <a:xfrm>
            <a:off x="5219700" y="1981200"/>
            <a:ext cx="4295775"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8268200E-BF1D-44FF-82FC-357D360AD95E}"/>
              </a:ext>
            </a:extLst>
          </p:cNvPr>
          <p:cNvSpPr>
            <a:spLocks noGrp="1"/>
          </p:cNvSpPr>
          <p:nvPr>
            <p:ph type="dt" sz="half" idx="10"/>
          </p:nvPr>
        </p:nvSpPr>
        <p:spPr>
          <a:xfrm>
            <a:off x="771525" y="6248400"/>
            <a:ext cx="2143125" cy="457200"/>
          </a:xfrm>
        </p:spPr>
        <p:txBody>
          <a:bodyPr/>
          <a:lstStyle>
            <a:lvl1pPr>
              <a:defRPr/>
            </a:lvl1pPr>
          </a:lstStyle>
          <a:p>
            <a:endParaRPr lang="el-GR" altLang="el-GR"/>
          </a:p>
        </p:txBody>
      </p:sp>
      <p:sp>
        <p:nvSpPr>
          <p:cNvPr id="6" name="Footer Placeholder 5">
            <a:extLst>
              <a:ext uri="{FF2B5EF4-FFF2-40B4-BE49-F238E27FC236}">
                <a16:creationId xmlns:a16="http://schemas.microsoft.com/office/drawing/2014/main" id="{4C88FC46-9227-4150-83A9-64C302DF9227}"/>
              </a:ext>
            </a:extLst>
          </p:cNvPr>
          <p:cNvSpPr>
            <a:spLocks noGrp="1"/>
          </p:cNvSpPr>
          <p:nvPr>
            <p:ph type="ftr" sz="quarter" idx="11"/>
          </p:nvPr>
        </p:nvSpPr>
        <p:spPr>
          <a:xfrm>
            <a:off x="3514725" y="6248400"/>
            <a:ext cx="3257550" cy="457200"/>
          </a:xfrm>
        </p:spPr>
        <p:txBody>
          <a:bodyPr/>
          <a:lstStyle>
            <a:lvl1pPr>
              <a:defRPr/>
            </a:lvl1pPr>
          </a:lstStyle>
          <a:p>
            <a:endParaRPr lang="el-GR" altLang="el-GR"/>
          </a:p>
        </p:txBody>
      </p:sp>
      <p:sp>
        <p:nvSpPr>
          <p:cNvPr id="7" name="Slide Number Placeholder 6">
            <a:extLst>
              <a:ext uri="{FF2B5EF4-FFF2-40B4-BE49-F238E27FC236}">
                <a16:creationId xmlns:a16="http://schemas.microsoft.com/office/drawing/2014/main" id="{54F0BE7E-5811-49E3-8285-6B972AD4D92B}"/>
              </a:ext>
            </a:extLst>
          </p:cNvPr>
          <p:cNvSpPr>
            <a:spLocks noGrp="1"/>
          </p:cNvSpPr>
          <p:nvPr>
            <p:ph type="sldNum" sz="quarter" idx="12"/>
          </p:nvPr>
        </p:nvSpPr>
        <p:spPr>
          <a:xfrm>
            <a:off x="7372350" y="6248400"/>
            <a:ext cx="2143125" cy="457200"/>
          </a:xfrm>
        </p:spPr>
        <p:txBody>
          <a:bodyPr/>
          <a:lstStyle>
            <a:lvl1pPr>
              <a:defRPr/>
            </a:lvl1pPr>
          </a:lstStyle>
          <a:p>
            <a:fld id="{60EB8BB3-037D-496B-80B6-9CC5DDEB081C}" type="slidenum">
              <a:rPr lang="el-GR" altLang="el-GR"/>
              <a:pPr/>
              <a:t>‹#›</a:t>
            </a:fld>
            <a:endParaRPr lang="el-GR" altLang="el-GR"/>
          </a:p>
        </p:txBody>
      </p:sp>
    </p:spTree>
    <p:extLst>
      <p:ext uri="{BB962C8B-B14F-4D97-AF65-F5344CB8AC3E}">
        <p14:creationId xmlns:p14="http://schemas.microsoft.com/office/powerpoint/2010/main" val="2348806691"/>
      </p:ext>
    </p:extLst>
  </p:cSld>
  <p:clrMapOvr>
    <a:masterClrMapping/>
  </p:clrMapOvr>
  <p:transition spd="med">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15" name="Content Placeholder 14"/>
          <p:cNvSpPr>
            <a:spLocks noGrp="1"/>
          </p:cNvSpPr>
          <p:nvPr>
            <p:ph sz="quarter" idx="11" hasCustomPrompt="1"/>
          </p:nvPr>
        </p:nvSpPr>
        <p:spPr>
          <a:xfrm>
            <a:off x="518939" y="6408892"/>
            <a:ext cx="9768060" cy="460222"/>
          </a:xfrm>
          <a:solidFill>
            <a:schemeClr val="accent5">
              <a:lumMod val="75000"/>
            </a:schemeClr>
          </a:solidFill>
        </p:spPr>
        <p:txBody>
          <a:bodyPr anchor="ctr">
            <a:noAutofit/>
          </a:bodyPr>
          <a:lstStyle>
            <a:lvl1pPr marL="0" indent="0" algn="r">
              <a:buNone/>
              <a:defRPr sz="1181">
                <a:solidFill>
                  <a:schemeClr val="bg1"/>
                </a:solidFill>
              </a:defRPr>
            </a:lvl1pPr>
            <a:lvl2pPr>
              <a:defRPr sz="1350"/>
            </a:lvl2pPr>
            <a:lvl3pPr>
              <a:defRPr sz="1350"/>
            </a:lvl3pPr>
            <a:lvl4pPr>
              <a:defRPr sz="1350"/>
            </a:lvl4pPr>
            <a:lvl5pPr>
              <a:defRPr sz="1350"/>
            </a:lvl5pPr>
          </a:lstStyle>
          <a:p>
            <a:pPr lvl="0"/>
            <a:r>
              <a:rPr lang="en-US" dirty="0"/>
              <a:t>references</a:t>
            </a:r>
          </a:p>
        </p:txBody>
      </p:sp>
      <p:sp>
        <p:nvSpPr>
          <p:cNvPr id="2" name="Title 1"/>
          <p:cNvSpPr>
            <a:spLocks noGrp="1"/>
          </p:cNvSpPr>
          <p:nvPr>
            <p:ph type="title"/>
          </p:nvPr>
        </p:nvSpPr>
        <p:spPr/>
        <p:txBody>
          <a:bodyPr/>
          <a:lstStyle>
            <a:lvl1pPr>
              <a:defRPr b="1">
                <a:solidFill>
                  <a:schemeClr val="accent1">
                    <a:lumMod val="75000"/>
                  </a:schemeClr>
                </a:solidFill>
              </a:defRPr>
            </a:lvl1pPr>
          </a:lstStyle>
          <a:p>
            <a:r>
              <a:rPr lang="en-US" dirty="0"/>
              <a:t>Click to edit Master title style</a:t>
            </a:r>
          </a:p>
        </p:txBody>
      </p:sp>
      <p:sp>
        <p:nvSpPr>
          <p:cNvPr id="3" name="Content Placeholder 2"/>
          <p:cNvSpPr>
            <a:spLocks noGrp="1"/>
          </p:cNvSpPr>
          <p:nvPr>
            <p:ph idx="1"/>
          </p:nvPr>
        </p:nvSpPr>
        <p:spPr/>
        <p:txBody>
          <a:bodyPr/>
          <a:lstStyle>
            <a:lvl2pPr marL="578649" indent="-192883">
              <a:buSzPct val="80000"/>
              <a:buFont typeface="Courier New" charset="0"/>
              <a:buChar char="o"/>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3752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B6B60-9B06-4FBD-AB29-364F31DAEB0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89F6A1-AB42-48B2-93D9-77E1AA99C2CD}"/>
              </a:ext>
            </a:extLst>
          </p:cNvPr>
          <p:cNvSpPr>
            <a:spLocks noGrp="1"/>
          </p:cNvSpPr>
          <p:nvPr>
            <p:ph sz="half" idx="1"/>
          </p:nvPr>
        </p:nvSpPr>
        <p:spPr>
          <a:xfrm>
            <a:off x="280555" y="1345334"/>
            <a:ext cx="4798652" cy="475066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a:extLst>
              <a:ext uri="{FF2B5EF4-FFF2-40B4-BE49-F238E27FC236}">
                <a16:creationId xmlns:a16="http://schemas.microsoft.com/office/drawing/2014/main" id="{392C34A3-5A84-4919-A668-5487B5E97507}"/>
              </a:ext>
            </a:extLst>
          </p:cNvPr>
          <p:cNvSpPr>
            <a:spLocks noGrp="1"/>
          </p:cNvSpPr>
          <p:nvPr>
            <p:ph sz="half" idx="2"/>
          </p:nvPr>
        </p:nvSpPr>
        <p:spPr>
          <a:xfrm>
            <a:off x="5207793" y="1345334"/>
            <a:ext cx="4798652" cy="475066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id="{25A23BE2-1A58-47F7-AA1E-4A293C63751D}"/>
              </a:ext>
            </a:extLst>
          </p:cNvPr>
          <p:cNvSpPr>
            <a:spLocks noGrp="1"/>
          </p:cNvSpPr>
          <p:nvPr>
            <p:ph type="body" sz="quarter" idx="10" hasCustomPrompt="1"/>
          </p:nvPr>
        </p:nvSpPr>
        <p:spPr>
          <a:xfrm>
            <a:off x="280554" y="6163555"/>
            <a:ext cx="4862946" cy="452438"/>
          </a:xfrm>
        </p:spPr>
        <p:txBody>
          <a:bodyPr anchor="b">
            <a:noAutofit/>
          </a:bodyPr>
          <a:lstStyle>
            <a:lvl1pPr marL="0" indent="0">
              <a:lnSpc>
                <a:spcPct val="100000"/>
              </a:lnSpc>
              <a:spcBef>
                <a:spcPts val="0"/>
              </a:spcBef>
              <a:buNone/>
              <a:defRPr sz="844"/>
            </a:lvl1pPr>
          </a:lstStyle>
          <a:p>
            <a:pPr lvl="0"/>
            <a:r>
              <a:rPr lang="en-GB" dirty="0"/>
              <a:t>References</a:t>
            </a:r>
          </a:p>
        </p:txBody>
      </p:sp>
      <p:sp>
        <p:nvSpPr>
          <p:cNvPr id="7" name="Text Placeholder 7">
            <a:extLst>
              <a:ext uri="{FF2B5EF4-FFF2-40B4-BE49-F238E27FC236}">
                <a16:creationId xmlns:a16="http://schemas.microsoft.com/office/drawing/2014/main" id="{A81012DE-1865-444A-B887-F96CB9000029}"/>
              </a:ext>
            </a:extLst>
          </p:cNvPr>
          <p:cNvSpPr>
            <a:spLocks noGrp="1"/>
          </p:cNvSpPr>
          <p:nvPr>
            <p:ph type="body" sz="quarter" idx="11" hasCustomPrompt="1"/>
          </p:nvPr>
        </p:nvSpPr>
        <p:spPr>
          <a:xfrm>
            <a:off x="5143500" y="6163555"/>
            <a:ext cx="4718602" cy="452438"/>
          </a:xfrm>
        </p:spPr>
        <p:txBody>
          <a:bodyPr anchor="b">
            <a:noAutofit/>
          </a:bodyPr>
          <a:lstStyle>
            <a:lvl1pPr marL="0" indent="0" algn="r">
              <a:lnSpc>
                <a:spcPct val="100000"/>
              </a:lnSpc>
              <a:spcBef>
                <a:spcPts val="0"/>
              </a:spcBef>
              <a:buNone/>
              <a:defRPr sz="844"/>
            </a:lvl1pPr>
          </a:lstStyle>
          <a:p>
            <a:pPr lvl="0"/>
            <a:r>
              <a:rPr lang="en-GB" dirty="0"/>
              <a:t>Footnotes</a:t>
            </a:r>
          </a:p>
        </p:txBody>
      </p:sp>
    </p:spTree>
    <p:extLst>
      <p:ext uri="{BB962C8B-B14F-4D97-AF65-F5344CB8AC3E}">
        <p14:creationId xmlns:p14="http://schemas.microsoft.com/office/powerpoint/2010/main" val="7353371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7"/>
          <p:cNvSpPr>
            <a:spLocks noGrp="1"/>
          </p:cNvSpPr>
          <p:nvPr>
            <p:ph type="body" sz="quarter" idx="10"/>
          </p:nvPr>
        </p:nvSpPr>
        <p:spPr>
          <a:xfrm>
            <a:off x="69399" y="6512550"/>
            <a:ext cx="5317129" cy="288925"/>
          </a:xfrm>
          <a:prstGeom prst="rect">
            <a:avLst/>
          </a:prstGeom>
        </p:spPr>
        <p:txBody>
          <a:bodyPr anchor="b">
            <a:normAutofit/>
          </a:bodyPr>
          <a:lstStyle>
            <a:lvl1pPr marL="0" indent="0">
              <a:spcBef>
                <a:spcPts val="0"/>
              </a:spcBef>
              <a:buNone/>
              <a:defRPr sz="750">
                <a:latin typeface="Arial" panose="020B0604020202020204" pitchFamily="34" charset="0"/>
                <a:cs typeface="Arial" panose="020B0604020202020204" pitchFamily="34" charset="0"/>
              </a:defRPr>
            </a:lvl1pPr>
          </a:lstStyle>
          <a:p>
            <a:pPr lvl="0"/>
            <a:endParaRPr lang="en-GB" dirty="0"/>
          </a:p>
        </p:txBody>
      </p:sp>
      <p:sp>
        <p:nvSpPr>
          <p:cNvPr id="7" name="Text Placeholder 7"/>
          <p:cNvSpPr>
            <a:spLocks noGrp="1"/>
          </p:cNvSpPr>
          <p:nvPr>
            <p:ph type="body" sz="quarter" idx="11"/>
          </p:nvPr>
        </p:nvSpPr>
        <p:spPr>
          <a:xfrm>
            <a:off x="5629554" y="6512550"/>
            <a:ext cx="4583330" cy="288925"/>
          </a:xfrm>
          <a:prstGeom prst="rect">
            <a:avLst/>
          </a:prstGeom>
        </p:spPr>
        <p:txBody>
          <a:bodyPr anchor="b">
            <a:normAutofit/>
          </a:bodyPr>
          <a:lstStyle>
            <a:lvl1pPr marL="0" indent="0" algn="r">
              <a:spcBef>
                <a:spcPts val="0"/>
              </a:spcBef>
              <a:buNone/>
              <a:defRPr sz="750">
                <a:latin typeface="Arial" panose="020B0604020202020204" pitchFamily="34" charset="0"/>
                <a:cs typeface="Arial" panose="020B0604020202020204" pitchFamily="34" charset="0"/>
              </a:defRPr>
            </a:lvl1pPr>
          </a:lstStyle>
          <a:p>
            <a:pPr lvl="0"/>
            <a:endParaRPr lang="en-GB" dirty="0"/>
          </a:p>
        </p:txBody>
      </p:sp>
    </p:spTree>
    <p:extLst>
      <p:ext uri="{BB962C8B-B14F-4D97-AF65-F5344CB8AC3E}">
        <p14:creationId xmlns:p14="http://schemas.microsoft.com/office/powerpoint/2010/main" val="220865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75AB3140-6170-1CCE-C0BD-03DA39B51EB9}"/>
              </a:ext>
            </a:extLst>
          </p:cNvPr>
          <p:cNvGrpSpPr/>
          <p:nvPr userDrawn="1"/>
        </p:nvGrpSpPr>
        <p:grpSpPr>
          <a:xfrm>
            <a:off x="0" y="-557"/>
            <a:ext cx="10287000" cy="6858557"/>
            <a:chOff x="0" y="-557"/>
            <a:chExt cx="12192000" cy="6858557"/>
          </a:xfrm>
        </p:grpSpPr>
        <p:pic>
          <p:nvPicPr>
            <p:cNvPr id="5" name="Picture 4" descr="Diagram&#10;&#10;Description automatically generated">
              <a:extLst>
                <a:ext uri="{FF2B5EF4-FFF2-40B4-BE49-F238E27FC236}">
                  <a16:creationId xmlns:a16="http://schemas.microsoft.com/office/drawing/2014/main" id="{FBADEF87-632B-C07A-BC76-FF1230F0EF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DDD0465-338A-CC10-6324-AF08197D9B10}"/>
                </a:ext>
              </a:extLst>
            </p:cNvPr>
            <p:cNvSpPr/>
            <p:nvPr userDrawn="1"/>
          </p:nvSpPr>
          <p:spPr>
            <a:xfrm>
              <a:off x="4539727" y="716280"/>
              <a:ext cx="4492513" cy="1331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b="0" cap="none" spc="0">
                <a:ln w="0"/>
                <a:solidFill>
                  <a:schemeClr val="accent1"/>
                </a:solidFill>
                <a:effectLst>
                  <a:outerShdw blurRad="38100" dist="25400" dir="5400000" algn="ctr" rotWithShape="0">
                    <a:srgbClr val="6E747A">
                      <a:alpha val="43000"/>
                    </a:srgbClr>
                  </a:outerShdw>
                </a:effectLst>
              </a:endParaRPr>
            </a:p>
          </p:txBody>
        </p:sp>
        <p:sp>
          <p:nvSpPr>
            <p:cNvPr id="7" name="Rectangle 6">
              <a:extLst>
                <a:ext uri="{FF2B5EF4-FFF2-40B4-BE49-F238E27FC236}">
                  <a16:creationId xmlns:a16="http://schemas.microsoft.com/office/drawing/2014/main" id="{7CCD594D-31C0-4E38-B0E8-85E131ABAF88}"/>
                </a:ext>
              </a:extLst>
            </p:cNvPr>
            <p:cNvSpPr/>
            <p:nvPr userDrawn="1"/>
          </p:nvSpPr>
          <p:spPr>
            <a:xfrm>
              <a:off x="4387327" y="1920257"/>
              <a:ext cx="3766969" cy="1140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b="0" cap="none" spc="0">
                <a:ln w="0"/>
                <a:solidFill>
                  <a:schemeClr val="accent1"/>
                </a:solidFill>
                <a:effectLst>
                  <a:outerShdw blurRad="38100" dist="25400" dir="5400000" algn="ctr" rotWithShape="0">
                    <a:srgbClr val="6E747A">
                      <a:alpha val="43000"/>
                    </a:srgbClr>
                  </a:outerShdw>
                </a:effectLst>
              </a:endParaRPr>
            </a:p>
          </p:txBody>
        </p:sp>
        <p:sp>
          <p:nvSpPr>
            <p:cNvPr id="8" name="Rectangle 7">
              <a:extLst>
                <a:ext uri="{FF2B5EF4-FFF2-40B4-BE49-F238E27FC236}">
                  <a16:creationId xmlns:a16="http://schemas.microsoft.com/office/drawing/2014/main" id="{3E40C66C-D72A-A2A1-871F-D34FFE11F2B8}"/>
                </a:ext>
              </a:extLst>
            </p:cNvPr>
            <p:cNvSpPr/>
            <p:nvPr userDrawn="1"/>
          </p:nvSpPr>
          <p:spPr>
            <a:xfrm>
              <a:off x="4539727" y="3097598"/>
              <a:ext cx="3766969" cy="13728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b="0" cap="none" spc="0">
                <a:ln w="0"/>
                <a:solidFill>
                  <a:schemeClr val="accent1"/>
                </a:solidFill>
                <a:effectLst>
                  <a:outerShdw blurRad="38100" dist="25400" dir="5400000" algn="ctr" rotWithShape="0">
                    <a:srgbClr val="6E747A">
                      <a:alpha val="43000"/>
                    </a:srgbClr>
                  </a:outerShdw>
                </a:effectLst>
              </a:endParaRPr>
            </a:p>
          </p:txBody>
        </p:sp>
        <p:sp>
          <p:nvSpPr>
            <p:cNvPr id="9" name="Rectangle 8">
              <a:extLst>
                <a:ext uri="{FF2B5EF4-FFF2-40B4-BE49-F238E27FC236}">
                  <a16:creationId xmlns:a16="http://schemas.microsoft.com/office/drawing/2014/main" id="{2DB2E51A-D6F5-EF33-0519-A1D18B611E2E}"/>
                </a:ext>
              </a:extLst>
            </p:cNvPr>
            <p:cNvSpPr/>
            <p:nvPr userDrawn="1"/>
          </p:nvSpPr>
          <p:spPr>
            <a:xfrm>
              <a:off x="7152939" y="2048741"/>
              <a:ext cx="3567055" cy="18798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b="0" cap="none" spc="0">
                <a:ln w="0"/>
                <a:solidFill>
                  <a:schemeClr val="accent1"/>
                </a:solidFill>
                <a:effectLst>
                  <a:outerShdw blurRad="38100" dist="25400" dir="5400000" algn="ctr" rotWithShape="0">
                    <a:srgbClr val="6E747A">
                      <a:alpha val="43000"/>
                    </a:srgbClr>
                  </a:outerShdw>
                </a:effectLst>
              </a:endParaRPr>
            </a:p>
          </p:txBody>
        </p:sp>
        <p:sp>
          <p:nvSpPr>
            <p:cNvPr id="13" name="Rectangle 12">
              <a:extLst>
                <a:ext uri="{FF2B5EF4-FFF2-40B4-BE49-F238E27FC236}">
                  <a16:creationId xmlns:a16="http://schemas.microsoft.com/office/drawing/2014/main" id="{E460D71A-6B23-F45E-B4AA-3D1FA8689CDC}"/>
                </a:ext>
              </a:extLst>
            </p:cNvPr>
            <p:cNvSpPr/>
            <p:nvPr userDrawn="1"/>
          </p:nvSpPr>
          <p:spPr>
            <a:xfrm>
              <a:off x="8441785" y="-557"/>
              <a:ext cx="2816669" cy="13318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25" b="0" cap="none" spc="0">
                <a:ln w="0"/>
                <a:solidFill>
                  <a:schemeClr val="accent1"/>
                </a:solidFill>
                <a:effectLst>
                  <a:outerShdw blurRad="38100" dist="25400" dir="5400000" algn="ctr" rotWithShape="0">
                    <a:srgbClr val="6E747A">
                      <a:alpha val="43000"/>
                    </a:srgbClr>
                  </a:outerShdw>
                </a:effectLst>
              </a:endParaRPr>
            </a:p>
          </p:txBody>
        </p:sp>
      </p:grpSp>
      <p:pic>
        <p:nvPicPr>
          <p:cNvPr id="19" name="Picture 18" descr="Diagram&#10;&#10;Description automatically generated">
            <a:extLst>
              <a:ext uri="{FF2B5EF4-FFF2-40B4-BE49-F238E27FC236}">
                <a16:creationId xmlns:a16="http://schemas.microsoft.com/office/drawing/2014/main" id="{6D151F8D-2BB3-D2F9-2BAC-8FA0CCD910D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rot="19756002">
            <a:off x="4843661" y="1555914"/>
            <a:ext cx="1151844" cy="1018572"/>
          </a:xfrm>
          <a:prstGeom prst="rect">
            <a:avLst/>
          </a:prstGeom>
        </p:spPr>
      </p:pic>
      <p:pic>
        <p:nvPicPr>
          <p:cNvPr id="20" name="Picture 19" descr="Diagram&#10;&#10;Description automatically generated">
            <a:extLst>
              <a:ext uri="{FF2B5EF4-FFF2-40B4-BE49-F238E27FC236}">
                <a16:creationId xmlns:a16="http://schemas.microsoft.com/office/drawing/2014/main" id="{28F2F4D1-4258-72C4-6096-0E0BAE42735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985" t="3882" r="11107" b="8042"/>
          <a:stretch/>
        </p:blipFill>
        <p:spPr>
          <a:xfrm rot="9346044">
            <a:off x="7346007" y="364120"/>
            <a:ext cx="1729995" cy="1729476"/>
          </a:xfrm>
          <a:prstGeom prst="rect">
            <a:avLst/>
          </a:prstGeom>
        </p:spPr>
      </p:pic>
      <p:pic>
        <p:nvPicPr>
          <p:cNvPr id="21" name="Picture 20" descr="Diagram&#10;&#10;Description automatically generated">
            <a:extLst>
              <a:ext uri="{FF2B5EF4-FFF2-40B4-BE49-F238E27FC236}">
                <a16:creationId xmlns:a16="http://schemas.microsoft.com/office/drawing/2014/main" id="{F8E7EA06-88C7-13AE-C846-025E5EBA34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0985" t="3882" r="11107" b="8042"/>
          <a:stretch/>
        </p:blipFill>
        <p:spPr>
          <a:xfrm rot="4528161">
            <a:off x="7579816" y="2808615"/>
            <a:ext cx="1499745" cy="1067369"/>
          </a:xfrm>
          <a:prstGeom prst="rect">
            <a:avLst/>
          </a:prstGeom>
        </p:spPr>
      </p:pic>
      <p:sp>
        <p:nvSpPr>
          <p:cNvPr id="2" name="Title 1">
            <a:extLst>
              <a:ext uri="{FF2B5EF4-FFF2-40B4-BE49-F238E27FC236}">
                <a16:creationId xmlns:a16="http://schemas.microsoft.com/office/drawing/2014/main" id="{3F289672-7013-46A7-A5FD-86D2729C7809}"/>
              </a:ext>
            </a:extLst>
          </p:cNvPr>
          <p:cNvSpPr>
            <a:spLocks noGrp="1"/>
          </p:cNvSpPr>
          <p:nvPr userDrawn="1">
            <p:ph type="ctrTitle"/>
          </p:nvPr>
        </p:nvSpPr>
        <p:spPr>
          <a:xfrm>
            <a:off x="3657936" y="1070944"/>
            <a:ext cx="5343188" cy="1992597"/>
          </a:xfrm>
        </p:spPr>
        <p:txBody>
          <a:bodyPr anchor="b">
            <a:noAutofit/>
          </a:bodyPr>
          <a:lstStyle>
            <a:lvl1pPr algn="l">
              <a:defRPr sz="270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73D0DE68-3361-430B-95BD-E21343BEBB26}"/>
              </a:ext>
            </a:extLst>
          </p:cNvPr>
          <p:cNvSpPr>
            <a:spLocks noGrp="1"/>
          </p:cNvSpPr>
          <p:nvPr userDrawn="1">
            <p:ph type="subTitle" idx="1"/>
          </p:nvPr>
        </p:nvSpPr>
        <p:spPr>
          <a:xfrm>
            <a:off x="3670025" y="3097598"/>
            <a:ext cx="5343189" cy="967248"/>
          </a:xfrm>
        </p:spPr>
        <p:txBody>
          <a:bodyPr>
            <a:noAutofit/>
          </a:bodyPr>
          <a:lstStyle>
            <a:lvl1pPr marL="0" indent="0" algn="l">
              <a:buNone/>
              <a:defRPr sz="1688">
                <a:solidFill>
                  <a:schemeClr val="accent1"/>
                </a:solidFill>
              </a:defRPr>
            </a:lvl1pPr>
            <a:lvl2pPr marL="385785" indent="0" algn="ctr">
              <a:buNone/>
              <a:defRPr sz="1688"/>
            </a:lvl2pPr>
            <a:lvl3pPr marL="771571" indent="0" algn="ctr">
              <a:buNone/>
              <a:defRPr sz="1519"/>
            </a:lvl3pPr>
            <a:lvl4pPr marL="1157356" indent="0" algn="ctr">
              <a:buNone/>
              <a:defRPr sz="1350"/>
            </a:lvl4pPr>
            <a:lvl5pPr marL="1543141" indent="0" algn="ctr">
              <a:buNone/>
              <a:defRPr sz="1350"/>
            </a:lvl5pPr>
            <a:lvl6pPr marL="1928927" indent="0" algn="ctr">
              <a:buNone/>
              <a:defRPr sz="1350"/>
            </a:lvl6pPr>
            <a:lvl7pPr marL="2314712" indent="0" algn="ctr">
              <a:buNone/>
              <a:defRPr sz="1350"/>
            </a:lvl7pPr>
            <a:lvl8pPr marL="2700498" indent="0" algn="ctr">
              <a:buNone/>
              <a:defRPr sz="1350"/>
            </a:lvl8pPr>
            <a:lvl9pPr marL="3086283" indent="0" algn="ctr">
              <a:buNone/>
              <a:defRPr sz="1350"/>
            </a:lvl9pPr>
          </a:lstStyle>
          <a:p>
            <a:r>
              <a:rPr lang="en-US" dirty="0"/>
              <a:t>Click to edit Master subtitle style</a:t>
            </a:r>
            <a:endParaRPr lang="en-GB" dirty="0"/>
          </a:p>
        </p:txBody>
      </p:sp>
    </p:spTree>
    <p:extLst>
      <p:ext uri="{BB962C8B-B14F-4D97-AF65-F5344CB8AC3E}">
        <p14:creationId xmlns:p14="http://schemas.microsoft.com/office/powerpoint/2010/main" val="34771058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EA300-A625-46C1-B60A-02617CCCFB4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323249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B1107-2207-4090-8F3E-8E114937F00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3387AD-7DC7-4A18-AA4E-9B6F78AD0464}"/>
              </a:ext>
            </a:extLst>
          </p:cNvPr>
          <p:cNvSpPr>
            <a:spLocks noGrp="1"/>
          </p:cNvSpPr>
          <p:nvPr>
            <p:ph idx="1"/>
          </p:nvPr>
        </p:nvSpPr>
        <p:spPr>
          <a:xfrm>
            <a:off x="280555" y="1229587"/>
            <a:ext cx="9725891" cy="4978302"/>
          </a:xfrm>
        </p:spPr>
        <p:txBody>
          <a:bodyPr/>
          <a:lstStyle>
            <a:lvl2pPr marL="578678" indent="-192893">
              <a:buFont typeface="Arial" panose="020B0604020202020204" pitchFamily="34" charset="0"/>
              <a:buChar char="–"/>
              <a:defRPr/>
            </a:lvl2pPr>
            <a:lvl4pPr marL="1350249" indent="-192893">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id="{CF3CBC4A-B4E8-4E7A-81F5-61EE66F5D843}"/>
              </a:ext>
            </a:extLst>
          </p:cNvPr>
          <p:cNvSpPr>
            <a:spLocks noGrp="1"/>
          </p:cNvSpPr>
          <p:nvPr>
            <p:ph type="body" sz="quarter" idx="10" hasCustomPrompt="1"/>
          </p:nvPr>
        </p:nvSpPr>
        <p:spPr>
          <a:xfrm>
            <a:off x="101798" y="6289675"/>
            <a:ext cx="5041702" cy="452438"/>
          </a:xfrm>
        </p:spPr>
        <p:txBody>
          <a:bodyPr anchor="b">
            <a:noAutofit/>
          </a:bodyPr>
          <a:lstStyle>
            <a:lvl1pPr marL="0" indent="0">
              <a:lnSpc>
                <a:spcPct val="100000"/>
              </a:lnSpc>
              <a:spcBef>
                <a:spcPts val="0"/>
              </a:spcBef>
              <a:buNone/>
              <a:defRPr sz="844"/>
            </a:lvl1pPr>
          </a:lstStyle>
          <a:p>
            <a:pPr lvl="0"/>
            <a:r>
              <a:rPr lang="en-GB" dirty="0"/>
              <a:t>References</a:t>
            </a:r>
          </a:p>
        </p:txBody>
      </p:sp>
      <p:sp>
        <p:nvSpPr>
          <p:cNvPr id="9" name="Text Placeholder 7">
            <a:extLst>
              <a:ext uri="{FF2B5EF4-FFF2-40B4-BE49-F238E27FC236}">
                <a16:creationId xmlns:a16="http://schemas.microsoft.com/office/drawing/2014/main" id="{CBE7AF32-8D48-4BF2-89E3-DD07157FE4B6}"/>
              </a:ext>
            </a:extLst>
          </p:cNvPr>
          <p:cNvSpPr>
            <a:spLocks noGrp="1"/>
          </p:cNvSpPr>
          <p:nvPr>
            <p:ph type="body" sz="quarter" idx="11" hasCustomPrompt="1"/>
          </p:nvPr>
        </p:nvSpPr>
        <p:spPr>
          <a:xfrm>
            <a:off x="5143500" y="6289675"/>
            <a:ext cx="5041702" cy="452438"/>
          </a:xfrm>
        </p:spPr>
        <p:txBody>
          <a:bodyPr anchor="b">
            <a:noAutofit/>
          </a:bodyPr>
          <a:lstStyle>
            <a:lvl1pPr marL="0" indent="0" algn="r">
              <a:lnSpc>
                <a:spcPct val="100000"/>
              </a:lnSpc>
              <a:spcBef>
                <a:spcPts val="0"/>
              </a:spcBef>
              <a:buNone/>
              <a:defRPr sz="844"/>
            </a:lvl1pPr>
          </a:lstStyle>
          <a:p>
            <a:pPr lvl="0"/>
            <a:r>
              <a:rPr lang="en-GB" dirty="0"/>
              <a:t>Footnotes</a:t>
            </a:r>
          </a:p>
        </p:txBody>
      </p:sp>
    </p:spTree>
    <p:extLst>
      <p:ext uri="{BB962C8B-B14F-4D97-AF65-F5344CB8AC3E}">
        <p14:creationId xmlns:p14="http://schemas.microsoft.com/office/powerpoint/2010/main" val="23776715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9B1107-2207-4090-8F3E-8E114937F00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3387AD-7DC7-4A18-AA4E-9B6F78AD0464}"/>
              </a:ext>
            </a:extLst>
          </p:cNvPr>
          <p:cNvSpPr>
            <a:spLocks noGrp="1"/>
          </p:cNvSpPr>
          <p:nvPr>
            <p:ph idx="1"/>
          </p:nvPr>
        </p:nvSpPr>
        <p:spPr>
          <a:xfrm>
            <a:off x="280555" y="1876367"/>
            <a:ext cx="9725891" cy="4331522"/>
          </a:xfrm>
        </p:spPr>
        <p:txBody>
          <a:bodyPr/>
          <a:lstStyle>
            <a:lvl2pPr marL="578678" indent="-192893">
              <a:buFont typeface="Arial" panose="020B0604020202020204" pitchFamily="34" charset="0"/>
              <a:buChar char="–"/>
              <a:defRPr/>
            </a:lvl2pPr>
            <a:lvl4pPr marL="1350249" indent="-192893">
              <a:buFont typeface="Arial" panose="020B0604020202020204" pitchFamily="34" charset="0"/>
              <a:buChar cha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id="{CF3CBC4A-B4E8-4E7A-81F5-61EE66F5D843}"/>
              </a:ext>
            </a:extLst>
          </p:cNvPr>
          <p:cNvSpPr>
            <a:spLocks noGrp="1"/>
          </p:cNvSpPr>
          <p:nvPr>
            <p:ph type="body" sz="quarter" idx="10" hasCustomPrompt="1"/>
          </p:nvPr>
        </p:nvSpPr>
        <p:spPr>
          <a:xfrm>
            <a:off x="101798" y="6289675"/>
            <a:ext cx="5041702" cy="452438"/>
          </a:xfrm>
        </p:spPr>
        <p:txBody>
          <a:bodyPr anchor="b">
            <a:noAutofit/>
          </a:bodyPr>
          <a:lstStyle>
            <a:lvl1pPr marL="0" indent="0">
              <a:lnSpc>
                <a:spcPct val="100000"/>
              </a:lnSpc>
              <a:spcBef>
                <a:spcPts val="0"/>
              </a:spcBef>
              <a:buNone/>
              <a:defRPr sz="844"/>
            </a:lvl1pPr>
          </a:lstStyle>
          <a:p>
            <a:pPr lvl="0"/>
            <a:r>
              <a:rPr lang="en-GB" dirty="0"/>
              <a:t>References</a:t>
            </a:r>
          </a:p>
        </p:txBody>
      </p:sp>
      <p:sp>
        <p:nvSpPr>
          <p:cNvPr id="9" name="Text Placeholder 7">
            <a:extLst>
              <a:ext uri="{FF2B5EF4-FFF2-40B4-BE49-F238E27FC236}">
                <a16:creationId xmlns:a16="http://schemas.microsoft.com/office/drawing/2014/main" id="{CBE7AF32-8D48-4BF2-89E3-DD07157FE4B6}"/>
              </a:ext>
            </a:extLst>
          </p:cNvPr>
          <p:cNvSpPr>
            <a:spLocks noGrp="1"/>
          </p:cNvSpPr>
          <p:nvPr>
            <p:ph type="body" sz="quarter" idx="11" hasCustomPrompt="1"/>
          </p:nvPr>
        </p:nvSpPr>
        <p:spPr>
          <a:xfrm>
            <a:off x="5143500" y="6289675"/>
            <a:ext cx="5041702" cy="452438"/>
          </a:xfrm>
        </p:spPr>
        <p:txBody>
          <a:bodyPr anchor="b">
            <a:noAutofit/>
          </a:bodyPr>
          <a:lstStyle>
            <a:lvl1pPr marL="0" indent="0" algn="r">
              <a:lnSpc>
                <a:spcPct val="100000"/>
              </a:lnSpc>
              <a:spcBef>
                <a:spcPts val="0"/>
              </a:spcBef>
              <a:buNone/>
              <a:defRPr sz="844"/>
            </a:lvl1pPr>
          </a:lstStyle>
          <a:p>
            <a:pPr lvl="0"/>
            <a:r>
              <a:rPr lang="en-GB" dirty="0"/>
              <a:t>Footnotes</a:t>
            </a:r>
          </a:p>
        </p:txBody>
      </p:sp>
      <p:sp>
        <p:nvSpPr>
          <p:cNvPr id="6" name="Rectangle 5">
            <a:extLst>
              <a:ext uri="{FF2B5EF4-FFF2-40B4-BE49-F238E27FC236}">
                <a16:creationId xmlns:a16="http://schemas.microsoft.com/office/drawing/2014/main" id="{4B177B0C-5D9D-827A-4172-DEFBA3B3F5A8}"/>
              </a:ext>
            </a:extLst>
          </p:cNvPr>
          <p:cNvSpPr/>
          <p:nvPr userDrawn="1"/>
        </p:nvSpPr>
        <p:spPr>
          <a:xfrm>
            <a:off x="1" y="1261762"/>
            <a:ext cx="10286999" cy="45243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05413" marR="0" lvl="0" indent="8037" defTabSz="771571" rtl="0" eaLnBrk="1" fontAlgn="auto" latinLnBrk="0" hangingPunct="1">
              <a:lnSpc>
                <a:spcPct val="100000"/>
              </a:lnSpc>
              <a:spcBef>
                <a:spcPts val="0"/>
              </a:spcBef>
              <a:spcAft>
                <a:spcPts val="0"/>
              </a:spcAft>
              <a:buClrTx/>
              <a:buSzTx/>
              <a:buFontTx/>
              <a:buNone/>
              <a:tabLst/>
              <a:defRPr/>
            </a:pPr>
            <a:endParaRPr kumimoji="0" lang="en-GB" sz="2025"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C561F111-A70E-E012-5BEF-BB25CC3C8586}"/>
              </a:ext>
            </a:extLst>
          </p:cNvPr>
          <p:cNvSpPr>
            <a:spLocks noGrp="1"/>
          </p:cNvSpPr>
          <p:nvPr>
            <p:ph type="body" sz="quarter" idx="12"/>
          </p:nvPr>
        </p:nvSpPr>
        <p:spPr>
          <a:xfrm>
            <a:off x="279946" y="1261762"/>
            <a:ext cx="9727109" cy="435276"/>
          </a:xfrm>
        </p:spPr>
        <p:txBody>
          <a:bodyPr anchor="ctr"/>
          <a:lstStyle>
            <a:lvl1pPr>
              <a:defRPr sz="1519">
                <a:solidFill>
                  <a:schemeClr val="bg1"/>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29256309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7DB18EBB-4483-14FF-60D1-B0A6635C14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287000" cy="6858000"/>
          </a:xfrm>
          <a:prstGeom prst="rect">
            <a:avLst/>
          </a:prstGeom>
        </p:spPr>
      </p:pic>
      <p:sp>
        <p:nvSpPr>
          <p:cNvPr id="2" name="Title 1">
            <a:extLst>
              <a:ext uri="{FF2B5EF4-FFF2-40B4-BE49-F238E27FC236}">
                <a16:creationId xmlns:a16="http://schemas.microsoft.com/office/drawing/2014/main" id="{732CC2CE-2C0E-490F-9596-3DA6724ED0F4}"/>
              </a:ext>
            </a:extLst>
          </p:cNvPr>
          <p:cNvSpPr>
            <a:spLocks noGrp="1"/>
          </p:cNvSpPr>
          <p:nvPr>
            <p:ph type="title"/>
          </p:nvPr>
        </p:nvSpPr>
        <p:spPr>
          <a:xfrm>
            <a:off x="701874" y="1709739"/>
            <a:ext cx="5697246" cy="2852737"/>
          </a:xfrm>
        </p:spPr>
        <p:txBody>
          <a:bodyPr anchor="b">
            <a:noAutofit/>
          </a:bodyPr>
          <a:lstStyle>
            <a:lvl1pPr>
              <a:defRPr sz="2700">
                <a:solidFill>
                  <a:schemeClr val="bg1"/>
                </a:solidFill>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1CDC4FD-1479-457F-A5E9-66AC651F292C}"/>
              </a:ext>
            </a:extLst>
          </p:cNvPr>
          <p:cNvSpPr>
            <a:spLocks noGrp="1"/>
          </p:cNvSpPr>
          <p:nvPr>
            <p:ph type="body" idx="1"/>
          </p:nvPr>
        </p:nvSpPr>
        <p:spPr>
          <a:xfrm>
            <a:off x="701874" y="4589464"/>
            <a:ext cx="5697246" cy="1500187"/>
          </a:xfrm>
        </p:spPr>
        <p:txBody>
          <a:bodyPr>
            <a:noAutofit/>
          </a:bodyPr>
          <a:lstStyle>
            <a:lvl1pPr marL="0" indent="0">
              <a:buNone/>
              <a:defRPr sz="1688">
                <a:solidFill>
                  <a:schemeClr val="bg1"/>
                </a:solidFill>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616212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pic>
        <p:nvPicPr>
          <p:cNvPr id="6" name="Picture 5" descr="A picture containing background pattern&#10;&#10;Description automatically generated">
            <a:extLst>
              <a:ext uri="{FF2B5EF4-FFF2-40B4-BE49-F238E27FC236}">
                <a16:creationId xmlns:a16="http://schemas.microsoft.com/office/drawing/2014/main" id="{92FDFDE3-3D56-CEA5-6B65-46F83DEA5E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287000" cy="6858000"/>
          </a:xfrm>
          <a:prstGeom prst="rect">
            <a:avLst/>
          </a:prstGeom>
        </p:spPr>
      </p:pic>
      <p:sp>
        <p:nvSpPr>
          <p:cNvPr id="2" name="Title 1">
            <a:extLst>
              <a:ext uri="{FF2B5EF4-FFF2-40B4-BE49-F238E27FC236}">
                <a16:creationId xmlns:a16="http://schemas.microsoft.com/office/drawing/2014/main" id="{732CC2CE-2C0E-490F-9596-3DA6724ED0F4}"/>
              </a:ext>
            </a:extLst>
          </p:cNvPr>
          <p:cNvSpPr>
            <a:spLocks noGrp="1"/>
          </p:cNvSpPr>
          <p:nvPr>
            <p:ph type="title"/>
          </p:nvPr>
        </p:nvSpPr>
        <p:spPr>
          <a:xfrm>
            <a:off x="701874" y="1709739"/>
            <a:ext cx="5533864" cy="2852737"/>
          </a:xfrm>
        </p:spPr>
        <p:txBody>
          <a:bodyPr anchor="b">
            <a:noAutofit/>
          </a:bodyPr>
          <a:lstStyle>
            <a:lvl1pPr>
              <a:defRPr sz="2700"/>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1CDC4FD-1479-457F-A5E9-66AC651F292C}"/>
              </a:ext>
            </a:extLst>
          </p:cNvPr>
          <p:cNvSpPr>
            <a:spLocks noGrp="1"/>
          </p:cNvSpPr>
          <p:nvPr>
            <p:ph type="body" idx="1"/>
          </p:nvPr>
        </p:nvSpPr>
        <p:spPr>
          <a:xfrm>
            <a:off x="701874" y="4589464"/>
            <a:ext cx="5533864" cy="1500187"/>
          </a:xfrm>
        </p:spPr>
        <p:txBody>
          <a:bodyPr>
            <a:noAutofit/>
          </a:bodyPr>
          <a:lstStyle>
            <a:lvl1pPr marL="0" indent="0">
              <a:buNone/>
              <a:defRPr sz="1688">
                <a:solidFill>
                  <a:schemeClr val="tx1"/>
                </a:solidFill>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0688104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secHead" preserve="1">
  <p:cSld name="2_Section Header">
    <p:spTree>
      <p:nvGrpSpPr>
        <p:cNvPr id="1" name=""/>
        <p:cNvGrpSpPr/>
        <p:nvPr/>
      </p:nvGrpSpPr>
      <p:grpSpPr>
        <a:xfrm>
          <a:off x="0" y="0"/>
          <a:ext cx="0" cy="0"/>
          <a:chOff x="0" y="0"/>
          <a:chExt cx="0" cy="0"/>
        </a:xfrm>
      </p:grpSpPr>
      <p:pic>
        <p:nvPicPr>
          <p:cNvPr id="6" name="Picture 5" descr="A picture containing icon&#10;&#10;Description automatically generated">
            <a:extLst>
              <a:ext uri="{FF2B5EF4-FFF2-40B4-BE49-F238E27FC236}">
                <a16:creationId xmlns:a16="http://schemas.microsoft.com/office/drawing/2014/main" id="{196AF668-14A6-1ADB-ECCE-DB9A3C02B9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287000" cy="6858000"/>
          </a:xfrm>
          <a:prstGeom prst="rect">
            <a:avLst/>
          </a:prstGeom>
        </p:spPr>
      </p:pic>
      <p:sp>
        <p:nvSpPr>
          <p:cNvPr id="2" name="Title 1">
            <a:extLst>
              <a:ext uri="{FF2B5EF4-FFF2-40B4-BE49-F238E27FC236}">
                <a16:creationId xmlns:a16="http://schemas.microsoft.com/office/drawing/2014/main" id="{732CC2CE-2C0E-490F-9596-3DA6724ED0F4}"/>
              </a:ext>
            </a:extLst>
          </p:cNvPr>
          <p:cNvSpPr>
            <a:spLocks noGrp="1"/>
          </p:cNvSpPr>
          <p:nvPr>
            <p:ph type="title"/>
          </p:nvPr>
        </p:nvSpPr>
        <p:spPr>
          <a:xfrm>
            <a:off x="701873" y="1709739"/>
            <a:ext cx="5624632" cy="2852737"/>
          </a:xfrm>
        </p:spPr>
        <p:txBody>
          <a:bodyPr anchor="b">
            <a:noAutofit/>
          </a:bodyPr>
          <a:lstStyle>
            <a:lvl1pPr>
              <a:defRPr sz="2700">
                <a:solidFill>
                  <a:schemeClr val="bg1"/>
                </a:solidFill>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1CDC4FD-1479-457F-A5E9-66AC651F292C}"/>
              </a:ext>
            </a:extLst>
          </p:cNvPr>
          <p:cNvSpPr>
            <a:spLocks noGrp="1"/>
          </p:cNvSpPr>
          <p:nvPr>
            <p:ph type="body" idx="1"/>
          </p:nvPr>
        </p:nvSpPr>
        <p:spPr>
          <a:xfrm>
            <a:off x="701873" y="4589464"/>
            <a:ext cx="5624632" cy="1500187"/>
          </a:xfrm>
        </p:spPr>
        <p:txBody>
          <a:bodyPr>
            <a:noAutofit/>
          </a:bodyPr>
          <a:lstStyle>
            <a:lvl1pPr marL="0" indent="0">
              <a:buNone/>
              <a:defRPr sz="1688">
                <a:solidFill>
                  <a:schemeClr val="bg1"/>
                </a:solidFill>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7566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7808A-28E2-44C5-A09E-4F0CD4207F7D}"/>
              </a:ext>
            </a:extLst>
          </p:cNvPr>
          <p:cNvSpPr>
            <a:spLocks noGrp="1"/>
          </p:cNvSpPr>
          <p:nvPr>
            <p:ph type="title"/>
          </p:nvPr>
        </p:nvSpPr>
        <p:spPr>
          <a:xfrm>
            <a:off x="771525" y="609600"/>
            <a:ext cx="8743950" cy="1143000"/>
          </a:xfrm>
        </p:spPr>
        <p:txBody>
          <a:bodyPr/>
          <a:lstStyle/>
          <a:p>
            <a:r>
              <a:rPr lang="en-US"/>
              <a:t>Click to edit Master title style</a:t>
            </a:r>
            <a:endParaRPr lang="el-GR"/>
          </a:p>
        </p:txBody>
      </p:sp>
      <p:sp>
        <p:nvSpPr>
          <p:cNvPr id="3" name="Chart Placeholder 2">
            <a:extLst>
              <a:ext uri="{FF2B5EF4-FFF2-40B4-BE49-F238E27FC236}">
                <a16:creationId xmlns:a16="http://schemas.microsoft.com/office/drawing/2014/main" id="{5620620D-743F-4BE0-97CB-24A04EE87A75}"/>
              </a:ext>
            </a:extLst>
          </p:cNvPr>
          <p:cNvSpPr>
            <a:spLocks noGrp="1"/>
          </p:cNvSpPr>
          <p:nvPr>
            <p:ph type="chart" idx="1"/>
          </p:nvPr>
        </p:nvSpPr>
        <p:spPr>
          <a:xfrm>
            <a:off x="771525" y="1981200"/>
            <a:ext cx="8743950" cy="4114800"/>
          </a:xfrm>
        </p:spPr>
        <p:txBody>
          <a:bodyPr/>
          <a:lstStyle/>
          <a:p>
            <a:endParaRPr lang="el-GR"/>
          </a:p>
        </p:txBody>
      </p:sp>
      <p:sp>
        <p:nvSpPr>
          <p:cNvPr id="4" name="Date Placeholder 3">
            <a:extLst>
              <a:ext uri="{FF2B5EF4-FFF2-40B4-BE49-F238E27FC236}">
                <a16:creationId xmlns:a16="http://schemas.microsoft.com/office/drawing/2014/main" id="{4F9905A4-24A9-472E-81CA-A365D3AE9E7B}"/>
              </a:ext>
            </a:extLst>
          </p:cNvPr>
          <p:cNvSpPr>
            <a:spLocks noGrp="1"/>
          </p:cNvSpPr>
          <p:nvPr>
            <p:ph type="dt" sz="half" idx="10"/>
          </p:nvPr>
        </p:nvSpPr>
        <p:spPr>
          <a:xfrm>
            <a:off x="771525" y="6248400"/>
            <a:ext cx="2143125" cy="457200"/>
          </a:xfrm>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09267E00-60E5-4203-803E-B9F8AD3D6E76}"/>
              </a:ext>
            </a:extLst>
          </p:cNvPr>
          <p:cNvSpPr>
            <a:spLocks noGrp="1"/>
          </p:cNvSpPr>
          <p:nvPr>
            <p:ph type="ftr" sz="quarter" idx="11"/>
          </p:nvPr>
        </p:nvSpPr>
        <p:spPr>
          <a:xfrm>
            <a:off x="3514725" y="6248400"/>
            <a:ext cx="3257550" cy="457200"/>
          </a:xfrm>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2EA590F3-A3E3-4815-A709-1C4D79535ED0}"/>
              </a:ext>
            </a:extLst>
          </p:cNvPr>
          <p:cNvSpPr>
            <a:spLocks noGrp="1"/>
          </p:cNvSpPr>
          <p:nvPr>
            <p:ph type="sldNum" sz="quarter" idx="12"/>
          </p:nvPr>
        </p:nvSpPr>
        <p:spPr>
          <a:xfrm>
            <a:off x="7372350" y="6248400"/>
            <a:ext cx="2143125" cy="457200"/>
          </a:xfrm>
        </p:spPr>
        <p:txBody>
          <a:bodyPr/>
          <a:lstStyle>
            <a:lvl1pPr>
              <a:defRPr/>
            </a:lvl1pPr>
          </a:lstStyle>
          <a:p>
            <a:fld id="{D8156E65-90BE-4248-AB72-9570A014C50A}" type="slidenum">
              <a:rPr lang="el-GR" altLang="el-GR"/>
              <a:pPr/>
              <a:t>‹#›</a:t>
            </a:fld>
            <a:endParaRPr lang="el-GR" altLang="el-GR"/>
          </a:p>
        </p:txBody>
      </p:sp>
    </p:spTree>
    <p:extLst>
      <p:ext uri="{BB962C8B-B14F-4D97-AF65-F5344CB8AC3E}">
        <p14:creationId xmlns:p14="http://schemas.microsoft.com/office/powerpoint/2010/main" val="1708351109"/>
      </p:ext>
    </p:extLst>
  </p:cSld>
  <p:clrMapOvr>
    <a:masterClrMapping/>
  </p:clrMapOvr>
  <p:transition spd="med">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secHead" preserve="1">
  <p:cSld name="3_Section Hea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DF01AA3-AE43-6A2D-B018-E7CB49AB9D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287000" cy="6858000"/>
          </a:xfrm>
          <a:prstGeom prst="rect">
            <a:avLst/>
          </a:prstGeom>
        </p:spPr>
      </p:pic>
      <p:sp>
        <p:nvSpPr>
          <p:cNvPr id="2" name="Title 1">
            <a:extLst>
              <a:ext uri="{FF2B5EF4-FFF2-40B4-BE49-F238E27FC236}">
                <a16:creationId xmlns:a16="http://schemas.microsoft.com/office/drawing/2014/main" id="{732CC2CE-2C0E-490F-9596-3DA6724ED0F4}"/>
              </a:ext>
            </a:extLst>
          </p:cNvPr>
          <p:cNvSpPr>
            <a:spLocks noGrp="1"/>
          </p:cNvSpPr>
          <p:nvPr>
            <p:ph type="title"/>
          </p:nvPr>
        </p:nvSpPr>
        <p:spPr>
          <a:xfrm>
            <a:off x="3642746" y="1053519"/>
            <a:ext cx="5624632" cy="2852737"/>
          </a:xfrm>
        </p:spPr>
        <p:txBody>
          <a:bodyPr anchor="b">
            <a:noAutofit/>
          </a:bodyPr>
          <a:lstStyle>
            <a:lvl1pPr algn="r">
              <a:defRPr sz="2700">
                <a:solidFill>
                  <a:schemeClr val="tx1"/>
                </a:solidFill>
              </a:defRPr>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A1CDC4FD-1479-457F-A5E9-66AC651F292C}"/>
              </a:ext>
            </a:extLst>
          </p:cNvPr>
          <p:cNvSpPr>
            <a:spLocks noGrp="1"/>
          </p:cNvSpPr>
          <p:nvPr>
            <p:ph type="body" idx="1"/>
          </p:nvPr>
        </p:nvSpPr>
        <p:spPr>
          <a:xfrm>
            <a:off x="3642746" y="3933244"/>
            <a:ext cx="5624632" cy="1500187"/>
          </a:xfrm>
        </p:spPr>
        <p:txBody>
          <a:bodyPr>
            <a:noAutofit/>
          </a:bodyPr>
          <a:lstStyle>
            <a:lvl1pPr marL="0" indent="0" algn="r">
              <a:buNone/>
              <a:defRPr sz="1688">
                <a:solidFill>
                  <a:schemeClr val="tx1"/>
                </a:solidFill>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7421605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B6B60-9B06-4FBD-AB29-364F31DAEB0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89F6A1-AB42-48B2-93D9-77E1AA99C2CD}"/>
              </a:ext>
            </a:extLst>
          </p:cNvPr>
          <p:cNvSpPr>
            <a:spLocks noGrp="1"/>
          </p:cNvSpPr>
          <p:nvPr>
            <p:ph sz="half" idx="1"/>
          </p:nvPr>
        </p:nvSpPr>
        <p:spPr>
          <a:xfrm>
            <a:off x="280555" y="1229588"/>
            <a:ext cx="4798652" cy="49590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92C34A3-5A84-4919-A668-5487B5E97507}"/>
              </a:ext>
            </a:extLst>
          </p:cNvPr>
          <p:cNvSpPr>
            <a:spLocks noGrp="1"/>
          </p:cNvSpPr>
          <p:nvPr>
            <p:ph sz="half" idx="2"/>
          </p:nvPr>
        </p:nvSpPr>
        <p:spPr>
          <a:xfrm>
            <a:off x="5207793" y="1229588"/>
            <a:ext cx="4798652" cy="49590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25A23BE2-1A58-47F7-AA1E-4A293C63751D}"/>
              </a:ext>
            </a:extLst>
          </p:cNvPr>
          <p:cNvSpPr>
            <a:spLocks noGrp="1"/>
          </p:cNvSpPr>
          <p:nvPr>
            <p:ph type="body" sz="quarter" idx="10" hasCustomPrompt="1"/>
          </p:nvPr>
        </p:nvSpPr>
        <p:spPr>
          <a:xfrm>
            <a:off x="101798" y="6289675"/>
            <a:ext cx="5041702" cy="452438"/>
          </a:xfrm>
        </p:spPr>
        <p:txBody>
          <a:bodyPr anchor="b">
            <a:noAutofit/>
          </a:bodyPr>
          <a:lstStyle>
            <a:lvl1pPr marL="0" indent="0">
              <a:lnSpc>
                <a:spcPct val="100000"/>
              </a:lnSpc>
              <a:spcBef>
                <a:spcPts val="0"/>
              </a:spcBef>
              <a:buNone/>
              <a:defRPr sz="844"/>
            </a:lvl1pPr>
          </a:lstStyle>
          <a:p>
            <a:pPr lvl="0"/>
            <a:r>
              <a:rPr lang="en-GB" dirty="0"/>
              <a:t>References</a:t>
            </a:r>
          </a:p>
        </p:txBody>
      </p:sp>
      <p:sp>
        <p:nvSpPr>
          <p:cNvPr id="9" name="Text Placeholder 7">
            <a:extLst>
              <a:ext uri="{FF2B5EF4-FFF2-40B4-BE49-F238E27FC236}">
                <a16:creationId xmlns:a16="http://schemas.microsoft.com/office/drawing/2014/main" id="{A674CF4E-AC1B-4A61-8DD6-CBAC0AE6050C}"/>
              </a:ext>
            </a:extLst>
          </p:cNvPr>
          <p:cNvSpPr>
            <a:spLocks noGrp="1"/>
          </p:cNvSpPr>
          <p:nvPr>
            <p:ph type="body" sz="quarter" idx="11" hasCustomPrompt="1"/>
          </p:nvPr>
        </p:nvSpPr>
        <p:spPr>
          <a:xfrm>
            <a:off x="5143500" y="6289675"/>
            <a:ext cx="5041702" cy="452438"/>
          </a:xfrm>
        </p:spPr>
        <p:txBody>
          <a:bodyPr anchor="b">
            <a:noAutofit/>
          </a:bodyPr>
          <a:lstStyle>
            <a:lvl1pPr marL="0" indent="0" algn="r">
              <a:lnSpc>
                <a:spcPct val="100000"/>
              </a:lnSpc>
              <a:spcBef>
                <a:spcPts val="0"/>
              </a:spcBef>
              <a:buNone/>
              <a:defRPr sz="844"/>
            </a:lvl1pPr>
          </a:lstStyle>
          <a:p>
            <a:pPr lvl="0"/>
            <a:r>
              <a:rPr lang="en-GB" dirty="0"/>
              <a:t>Footnotes</a:t>
            </a:r>
          </a:p>
        </p:txBody>
      </p:sp>
    </p:spTree>
    <p:extLst>
      <p:ext uri="{BB962C8B-B14F-4D97-AF65-F5344CB8AC3E}">
        <p14:creationId xmlns:p14="http://schemas.microsoft.com/office/powerpoint/2010/main" val="16870392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FFC5A-DB63-4BEA-9146-B966EB8D4735}"/>
              </a:ext>
            </a:extLst>
          </p:cNvPr>
          <p:cNvSpPr>
            <a:spLocks noGrp="1"/>
          </p:cNvSpPr>
          <p:nvPr>
            <p:ph type="title"/>
          </p:nvPr>
        </p:nvSpPr>
        <p:spPr/>
        <p:txBody>
          <a:bodyPr/>
          <a:lstStyle/>
          <a:p>
            <a:r>
              <a:rPr lang="en-US"/>
              <a:t>Click to edit Master title style</a:t>
            </a:r>
            <a:endParaRPr lang="en-GB"/>
          </a:p>
        </p:txBody>
      </p:sp>
      <p:sp>
        <p:nvSpPr>
          <p:cNvPr id="6" name="Text Placeholder 7">
            <a:extLst>
              <a:ext uri="{FF2B5EF4-FFF2-40B4-BE49-F238E27FC236}">
                <a16:creationId xmlns:a16="http://schemas.microsoft.com/office/drawing/2014/main" id="{4B693B79-2913-4BC9-98FC-DF01559F6D2F}"/>
              </a:ext>
            </a:extLst>
          </p:cNvPr>
          <p:cNvSpPr>
            <a:spLocks noGrp="1"/>
          </p:cNvSpPr>
          <p:nvPr>
            <p:ph type="body" sz="quarter" idx="10" hasCustomPrompt="1"/>
          </p:nvPr>
        </p:nvSpPr>
        <p:spPr>
          <a:xfrm>
            <a:off x="101798" y="6289675"/>
            <a:ext cx="5041702" cy="452438"/>
          </a:xfrm>
        </p:spPr>
        <p:txBody>
          <a:bodyPr anchor="b">
            <a:noAutofit/>
          </a:bodyPr>
          <a:lstStyle>
            <a:lvl1pPr marL="0" indent="0">
              <a:lnSpc>
                <a:spcPct val="100000"/>
              </a:lnSpc>
              <a:spcBef>
                <a:spcPts val="0"/>
              </a:spcBef>
              <a:buNone/>
              <a:defRPr sz="844"/>
            </a:lvl1pPr>
          </a:lstStyle>
          <a:p>
            <a:pPr lvl="0"/>
            <a:r>
              <a:rPr lang="en-GB" dirty="0"/>
              <a:t>References</a:t>
            </a:r>
          </a:p>
        </p:txBody>
      </p:sp>
      <p:sp>
        <p:nvSpPr>
          <p:cNvPr id="7" name="Text Placeholder 7">
            <a:extLst>
              <a:ext uri="{FF2B5EF4-FFF2-40B4-BE49-F238E27FC236}">
                <a16:creationId xmlns:a16="http://schemas.microsoft.com/office/drawing/2014/main" id="{60852E6A-2061-4B9E-A1D9-C9BD3B1887E0}"/>
              </a:ext>
            </a:extLst>
          </p:cNvPr>
          <p:cNvSpPr>
            <a:spLocks noGrp="1"/>
          </p:cNvSpPr>
          <p:nvPr>
            <p:ph type="body" sz="quarter" idx="11" hasCustomPrompt="1"/>
          </p:nvPr>
        </p:nvSpPr>
        <p:spPr>
          <a:xfrm>
            <a:off x="5143500" y="6289675"/>
            <a:ext cx="5041702" cy="452438"/>
          </a:xfrm>
        </p:spPr>
        <p:txBody>
          <a:bodyPr anchor="b">
            <a:noAutofit/>
          </a:bodyPr>
          <a:lstStyle>
            <a:lvl1pPr marL="0" indent="0" algn="r">
              <a:lnSpc>
                <a:spcPct val="100000"/>
              </a:lnSpc>
              <a:spcBef>
                <a:spcPts val="0"/>
              </a:spcBef>
              <a:buNone/>
              <a:defRPr sz="844"/>
            </a:lvl1pPr>
          </a:lstStyle>
          <a:p>
            <a:pPr lvl="0"/>
            <a:r>
              <a:rPr lang="en-GB" dirty="0"/>
              <a:t>Footnotes</a:t>
            </a:r>
          </a:p>
        </p:txBody>
      </p:sp>
    </p:spTree>
    <p:extLst>
      <p:ext uri="{BB962C8B-B14F-4D97-AF65-F5344CB8AC3E}">
        <p14:creationId xmlns:p14="http://schemas.microsoft.com/office/powerpoint/2010/main" val="21418385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Text Placeholder 7">
            <a:extLst>
              <a:ext uri="{FF2B5EF4-FFF2-40B4-BE49-F238E27FC236}">
                <a16:creationId xmlns:a16="http://schemas.microsoft.com/office/drawing/2014/main" id="{F4392622-8920-46A5-AF4E-28EEC8E1A251}"/>
              </a:ext>
            </a:extLst>
          </p:cNvPr>
          <p:cNvSpPr>
            <a:spLocks noGrp="1"/>
          </p:cNvSpPr>
          <p:nvPr>
            <p:ph type="body" sz="quarter" idx="10" hasCustomPrompt="1"/>
          </p:nvPr>
        </p:nvSpPr>
        <p:spPr>
          <a:xfrm>
            <a:off x="101798" y="6289675"/>
            <a:ext cx="5041702" cy="452438"/>
          </a:xfrm>
        </p:spPr>
        <p:txBody>
          <a:bodyPr anchor="b">
            <a:noAutofit/>
          </a:bodyPr>
          <a:lstStyle>
            <a:lvl1pPr marL="0" indent="0">
              <a:lnSpc>
                <a:spcPct val="100000"/>
              </a:lnSpc>
              <a:spcBef>
                <a:spcPts val="0"/>
              </a:spcBef>
              <a:buNone/>
              <a:defRPr sz="844"/>
            </a:lvl1pPr>
          </a:lstStyle>
          <a:p>
            <a:pPr lvl="0"/>
            <a:r>
              <a:rPr lang="en-GB" dirty="0"/>
              <a:t>References</a:t>
            </a:r>
          </a:p>
        </p:txBody>
      </p:sp>
      <p:sp>
        <p:nvSpPr>
          <p:cNvPr id="6" name="Text Placeholder 7">
            <a:extLst>
              <a:ext uri="{FF2B5EF4-FFF2-40B4-BE49-F238E27FC236}">
                <a16:creationId xmlns:a16="http://schemas.microsoft.com/office/drawing/2014/main" id="{507982E2-A416-4C7E-90C0-7923F2C07311}"/>
              </a:ext>
            </a:extLst>
          </p:cNvPr>
          <p:cNvSpPr>
            <a:spLocks noGrp="1"/>
          </p:cNvSpPr>
          <p:nvPr>
            <p:ph type="body" sz="quarter" idx="11" hasCustomPrompt="1"/>
          </p:nvPr>
        </p:nvSpPr>
        <p:spPr>
          <a:xfrm>
            <a:off x="5143500" y="6289675"/>
            <a:ext cx="5041702" cy="452438"/>
          </a:xfrm>
        </p:spPr>
        <p:txBody>
          <a:bodyPr anchor="b">
            <a:noAutofit/>
          </a:bodyPr>
          <a:lstStyle>
            <a:lvl1pPr marL="0" indent="0" algn="r">
              <a:lnSpc>
                <a:spcPct val="100000"/>
              </a:lnSpc>
              <a:spcBef>
                <a:spcPts val="0"/>
              </a:spcBef>
              <a:buNone/>
              <a:defRPr sz="844"/>
            </a:lvl1pPr>
          </a:lstStyle>
          <a:p>
            <a:pPr lvl="0"/>
            <a:r>
              <a:rPr lang="en-GB" dirty="0"/>
              <a:t>Footnotes</a:t>
            </a:r>
          </a:p>
        </p:txBody>
      </p:sp>
    </p:spTree>
    <p:extLst>
      <p:ext uri="{BB962C8B-B14F-4D97-AF65-F5344CB8AC3E}">
        <p14:creationId xmlns:p14="http://schemas.microsoft.com/office/powerpoint/2010/main" val="158657381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9152C8-19E3-4210-ACB2-E1A98963BFCC}"/>
              </a:ext>
            </a:extLst>
          </p:cNvPr>
          <p:cNvGraphicFramePr>
            <a:graphicFrameLocks noChangeAspect="1"/>
          </p:cNvGraphicFramePr>
          <p:nvPr userDrawn="1">
            <p:custDataLst>
              <p:tags r:id="rId2"/>
            </p:custDataLst>
          </p:nvPr>
        </p:nvGraphicFramePr>
        <p:xfrm>
          <a:off x="1340" y="1588"/>
          <a:ext cx="1340" cy="1588"/>
        </p:xfrm>
        <a:graphic>
          <a:graphicData uri="http://schemas.openxmlformats.org/presentationml/2006/ole">
            <mc:AlternateContent xmlns:mc="http://schemas.openxmlformats.org/markup-compatibility/2006">
              <mc:Choice xmlns:v="urn:schemas-microsoft-com:vml" Requires="v">
                <p:oleObj spid="_x0000_s1026" name="think-cell Slide" r:id="rId4" imgW="592" imgH="595" progId="TCLayout.ActiveDocument.1">
                  <p:embed/>
                </p:oleObj>
              </mc:Choice>
              <mc:Fallback>
                <p:oleObj name="think-cell Slide" r:id="rId4" imgW="592" imgH="595" progId="TCLayout.ActiveDocument.1">
                  <p:embed/>
                  <p:pic>
                    <p:nvPicPr>
                      <p:cNvPr id="4" name="Object 3" hidden="1">
                        <a:extLst>
                          <a:ext uri="{FF2B5EF4-FFF2-40B4-BE49-F238E27FC236}">
                            <a16:creationId xmlns:a16="http://schemas.microsoft.com/office/drawing/2014/main" id="{539152C8-19E3-4210-ACB2-E1A98963BFCC}"/>
                          </a:ext>
                        </a:extLst>
                      </p:cNvPr>
                      <p:cNvPicPr/>
                      <p:nvPr/>
                    </p:nvPicPr>
                    <p:blipFill>
                      <a:blip r:embed="rId5"/>
                      <a:stretch>
                        <a:fillRect/>
                      </a:stretch>
                    </p:blipFill>
                    <p:spPr>
                      <a:xfrm>
                        <a:off x="1340" y="1588"/>
                        <a:ext cx="1340"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487279" y="365126"/>
            <a:ext cx="9258300" cy="967564"/>
          </a:xfrm>
        </p:spPr>
        <p:txBody>
          <a:bodyPr vert="horz" lIns="91440" tIns="45720" rIns="91440" bIns="45720" rtlCol="0" anchor="b">
            <a:noAutofit/>
          </a:bodyPr>
          <a:lstStyle>
            <a:lvl1pPr>
              <a:defRPr lang="en-US" dirty="0"/>
            </a:lvl1pPr>
          </a:lstStyle>
          <a:p>
            <a:pPr lvl="0"/>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6"/>
          <a:stretch>
            <a:fillRect/>
          </a:stretch>
        </p:blipFill>
        <p:spPr>
          <a:xfrm>
            <a:off x="9927268" y="6408817"/>
            <a:ext cx="174312" cy="275456"/>
          </a:xfrm>
          <a:prstGeom prst="rect">
            <a:avLst/>
          </a:prstGeom>
        </p:spPr>
      </p:pic>
      <p:sp>
        <p:nvSpPr>
          <p:cNvPr id="3" name="Slide Number Placeholder 2">
            <a:extLst>
              <a:ext uri="{FF2B5EF4-FFF2-40B4-BE49-F238E27FC236}">
                <a16:creationId xmlns:a16="http://schemas.microsoft.com/office/drawing/2014/main" id="{4F1E6800-40C1-4643-BD6E-CBCD571D102A}"/>
              </a:ext>
            </a:extLst>
          </p:cNvPr>
          <p:cNvSpPr>
            <a:spLocks noGrp="1"/>
          </p:cNvSpPr>
          <p:nvPr>
            <p:ph type="sldNum" sz="quarter" idx="10"/>
          </p:nvPr>
        </p:nvSpPr>
        <p:spPr/>
        <p:txBody>
          <a:bodyPr/>
          <a:lstStyle/>
          <a:p>
            <a:pPr defTabSz="771571" fontAlgn="auto">
              <a:spcBef>
                <a:spcPts val="0"/>
              </a:spcBef>
              <a:spcAft>
                <a:spcPts val="0"/>
              </a:spcAft>
              <a:defRPr/>
            </a:pPr>
            <a:fld id="{4BEAA09E-D67E-864E-8466-C38E88600C4F}" type="slidenum">
              <a:rPr lang="en-US" sz="675" b="0" smtClean="0">
                <a:solidFill>
                  <a:srgbClr val="C6CAC6"/>
                </a:solidFill>
                <a:latin typeface="Trebuchet MS" panose="020B0703020202090204" pitchFamily="34" charset="0"/>
                <a:cs typeface="+mn-cs"/>
              </a:rPr>
              <a:pPr defTabSz="771571" fontAlgn="auto">
                <a:spcBef>
                  <a:spcPts val="0"/>
                </a:spcBef>
                <a:spcAft>
                  <a:spcPts val="0"/>
                </a:spcAft>
                <a:defRPr/>
              </a:pPr>
              <a:t>‹#›</a:t>
            </a:fld>
            <a:endParaRPr lang="en-US" sz="675" b="0">
              <a:solidFill>
                <a:srgbClr val="C6CAC6"/>
              </a:solidFill>
              <a:latin typeface="Trebuchet MS" panose="020B0703020202090204" pitchFamily="34" charset="0"/>
              <a:cs typeface="+mn-cs"/>
            </a:endParaRPr>
          </a:p>
        </p:txBody>
      </p:sp>
      <p:sp>
        <p:nvSpPr>
          <p:cNvPr id="6" name="Content Placeholder 7">
            <a:extLst>
              <a:ext uri="{FF2B5EF4-FFF2-40B4-BE49-F238E27FC236}">
                <a16:creationId xmlns:a16="http://schemas.microsoft.com/office/drawing/2014/main" id="{63E391FC-330F-4FBB-A4F8-70FB2DBDF77A}"/>
              </a:ext>
            </a:extLst>
          </p:cNvPr>
          <p:cNvSpPr>
            <a:spLocks noGrp="1"/>
          </p:cNvSpPr>
          <p:nvPr>
            <p:ph sz="quarter" idx="13"/>
          </p:nvPr>
        </p:nvSpPr>
        <p:spPr>
          <a:xfrm>
            <a:off x="487279" y="1572323"/>
            <a:ext cx="9258300" cy="4599878"/>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944485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C68D8-F856-4383-8C68-4D08982BA1F3}"/>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7605BE13-7FC3-49FF-8C9C-C8EF572732FB}"/>
              </a:ext>
            </a:extLst>
          </p:cNvPr>
          <p:cNvSpPr>
            <a:spLocks noGrp="1"/>
          </p:cNvSpPr>
          <p:nvPr>
            <p:ph type="sldNum" sz="quarter" idx="10"/>
          </p:nvPr>
        </p:nvSpPr>
        <p:spPr/>
        <p:txBody>
          <a:bodyPr/>
          <a:lstStyle/>
          <a:p>
            <a:fld id="{4BEAA09E-D67E-864E-8466-C38E88600C4F}" type="slidenum">
              <a:rPr lang="en-US" smtClean="0"/>
              <a:pPr/>
              <a:t>‹#›</a:t>
            </a:fld>
            <a:endParaRPr lang="en-US"/>
          </a:p>
        </p:txBody>
      </p:sp>
      <p:sp>
        <p:nvSpPr>
          <p:cNvPr id="10" name="Content Placeholder 7">
            <a:extLst>
              <a:ext uri="{FF2B5EF4-FFF2-40B4-BE49-F238E27FC236}">
                <a16:creationId xmlns:a16="http://schemas.microsoft.com/office/drawing/2014/main" id="{4520D906-DC1D-40C8-A874-85D736F3C88B}"/>
              </a:ext>
            </a:extLst>
          </p:cNvPr>
          <p:cNvSpPr>
            <a:spLocks noGrp="1"/>
          </p:cNvSpPr>
          <p:nvPr>
            <p:ph sz="quarter" idx="13"/>
          </p:nvPr>
        </p:nvSpPr>
        <p:spPr>
          <a:xfrm>
            <a:off x="514351" y="1529165"/>
            <a:ext cx="9218116" cy="4647798"/>
          </a:xfrm>
        </p:spPr>
        <p:txBody>
          <a:bodyPr/>
          <a:lstStyle>
            <a:lvl1pPr>
              <a:lnSpc>
                <a:spcPct val="110000"/>
              </a:lnSpc>
              <a:spcAft>
                <a:spcPts val="675"/>
              </a:spcAft>
              <a:defRPr/>
            </a:lvl1pPr>
            <a:lvl2pPr marL="13395" indent="0">
              <a:lnSpc>
                <a:spcPct val="110000"/>
              </a:lnSpc>
              <a:buNone/>
              <a:tabLst/>
              <a:defRPr sz="1519" b="0">
                <a:solidFill>
                  <a:schemeClr val="accent1"/>
                </a:solidFill>
              </a:defRPr>
            </a:lvl2pPr>
            <a:lvl3pPr marL="242456" indent="-143330">
              <a:lnSpc>
                <a:spcPct val="110000"/>
              </a:lnSpc>
              <a:tabLst/>
              <a:defRPr sz="1350"/>
            </a:lvl3pPr>
            <a:lvl4pPr marL="585376" indent="-143330">
              <a:lnSpc>
                <a:spcPct val="110000"/>
              </a:lnSpc>
              <a:tabLst/>
              <a:defRPr sz="1181"/>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7">
            <a:extLst>
              <a:ext uri="{FF2B5EF4-FFF2-40B4-BE49-F238E27FC236}">
                <a16:creationId xmlns:a16="http://schemas.microsoft.com/office/drawing/2014/main" id="{F27B9B63-9F46-4D69-B234-AC51CC47371E}"/>
              </a:ext>
            </a:extLst>
          </p:cNvPr>
          <p:cNvSpPr>
            <a:spLocks noGrp="1"/>
          </p:cNvSpPr>
          <p:nvPr>
            <p:ph type="body" sz="quarter" idx="11"/>
          </p:nvPr>
        </p:nvSpPr>
        <p:spPr>
          <a:xfrm>
            <a:off x="514351" y="6269038"/>
            <a:ext cx="9218116" cy="290512"/>
          </a:xfrm>
        </p:spPr>
        <p:txBody>
          <a:bodyPr anchor="b"/>
          <a:lstStyle>
            <a:lvl1pPr marL="0" indent="-192893">
              <a:lnSpc>
                <a:spcPct val="100000"/>
              </a:lnSpc>
              <a:spcAft>
                <a:spcPts val="0"/>
              </a:spcAft>
              <a:buFont typeface="+mj-lt"/>
              <a:buAutoNum type="arabicPeriod"/>
              <a:defRPr sz="675">
                <a:latin typeface="+mn-lt"/>
              </a:defRPr>
            </a:lvl1pPr>
          </a:lstStyle>
          <a:p>
            <a:pPr lvl="0"/>
            <a:r>
              <a:rPr lang="en-US"/>
              <a:t>Edit Master text styles</a:t>
            </a:r>
          </a:p>
        </p:txBody>
      </p:sp>
    </p:spTree>
    <p:extLst>
      <p:ext uri="{BB962C8B-B14F-4D97-AF65-F5344CB8AC3E}">
        <p14:creationId xmlns:p14="http://schemas.microsoft.com/office/powerpoint/2010/main" val="8914466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487279" y="365126"/>
            <a:ext cx="92583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9927268" y="6408817"/>
            <a:ext cx="17431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487279" y="1942677"/>
            <a:ext cx="9258300" cy="4229524"/>
          </a:xfrm>
        </p:spPr>
        <p:txBody>
          <a:bodyPr/>
          <a:lstStyle>
            <a:lvl1pPr>
              <a:lnSpc>
                <a:spcPct val="110000"/>
              </a:lnSpc>
              <a:spcAft>
                <a:spcPts val="675"/>
              </a:spcAft>
              <a:defRPr/>
            </a:lvl1pPr>
            <a:lvl2pPr marL="13395" indent="0">
              <a:lnSpc>
                <a:spcPct val="110000"/>
              </a:lnSpc>
              <a:buNone/>
              <a:tabLst/>
              <a:defRPr sz="1519" b="0">
                <a:solidFill>
                  <a:schemeClr val="tx1"/>
                </a:solidFill>
              </a:defRPr>
            </a:lvl2pPr>
            <a:lvl3pPr marL="242456" indent="-143330">
              <a:lnSpc>
                <a:spcPct val="110000"/>
              </a:lnSpc>
              <a:tabLst/>
              <a:defRPr sz="1350"/>
            </a:lvl3pPr>
            <a:lvl4pPr marL="585376" indent="-143330">
              <a:lnSpc>
                <a:spcPct val="110000"/>
              </a:lnSpc>
              <a:tabLst/>
              <a:defRPr sz="1181"/>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178044" y="6400799"/>
            <a:ext cx="2314575" cy="291492"/>
          </a:xfrm>
          <a:prstGeom prst="rect">
            <a:avLst/>
          </a:prstGeom>
        </p:spPr>
        <p:txBody>
          <a:bodyPr vert="horz" lIns="91440" tIns="45720" rIns="91440" bIns="45720" rtlCol="0" anchor="ctr"/>
          <a:lstStyle>
            <a:lvl1pPr algn="l">
              <a:defRPr sz="675">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3965909" y="6400799"/>
            <a:ext cx="2314575" cy="291492"/>
          </a:xfrm>
          <a:prstGeom prst="rect">
            <a:avLst/>
          </a:prstGeom>
        </p:spPr>
        <p:txBody>
          <a:bodyPr vert="horz" lIns="77153" tIns="38576" rIns="77153" bIns="38576"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 b="0" i="0">
                <a:latin typeface="Trebuchet MS" panose="020B0703020202090204" pitchFamily="34" charset="0"/>
              </a:rPr>
              <a:t>Confidential – Internal Use Only</a:t>
            </a:r>
          </a:p>
        </p:txBody>
      </p:sp>
      <p:sp>
        <p:nvSpPr>
          <p:cNvPr id="12" name="Text Placeholder 10">
            <a:extLst>
              <a:ext uri="{FF2B5EF4-FFF2-40B4-BE49-F238E27FC236}">
                <a16:creationId xmlns:a16="http://schemas.microsoft.com/office/drawing/2014/main" id="{9BC2EE26-C0F0-4726-BBC4-4FFC3A5D68EF}"/>
              </a:ext>
            </a:extLst>
          </p:cNvPr>
          <p:cNvSpPr txBox="1">
            <a:spLocks/>
          </p:cNvSpPr>
          <p:nvPr userDrawn="1"/>
        </p:nvSpPr>
        <p:spPr>
          <a:xfrm>
            <a:off x="39933" y="6453015"/>
            <a:ext cx="5103567" cy="360363"/>
          </a:xfrm>
          <a:prstGeom prst="rect">
            <a:avLst/>
          </a:prstGeom>
        </p:spPr>
        <p:txBody>
          <a:bodyPr vert="horz" lIns="77153" tIns="38576" rIns="77153" bIns="38576" rtlCol="0" anchor="b">
            <a:noAutofit/>
          </a:bodyPr>
          <a:lstStyle>
            <a:lvl1pPr marL="0" indent="0" algn="l" defTabSz="914400" rtl="0" eaLnBrk="1" latinLnBrk="0" hangingPunct="1">
              <a:spcBef>
                <a:spcPts val="0"/>
              </a:spcBef>
              <a:buClr>
                <a:schemeClr val="tx1"/>
              </a:buClr>
              <a:buFont typeface="Arial" panose="020B0604020202020204" pitchFamily="34" charset="0"/>
              <a:buNone/>
              <a:defRPr sz="1100" kern="1200">
                <a:solidFill>
                  <a:schemeClr val="accent1"/>
                </a:solidFill>
                <a:latin typeface="+mn-lt"/>
                <a:ea typeface="+mn-ea"/>
                <a:cs typeface="+mn-cs"/>
              </a:defRPr>
            </a:lvl1pPr>
            <a:lvl2pPr marL="742950" indent="-285750" algn="l" defTabSz="914400" rtl="0" eaLnBrk="1" latinLnBrk="0" hangingPunct="1">
              <a:spcBef>
                <a:spcPct val="20000"/>
              </a:spcBef>
              <a:buClr>
                <a:schemeClr val="accent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Calibri" panose="020F0502020204030204"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771571" rtl="0" eaLnBrk="1" fontAlgn="auto" latinLnBrk="0" hangingPunct="1">
              <a:lnSpc>
                <a:spcPct val="100000"/>
              </a:lnSpc>
              <a:spcBef>
                <a:spcPts val="0"/>
              </a:spcBef>
              <a:spcAft>
                <a:spcPts val="0"/>
              </a:spcAft>
              <a:buClr>
                <a:srgbClr val="035185"/>
              </a:buClr>
              <a:buSzTx/>
              <a:buFont typeface="Arial" panose="020B0604020202020204" pitchFamily="34" charset="0"/>
              <a:buNone/>
              <a:tabLst/>
              <a:defRPr/>
            </a:pPr>
            <a:endParaRPr kumimoji="0" lang="en-GB" sz="928" b="0" i="0" u="none" strike="noStrike" kern="1200" cap="none" spc="0" normalizeH="0" baseline="0" noProof="0">
              <a:ln>
                <a:noFill/>
              </a:ln>
              <a:solidFill>
                <a:srgbClr val="035185"/>
              </a:solidFill>
              <a:effectLst/>
              <a:uLnTx/>
              <a:uFillTx/>
              <a:latin typeface="Tahoma"/>
              <a:ea typeface="+mn-ea"/>
              <a:cs typeface="+mn-cs"/>
            </a:endParaRPr>
          </a:p>
        </p:txBody>
      </p:sp>
    </p:spTree>
    <p:extLst>
      <p:ext uri="{BB962C8B-B14F-4D97-AF65-F5344CB8AC3E}">
        <p14:creationId xmlns:p14="http://schemas.microsoft.com/office/powerpoint/2010/main" val="24885202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E713B8-EC38-4215-B762-4C91E0EE8C6D}"/>
              </a:ext>
            </a:extLst>
          </p:cNvPr>
          <p:cNvSpPr>
            <a:spLocks noGrp="1"/>
          </p:cNvSpPr>
          <p:nvPr>
            <p:ph type="ctrTitle"/>
          </p:nvPr>
        </p:nvSpPr>
        <p:spPr>
          <a:xfrm>
            <a:off x="1285875" y="1122363"/>
            <a:ext cx="7715250" cy="2387600"/>
          </a:xfrm>
        </p:spPr>
        <p:txBody>
          <a:bodyPr anchor="b"/>
          <a:lstStyle>
            <a:lvl1pPr algn="ctr">
              <a:defRPr sz="4500"/>
            </a:lvl1pPr>
          </a:lstStyle>
          <a:p>
            <a:r>
              <a:rPr lang="fr-FR"/>
              <a:t>Modifiez le style du titre</a:t>
            </a:r>
          </a:p>
        </p:txBody>
      </p:sp>
      <p:sp>
        <p:nvSpPr>
          <p:cNvPr id="3" name="Sous-titre 2">
            <a:extLst>
              <a:ext uri="{FF2B5EF4-FFF2-40B4-BE49-F238E27FC236}">
                <a16:creationId xmlns:a16="http://schemas.microsoft.com/office/drawing/2014/main" id="{7F008B2C-1104-47C4-B49A-643D09484AD7}"/>
              </a:ext>
            </a:extLst>
          </p:cNvPr>
          <p:cNvSpPr>
            <a:spLocks noGrp="1"/>
          </p:cNvSpPr>
          <p:nvPr>
            <p:ph type="subTitle" idx="1"/>
          </p:nvPr>
        </p:nvSpPr>
        <p:spPr>
          <a:xfrm>
            <a:off x="1285875" y="3602038"/>
            <a:ext cx="771525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90710CB-A4E8-4441-B72B-30C08E9E753A}"/>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5" name="Espace réservé du pied de page 4">
            <a:extLst>
              <a:ext uri="{FF2B5EF4-FFF2-40B4-BE49-F238E27FC236}">
                <a16:creationId xmlns:a16="http://schemas.microsoft.com/office/drawing/2014/main" id="{43A1FBD6-14DD-4030-BD6E-F3E34E481DD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BBC3B8-650C-4379-A4FF-78D8075799C8}"/>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243290705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59D0DE-350C-4EC0-81B3-1F4D44FF87E7}"/>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55D9D82-4267-48F0-B8D3-2DB5FC036267}"/>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66FE09D-D907-4DAF-8CF5-D135A76E0A93}"/>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5" name="Espace réservé du pied de page 4">
            <a:extLst>
              <a:ext uri="{FF2B5EF4-FFF2-40B4-BE49-F238E27FC236}">
                <a16:creationId xmlns:a16="http://schemas.microsoft.com/office/drawing/2014/main" id="{4EA4B737-FEFF-439F-91D5-71667E9B6E9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DCAF996-3EFE-428C-8ACF-AF4F8E4B98F5}"/>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72188073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A25FA26-61C4-47D5-AD88-2CB34E595F8F}"/>
              </a:ext>
            </a:extLst>
          </p:cNvPr>
          <p:cNvSpPr>
            <a:spLocks noGrp="1"/>
          </p:cNvSpPr>
          <p:nvPr>
            <p:ph type="title"/>
          </p:nvPr>
        </p:nvSpPr>
        <p:spPr>
          <a:xfrm>
            <a:off x="701874" y="1709740"/>
            <a:ext cx="8872538" cy="2852737"/>
          </a:xfrm>
        </p:spPr>
        <p:txBody>
          <a:bodyPr anchor="b"/>
          <a:lstStyle>
            <a:lvl1pPr>
              <a:defRPr sz="4500"/>
            </a:lvl1pPr>
          </a:lstStyle>
          <a:p>
            <a:r>
              <a:rPr lang="fr-FR"/>
              <a:t>Modifiez le style du titre</a:t>
            </a:r>
          </a:p>
        </p:txBody>
      </p:sp>
      <p:sp>
        <p:nvSpPr>
          <p:cNvPr id="3" name="Espace réservé du texte 2">
            <a:extLst>
              <a:ext uri="{FF2B5EF4-FFF2-40B4-BE49-F238E27FC236}">
                <a16:creationId xmlns:a16="http://schemas.microsoft.com/office/drawing/2014/main" id="{C8AFF760-FC19-4CA4-8352-8656960C236E}"/>
              </a:ext>
            </a:extLst>
          </p:cNvPr>
          <p:cNvSpPr>
            <a:spLocks noGrp="1"/>
          </p:cNvSpPr>
          <p:nvPr>
            <p:ph type="body" idx="1"/>
          </p:nvPr>
        </p:nvSpPr>
        <p:spPr>
          <a:xfrm>
            <a:off x="701874" y="4589465"/>
            <a:ext cx="8872538"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1DBB251A-1F68-4369-91EF-390B2E799F36}"/>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5" name="Espace réservé du pied de page 4">
            <a:extLst>
              <a:ext uri="{FF2B5EF4-FFF2-40B4-BE49-F238E27FC236}">
                <a16:creationId xmlns:a16="http://schemas.microsoft.com/office/drawing/2014/main" id="{55BCF498-4641-4A27-8404-DB31B1B6C33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E29B251-7185-4855-9945-7484DC6D1B8D}"/>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28347965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7"/>
          <p:cNvSpPr>
            <a:spLocks noGrp="1"/>
          </p:cNvSpPr>
          <p:nvPr>
            <p:ph type="body" sz="quarter" idx="10"/>
          </p:nvPr>
        </p:nvSpPr>
        <p:spPr>
          <a:xfrm>
            <a:off x="69398" y="6512555"/>
            <a:ext cx="5317129" cy="288925"/>
          </a:xfrm>
        </p:spPr>
        <p:txBody>
          <a:bodyPr anchor="b">
            <a:normAutofit/>
          </a:bodyPr>
          <a:lstStyle>
            <a:lvl1pPr marL="0" indent="0">
              <a:spcBef>
                <a:spcPts val="0"/>
              </a:spcBef>
              <a:buNone/>
              <a:defRPr sz="1000">
                <a:latin typeface="Arial" panose="020B0604020202020204" pitchFamily="34" charset="0"/>
                <a:cs typeface="Arial" panose="020B0604020202020204" pitchFamily="34" charset="0"/>
              </a:defRPr>
            </a:lvl1pPr>
          </a:lstStyle>
          <a:p>
            <a:pPr lvl="0"/>
            <a:endParaRPr lang="en-GB" dirty="0"/>
          </a:p>
        </p:txBody>
      </p:sp>
      <p:sp>
        <p:nvSpPr>
          <p:cNvPr id="7" name="Text Placeholder 7"/>
          <p:cNvSpPr>
            <a:spLocks noGrp="1"/>
          </p:cNvSpPr>
          <p:nvPr>
            <p:ph type="body" sz="quarter" idx="11"/>
          </p:nvPr>
        </p:nvSpPr>
        <p:spPr>
          <a:xfrm>
            <a:off x="5629553" y="6512555"/>
            <a:ext cx="4583330" cy="288925"/>
          </a:xfrm>
        </p:spPr>
        <p:txBody>
          <a:bodyPr anchor="b">
            <a:normAutofit/>
          </a:bodyPr>
          <a:lstStyle>
            <a:lvl1pPr marL="0" indent="0" algn="r">
              <a:spcBef>
                <a:spcPts val="0"/>
              </a:spcBef>
              <a:buNone/>
              <a:defRPr sz="1000">
                <a:latin typeface="Arial" panose="020B0604020202020204" pitchFamily="34" charset="0"/>
                <a:cs typeface="Arial" panose="020B0604020202020204" pitchFamily="34" charset="0"/>
              </a:defRPr>
            </a:lvl1pPr>
          </a:lstStyle>
          <a:p>
            <a:pPr lvl="0"/>
            <a:endParaRPr lang="en-GB" dirty="0"/>
          </a:p>
        </p:txBody>
      </p:sp>
    </p:spTree>
    <p:extLst>
      <p:ext uri="{BB962C8B-B14F-4D97-AF65-F5344CB8AC3E}">
        <p14:creationId xmlns:p14="http://schemas.microsoft.com/office/powerpoint/2010/main" val="3592654606"/>
      </p:ext>
    </p:extLst>
  </p:cSld>
  <p:clrMapOvr>
    <a:masterClrMapping/>
  </p:clrMapOvr>
  <p:transition>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356B11-8E5B-4B3B-AB3F-6D3A54E161DE}"/>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DB6BB2D-94AC-4623-896A-A072C184F4EC}"/>
              </a:ext>
            </a:extLst>
          </p:cNvPr>
          <p:cNvSpPr>
            <a:spLocks noGrp="1"/>
          </p:cNvSpPr>
          <p:nvPr>
            <p:ph sz="half" idx="1"/>
          </p:nvPr>
        </p:nvSpPr>
        <p:spPr>
          <a:xfrm>
            <a:off x="707231" y="1825625"/>
            <a:ext cx="4371975"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AABE1D28-C6D7-4037-B0E3-EF206990E3B7}"/>
              </a:ext>
            </a:extLst>
          </p:cNvPr>
          <p:cNvSpPr>
            <a:spLocks noGrp="1"/>
          </p:cNvSpPr>
          <p:nvPr>
            <p:ph sz="half" idx="2"/>
          </p:nvPr>
        </p:nvSpPr>
        <p:spPr>
          <a:xfrm>
            <a:off x="5207794" y="1825625"/>
            <a:ext cx="4371975"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5987E6A4-60D2-469C-AFE5-752201695F19}"/>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6" name="Espace réservé du pied de page 5">
            <a:extLst>
              <a:ext uri="{FF2B5EF4-FFF2-40B4-BE49-F238E27FC236}">
                <a16:creationId xmlns:a16="http://schemas.microsoft.com/office/drawing/2014/main" id="{89DF836B-A67A-4F89-B33C-E7DAED48B72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BCAE7067-288E-4689-899C-E5AF0B888973}"/>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17360914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36697F2-BAAF-41B6-8A21-A5FE4C9FEF04}"/>
              </a:ext>
            </a:extLst>
          </p:cNvPr>
          <p:cNvSpPr>
            <a:spLocks noGrp="1"/>
          </p:cNvSpPr>
          <p:nvPr>
            <p:ph type="title"/>
          </p:nvPr>
        </p:nvSpPr>
        <p:spPr>
          <a:xfrm>
            <a:off x="708571" y="365127"/>
            <a:ext cx="8872538"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8AF309F0-D237-407F-AA0E-9B6636E5CC63}"/>
              </a:ext>
            </a:extLst>
          </p:cNvPr>
          <p:cNvSpPr>
            <a:spLocks noGrp="1"/>
          </p:cNvSpPr>
          <p:nvPr>
            <p:ph type="body" idx="1"/>
          </p:nvPr>
        </p:nvSpPr>
        <p:spPr>
          <a:xfrm>
            <a:off x="708572" y="1681163"/>
            <a:ext cx="4351883"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C6048003-B38F-4BEF-93B4-8D7BFADEBD60}"/>
              </a:ext>
            </a:extLst>
          </p:cNvPr>
          <p:cNvSpPr>
            <a:spLocks noGrp="1"/>
          </p:cNvSpPr>
          <p:nvPr>
            <p:ph sz="half" idx="2"/>
          </p:nvPr>
        </p:nvSpPr>
        <p:spPr>
          <a:xfrm>
            <a:off x="708572" y="2505075"/>
            <a:ext cx="4351883"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F75F319D-8A97-4BC9-8163-3D4F6C2D0787}"/>
              </a:ext>
            </a:extLst>
          </p:cNvPr>
          <p:cNvSpPr>
            <a:spLocks noGrp="1"/>
          </p:cNvSpPr>
          <p:nvPr>
            <p:ph type="body" sz="quarter" idx="3"/>
          </p:nvPr>
        </p:nvSpPr>
        <p:spPr>
          <a:xfrm>
            <a:off x="5207794" y="1681163"/>
            <a:ext cx="4373315"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AC2A83FA-8384-48D4-8C5D-BCCCB35125E6}"/>
              </a:ext>
            </a:extLst>
          </p:cNvPr>
          <p:cNvSpPr>
            <a:spLocks noGrp="1"/>
          </p:cNvSpPr>
          <p:nvPr>
            <p:ph sz="quarter" idx="4"/>
          </p:nvPr>
        </p:nvSpPr>
        <p:spPr>
          <a:xfrm>
            <a:off x="5207794" y="2505075"/>
            <a:ext cx="4373315"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B945FF7E-5F53-42A7-AE96-2490060DBAE9}"/>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8" name="Espace réservé du pied de page 7">
            <a:extLst>
              <a:ext uri="{FF2B5EF4-FFF2-40B4-BE49-F238E27FC236}">
                <a16:creationId xmlns:a16="http://schemas.microsoft.com/office/drawing/2014/main" id="{6FB6BBD3-AF0E-45C8-B796-31E4ED7BA853}"/>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6950880C-B61C-496E-860C-A1882B089243}"/>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206951097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94A3A6-BAD2-49A4-9C3A-68327F828596}"/>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3C69C990-6FC0-4D16-B0FB-34B6FDC51E69}"/>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4" name="Espace réservé du pied de page 3">
            <a:extLst>
              <a:ext uri="{FF2B5EF4-FFF2-40B4-BE49-F238E27FC236}">
                <a16:creationId xmlns:a16="http://schemas.microsoft.com/office/drawing/2014/main" id="{EB1B4DBA-491F-4867-AD2D-403AB8D0837F}"/>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EAA68563-9BE1-4636-85BD-B0ECBF3E219E}"/>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16273112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2C3C8238-A54C-409C-BF92-4DFB29B9FD21}"/>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3" name="Espace réservé du pied de page 2">
            <a:extLst>
              <a:ext uri="{FF2B5EF4-FFF2-40B4-BE49-F238E27FC236}">
                <a16:creationId xmlns:a16="http://schemas.microsoft.com/office/drawing/2014/main" id="{6BB04365-1D7E-47CF-A3A7-A3F5416CFB1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A4227076-609C-4D44-82FC-5EA6DEFB2254}"/>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11590624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70957C-CFAE-4525-AB69-F911F3477505}"/>
              </a:ext>
            </a:extLst>
          </p:cNvPr>
          <p:cNvSpPr>
            <a:spLocks noGrp="1"/>
          </p:cNvSpPr>
          <p:nvPr>
            <p:ph type="title"/>
          </p:nvPr>
        </p:nvSpPr>
        <p:spPr>
          <a:xfrm>
            <a:off x="708571" y="457200"/>
            <a:ext cx="3317825" cy="1600200"/>
          </a:xfrm>
        </p:spPr>
        <p:txBody>
          <a:bodyPr anchor="b"/>
          <a:lstStyle>
            <a:lvl1pPr>
              <a:defRPr sz="2400"/>
            </a:lvl1pPr>
          </a:lstStyle>
          <a:p>
            <a:r>
              <a:rPr lang="fr-FR"/>
              <a:t>Modifiez le style du titre</a:t>
            </a:r>
          </a:p>
        </p:txBody>
      </p:sp>
      <p:sp>
        <p:nvSpPr>
          <p:cNvPr id="3" name="Espace réservé du contenu 2">
            <a:extLst>
              <a:ext uri="{FF2B5EF4-FFF2-40B4-BE49-F238E27FC236}">
                <a16:creationId xmlns:a16="http://schemas.microsoft.com/office/drawing/2014/main" id="{E5A6877D-652F-482A-A24B-958A78E582F8}"/>
              </a:ext>
            </a:extLst>
          </p:cNvPr>
          <p:cNvSpPr>
            <a:spLocks noGrp="1"/>
          </p:cNvSpPr>
          <p:nvPr>
            <p:ph idx="1"/>
          </p:nvPr>
        </p:nvSpPr>
        <p:spPr>
          <a:xfrm>
            <a:off x="4373315" y="987427"/>
            <a:ext cx="5207794"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6797F1C7-104A-4219-83A1-5B7C0D3C72AA}"/>
              </a:ext>
            </a:extLst>
          </p:cNvPr>
          <p:cNvSpPr>
            <a:spLocks noGrp="1"/>
          </p:cNvSpPr>
          <p:nvPr>
            <p:ph type="body" sz="half" idx="2"/>
          </p:nvPr>
        </p:nvSpPr>
        <p:spPr>
          <a:xfrm>
            <a:off x="708571" y="2057400"/>
            <a:ext cx="3317825"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50675EF-2A69-4481-90EF-E77B99059DEF}"/>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6" name="Espace réservé du pied de page 5">
            <a:extLst>
              <a:ext uri="{FF2B5EF4-FFF2-40B4-BE49-F238E27FC236}">
                <a16:creationId xmlns:a16="http://schemas.microsoft.com/office/drawing/2014/main" id="{6B577AA5-106E-4421-8EFA-21E4FA5D0FD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52FA4FD-319D-43D1-BE17-32265F5C0362}"/>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2790005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23F06D-FFDE-480B-A559-39E11E73635F}"/>
              </a:ext>
            </a:extLst>
          </p:cNvPr>
          <p:cNvSpPr>
            <a:spLocks noGrp="1"/>
          </p:cNvSpPr>
          <p:nvPr>
            <p:ph type="title"/>
          </p:nvPr>
        </p:nvSpPr>
        <p:spPr>
          <a:xfrm>
            <a:off x="708571" y="457200"/>
            <a:ext cx="3317825" cy="1600200"/>
          </a:xfrm>
        </p:spPr>
        <p:txBody>
          <a:bodyPr anchor="b"/>
          <a:lstStyle>
            <a:lvl1pPr>
              <a:defRPr sz="2400"/>
            </a:lvl1pPr>
          </a:lstStyle>
          <a:p>
            <a:r>
              <a:rPr lang="fr-FR"/>
              <a:t>Modifiez le style du titre</a:t>
            </a:r>
          </a:p>
        </p:txBody>
      </p:sp>
      <p:sp>
        <p:nvSpPr>
          <p:cNvPr id="3" name="Espace réservé pour une image  2">
            <a:extLst>
              <a:ext uri="{FF2B5EF4-FFF2-40B4-BE49-F238E27FC236}">
                <a16:creationId xmlns:a16="http://schemas.microsoft.com/office/drawing/2014/main" id="{34CD086B-2331-4C46-8C3F-40921E16087D}"/>
              </a:ext>
            </a:extLst>
          </p:cNvPr>
          <p:cNvSpPr>
            <a:spLocks noGrp="1"/>
          </p:cNvSpPr>
          <p:nvPr>
            <p:ph type="pic" idx="1"/>
          </p:nvPr>
        </p:nvSpPr>
        <p:spPr>
          <a:xfrm>
            <a:off x="4373315" y="987427"/>
            <a:ext cx="5207794"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a:extLst>
              <a:ext uri="{FF2B5EF4-FFF2-40B4-BE49-F238E27FC236}">
                <a16:creationId xmlns:a16="http://schemas.microsoft.com/office/drawing/2014/main" id="{59A90021-0E93-46CA-8C2C-8C030BE78BC6}"/>
              </a:ext>
            </a:extLst>
          </p:cNvPr>
          <p:cNvSpPr>
            <a:spLocks noGrp="1"/>
          </p:cNvSpPr>
          <p:nvPr>
            <p:ph type="body" sz="half" idx="2"/>
          </p:nvPr>
        </p:nvSpPr>
        <p:spPr>
          <a:xfrm>
            <a:off x="708571" y="2057400"/>
            <a:ext cx="3317825"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57527E99-18DA-4B33-89D4-615203503AB7}"/>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6" name="Espace réservé du pied de page 5">
            <a:extLst>
              <a:ext uri="{FF2B5EF4-FFF2-40B4-BE49-F238E27FC236}">
                <a16:creationId xmlns:a16="http://schemas.microsoft.com/office/drawing/2014/main" id="{1D5191CF-D593-45CC-9DC5-0A6FC3FCE34C}"/>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9380D16-6224-4677-8A60-6C2AAA5C536D}"/>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334767986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40BB16-CB4A-4667-BA7C-AB6E3D53DD82}"/>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2882CEE2-F315-4588-BCAD-CA480EF55EE0}"/>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A985B8B-62B4-4374-933E-58485F1326AA}"/>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5" name="Espace réservé du pied de page 4">
            <a:extLst>
              <a:ext uri="{FF2B5EF4-FFF2-40B4-BE49-F238E27FC236}">
                <a16:creationId xmlns:a16="http://schemas.microsoft.com/office/drawing/2014/main" id="{2405BA5B-E811-4369-9E05-1C9B681592A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D5B2C49-1B39-497F-9920-1F445EC21148}"/>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259293652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D66FFFA3-BDC4-481A-AD06-1D3390609DDB}"/>
              </a:ext>
            </a:extLst>
          </p:cNvPr>
          <p:cNvSpPr>
            <a:spLocks noGrp="1"/>
          </p:cNvSpPr>
          <p:nvPr>
            <p:ph type="title" orient="vert"/>
          </p:nvPr>
        </p:nvSpPr>
        <p:spPr>
          <a:xfrm>
            <a:off x="7361635" y="365125"/>
            <a:ext cx="2218134"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304590D5-6D54-4DBA-9E28-2C82F23C0A09}"/>
              </a:ext>
            </a:extLst>
          </p:cNvPr>
          <p:cNvSpPr>
            <a:spLocks noGrp="1"/>
          </p:cNvSpPr>
          <p:nvPr>
            <p:ph type="body" orient="vert" idx="1"/>
          </p:nvPr>
        </p:nvSpPr>
        <p:spPr>
          <a:xfrm>
            <a:off x="707232" y="365125"/>
            <a:ext cx="6525816"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F60F869-4516-4D3B-A27F-ACD5331601CB}"/>
              </a:ext>
            </a:extLst>
          </p:cNvPr>
          <p:cNvSpPr>
            <a:spLocks noGrp="1"/>
          </p:cNvSpPr>
          <p:nvPr>
            <p:ph type="dt" sz="half" idx="10"/>
          </p:nvPr>
        </p:nvSpPr>
        <p:spPr/>
        <p:txBody>
          <a:bodyPr/>
          <a:lstStyle/>
          <a:p>
            <a:fld id="{CA94119E-0A3C-4744-A4E8-A2BFD9B4323B}" type="datetimeFigureOut">
              <a:rPr lang="fr-FR" smtClean="0"/>
              <a:t>28/09/2023</a:t>
            </a:fld>
            <a:endParaRPr lang="fr-FR"/>
          </a:p>
        </p:txBody>
      </p:sp>
      <p:sp>
        <p:nvSpPr>
          <p:cNvPr id="5" name="Espace réservé du pied de page 4">
            <a:extLst>
              <a:ext uri="{FF2B5EF4-FFF2-40B4-BE49-F238E27FC236}">
                <a16:creationId xmlns:a16="http://schemas.microsoft.com/office/drawing/2014/main" id="{7B7F1530-DDC9-4AEE-A9D5-516E51BDBBCD}"/>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F53BCF6-3C98-412A-B3D7-B0AA808DE907}"/>
              </a:ext>
            </a:extLst>
          </p:cNvPr>
          <p:cNvSpPr>
            <a:spLocks noGrp="1"/>
          </p:cNvSpPr>
          <p:nvPr>
            <p:ph type="sldNum" sz="quarter" idx="12"/>
          </p:nvPr>
        </p:nvSpPr>
        <p:spPr/>
        <p:txBody>
          <a:bodyPr/>
          <a:lstStyle/>
          <a:p>
            <a:fld id="{103DCF3C-B283-4971-A44F-3D1B5D10281D}" type="slidenum">
              <a:rPr lang="fr-FR" smtClean="0"/>
              <a:t>‹#›</a:t>
            </a:fld>
            <a:endParaRPr lang="fr-FR"/>
          </a:p>
        </p:txBody>
      </p:sp>
    </p:spTree>
    <p:extLst>
      <p:ext uri="{BB962C8B-B14F-4D97-AF65-F5344CB8AC3E}">
        <p14:creationId xmlns:p14="http://schemas.microsoft.com/office/powerpoint/2010/main" val="263510523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re de section">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AD466291-602A-941D-15FF-3BCEDCC43540}"/>
              </a:ext>
            </a:extLst>
          </p:cNvPr>
          <p:cNvSpPr>
            <a:spLocks noGrp="1"/>
          </p:cNvSpPr>
          <p:nvPr>
            <p:ph type="body" idx="1"/>
          </p:nvPr>
        </p:nvSpPr>
        <p:spPr>
          <a:xfrm>
            <a:off x="1251585" y="1180723"/>
            <a:ext cx="8362474" cy="792481"/>
          </a:xfrm>
        </p:spPr>
        <p:txBody>
          <a:bodyPr/>
          <a:lstStyle>
            <a:lvl1pPr marL="0" indent="0">
              <a:buNone/>
              <a:defRPr sz="1800" b="1" i="0">
                <a:solidFill>
                  <a:srgbClr val="B12E42"/>
                </a:solidFill>
                <a:latin typeface="Proxima Nova" panose="02000506030000020004" pitchFamily="2"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Cliquez pour modifier les styles du texte du masque</a:t>
            </a:r>
          </a:p>
        </p:txBody>
      </p:sp>
      <p:sp>
        <p:nvSpPr>
          <p:cNvPr id="2" name="Titre 1">
            <a:extLst>
              <a:ext uri="{FF2B5EF4-FFF2-40B4-BE49-F238E27FC236}">
                <a16:creationId xmlns:a16="http://schemas.microsoft.com/office/drawing/2014/main" id="{87C5CC28-C624-7CC0-90C3-929F2F5EA35C}"/>
              </a:ext>
            </a:extLst>
          </p:cNvPr>
          <p:cNvSpPr>
            <a:spLocks noGrp="1"/>
          </p:cNvSpPr>
          <p:nvPr>
            <p:ph type="title"/>
          </p:nvPr>
        </p:nvSpPr>
        <p:spPr>
          <a:xfrm>
            <a:off x="1251585" y="172721"/>
            <a:ext cx="8362474" cy="792480"/>
          </a:xfrm>
        </p:spPr>
        <p:txBody>
          <a:bodyPr anchor="t">
            <a:normAutofit/>
          </a:bodyPr>
          <a:lstStyle>
            <a:lvl1pPr>
              <a:defRPr sz="3300" b="0" i="0">
                <a:solidFill>
                  <a:srgbClr val="22304D"/>
                </a:solidFill>
                <a:latin typeface="Proxima Nova Light" panose="02000506030000020004" pitchFamily="2" charset="0"/>
              </a:defRPr>
            </a:lvl1pPr>
          </a:lstStyle>
          <a:p>
            <a:r>
              <a:rPr lang="fr-FR" dirty="0"/>
              <a:t>Modifiez le style du titre</a:t>
            </a:r>
          </a:p>
        </p:txBody>
      </p:sp>
      <p:sp>
        <p:nvSpPr>
          <p:cNvPr id="8" name="Espace réservé du texte 2">
            <a:extLst>
              <a:ext uri="{FF2B5EF4-FFF2-40B4-BE49-F238E27FC236}">
                <a16:creationId xmlns:a16="http://schemas.microsoft.com/office/drawing/2014/main" id="{CE80DF29-7627-6E95-6913-D914E32C6D53}"/>
              </a:ext>
            </a:extLst>
          </p:cNvPr>
          <p:cNvSpPr>
            <a:spLocks noGrp="1"/>
          </p:cNvSpPr>
          <p:nvPr>
            <p:ph type="body" idx="10"/>
          </p:nvPr>
        </p:nvSpPr>
        <p:spPr>
          <a:xfrm>
            <a:off x="1251585" y="1973204"/>
            <a:ext cx="8362474" cy="4008821"/>
          </a:xfrm>
          <a:prstGeom prst="rect">
            <a:avLst/>
          </a:prstGeom>
        </p:spPr>
        <p:txBody>
          <a:bodyPr/>
          <a:lstStyle>
            <a:lvl1pPr marL="0" indent="0">
              <a:buClr>
                <a:srgbClr val="B12E42"/>
              </a:buClr>
              <a:buFont typeface="Arial" panose="020B0604020202020204" pitchFamily="34" charset="0"/>
              <a:buNone/>
              <a:defRPr sz="1200" b="0" i="0">
                <a:solidFill>
                  <a:srgbClr val="22304D"/>
                </a:solidFill>
                <a:latin typeface="Proxima Nova Light" panose="02000506030000020004" pitchFamily="2"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2481373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Text Placeholder 7"/>
          <p:cNvSpPr>
            <a:spLocks noGrp="1"/>
          </p:cNvSpPr>
          <p:nvPr>
            <p:ph type="body" sz="quarter" idx="11"/>
          </p:nvPr>
        </p:nvSpPr>
        <p:spPr>
          <a:xfrm>
            <a:off x="453627" y="6354347"/>
            <a:ext cx="1558119" cy="166199"/>
          </a:xfrm>
        </p:spPr>
        <p:txBody>
          <a:bodyPr wrap="none" lIns="0" tIns="0" rIns="0" bIns="0" anchor="b">
            <a:spAutoFit/>
          </a:bodyPr>
          <a:lstStyle>
            <a:lvl1pPr>
              <a:lnSpc>
                <a:spcPct val="90000"/>
              </a:lnSpc>
              <a:spcBef>
                <a:spcPts val="0"/>
              </a:spcBef>
              <a:spcAft>
                <a:spcPts val="0"/>
              </a:spcAft>
              <a:defRPr sz="1200"/>
            </a:lvl1pPr>
          </a:lstStyle>
          <a:p>
            <a:pPr lvl="0"/>
            <a:r>
              <a:rPr lang="en-US" dirty="0"/>
              <a:t>Click to edit Master text styles</a:t>
            </a:r>
          </a:p>
        </p:txBody>
      </p:sp>
      <p:sp>
        <p:nvSpPr>
          <p:cNvPr id="5" name="Text Placeholder 7"/>
          <p:cNvSpPr>
            <a:spLocks noGrp="1"/>
          </p:cNvSpPr>
          <p:nvPr>
            <p:ph type="body" sz="quarter" idx="12"/>
          </p:nvPr>
        </p:nvSpPr>
        <p:spPr>
          <a:xfrm>
            <a:off x="8064804" y="6354347"/>
            <a:ext cx="2061462" cy="166199"/>
          </a:xfrm>
        </p:spPr>
        <p:txBody>
          <a:bodyPr wrap="none" lIns="0" tIns="0" rIns="0" bIns="0" anchor="b">
            <a:spAutoFit/>
          </a:bodyPr>
          <a:lstStyle>
            <a:lvl1pPr algn="r">
              <a:lnSpc>
                <a:spcPct val="90000"/>
              </a:lnSpc>
              <a:spcBef>
                <a:spcPts val="0"/>
              </a:spcBef>
              <a:spcAft>
                <a:spcPts val="0"/>
              </a:spcAft>
              <a:defRPr sz="1200"/>
            </a:lvl1pPr>
          </a:lstStyle>
          <a:p>
            <a:pPr lvl="0"/>
            <a:r>
              <a:rPr lang="en-US" dirty="0"/>
              <a:t>Click to edit Master text styles</a:t>
            </a:r>
          </a:p>
        </p:txBody>
      </p:sp>
    </p:spTree>
    <p:extLst>
      <p:ext uri="{BB962C8B-B14F-4D97-AF65-F5344CB8AC3E}">
        <p14:creationId xmlns:p14="http://schemas.microsoft.com/office/powerpoint/2010/main" val="549617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 Solid Colour">
    <p:bg bwMode="auto">
      <p:bgPr>
        <a:solidFill>
          <a:srgbClr val="071D49"/>
        </a:solidFill>
        <a:effectLst/>
      </p:bgPr>
    </p:bg>
    <p:spTree>
      <p:nvGrpSpPr>
        <p:cNvPr id="1" name=""/>
        <p:cNvGrpSpPr/>
        <p:nvPr/>
      </p:nvGrpSpPr>
      <p:grpSpPr>
        <a:xfrm>
          <a:off x="0" y="0"/>
          <a:ext cx="0" cy="0"/>
          <a:chOff x="0" y="0"/>
          <a:chExt cx="0" cy="0"/>
        </a:xfrm>
      </p:grpSpPr>
      <p:pic>
        <p:nvPicPr>
          <p:cNvPr id="4" name="Picture 12" descr="AbbVieLogo_Standard_White.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1146" y="493713"/>
            <a:ext cx="154305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9"/>
          <p:cNvSpPr>
            <a:spLocks/>
          </p:cNvSpPr>
          <p:nvPr userDrawn="1"/>
        </p:nvSpPr>
        <p:spPr bwMode="gray">
          <a:xfrm>
            <a:off x="5141717" y="1530352"/>
            <a:ext cx="141089" cy="3797300"/>
          </a:xfrm>
          <a:custGeom>
            <a:avLst/>
            <a:gdLst>
              <a:gd name="T0" fmla="*/ 0 w 94692"/>
              <a:gd name="T1" fmla="*/ 0 h 3865545"/>
              <a:gd name="T2" fmla="*/ 0 w 94692"/>
              <a:gd name="T3" fmla="*/ 0 h 3865545"/>
              <a:gd name="T4" fmla="*/ 2147483646 w 94692"/>
              <a:gd name="T5" fmla="*/ 0 h 3865545"/>
              <a:gd name="T6" fmla="*/ 2147483646 w 94692"/>
              <a:gd name="T7" fmla="*/ 472444 h 3865545"/>
              <a:gd name="T8" fmla="*/ 0 w 94692"/>
              <a:gd name="T9" fmla="*/ 472444 h 3865545"/>
              <a:gd name="T10" fmla="*/ 0 w 94692"/>
              <a:gd name="T11" fmla="*/ 472444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eaLnBrk="0" hangingPunct="0"/>
            <a:endParaRPr lang="en-GB" sz="1800" b="0" dirty="0">
              <a:solidFill>
                <a:srgbClr val="071D49"/>
              </a:solidFill>
              <a:latin typeface="Calibri"/>
              <a:ea typeface="ＭＳ Ｐゴシック" panose="020B0600070205080204" pitchFamily="34" charset="-128"/>
              <a:cs typeface="+mn-cs"/>
            </a:endParaRPr>
          </a:p>
        </p:txBody>
      </p:sp>
      <p:sp>
        <p:nvSpPr>
          <p:cNvPr id="23555" name="Title Placeholder 1"/>
          <p:cNvSpPr>
            <a:spLocks noGrp="1"/>
          </p:cNvSpPr>
          <p:nvPr>
            <p:ph type="ctrTitle"/>
          </p:nvPr>
        </p:nvSpPr>
        <p:spPr bwMode="gray">
          <a:xfrm>
            <a:off x="462558" y="2559066"/>
            <a:ext cx="4627364" cy="1096963"/>
          </a:xfrm>
        </p:spPr>
        <p:txBody>
          <a:bodyPr/>
          <a:lstStyle>
            <a:lvl1pPr>
              <a:lnSpc>
                <a:spcPct val="85000"/>
              </a:lnSpc>
              <a:defRPr sz="3200" smtClean="0">
                <a:solidFill>
                  <a:schemeClr val="bg1"/>
                </a:solidFill>
              </a:defRPr>
            </a:lvl1pPr>
          </a:lstStyle>
          <a:p>
            <a:pPr lvl="0"/>
            <a:r>
              <a:rPr lang="en-US" noProof="0"/>
              <a:t>CLICK TO EDIT MASTER TITLE STYLE</a:t>
            </a:r>
          </a:p>
        </p:txBody>
      </p:sp>
      <p:sp>
        <p:nvSpPr>
          <p:cNvPr id="23556" name="Text Placeholder 2"/>
          <p:cNvSpPr>
            <a:spLocks noGrp="1"/>
          </p:cNvSpPr>
          <p:nvPr>
            <p:ph type="subTitle" idx="1"/>
          </p:nvPr>
        </p:nvSpPr>
        <p:spPr bwMode="gray">
          <a:xfrm>
            <a:off x="462558" y="3702050"/>
            <a:ext cx="4113014" cy="274638"/>
          </a:xfrm>
        </p:spPr>
        <p:txBody>
          <a:bodyPr/>
          <a:lstStyle>
            <a:lvl1pPr>
              <a:lnSpc>
                <a:spcPct val="75000"/>
              </a:lnSpc>
              <a:defRPr sz="1400" smtClean="0">
                <a:solidFill>
                  <a:schemeClr val="bg1"/>
                </a:solidFill>
              </a:defRPr>
            </a:lvl1pPr>
          </a:lstStyle>
          <a:p>
            <a:pPr lvl="0"/>
            <a:r>
              <a:rPr lang="en-US" noProof="0"/>
              <a:t>Click to edit Master subtitle style</a:t>
            </a:r>
          </a:p>
        </p:txBody>
      </p:sp>
      <p:sp>
        <p:nvSpPr>
          <p:cNvPr id="6" name="Date Placeholder 3"/>
          <p:cNvSpPr>
            <a:spLocks noGrp="1"/>
          </p:cNvSpPr>
          <p:nvPr>
            <p:ph type="dt" sz="half" idx="10"/>
          </p:nvPr>
        </p:nvSpPr>
        <p:spPr bwMode="gray">
          <a:xfrm>
            <a:off x="462558" y="4021140"/>
            <a:ext cx="2400300" cy="30777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algn="l" defTabSz="457200" eaLnBrk="1" hangingPunct="1">
              <a:lnSpc>
                <a:spcPct val="100000"/>
              </a:lnSpc>
              <a:defRPr sz="1400">
                <a:solidFill>
                  <a:srgbClr val="FFFFFF"/>
                </a:solidFill>
                <a:latin typeface="+mn-lt"/>
                <a:ea typeface="+mn-ea"/>
              </a:defRPr>
            </a:lvl1pPr>
          </a:lstStyle>
          <a:p>
            <a:pPr>
              <a:defRPr/>
            </a:pPr>
            <a:endParaRPr lang="en-US" b="0" dirty="0">
              <a:cs typeface="+mn-cs"/>
            </a:endParaRPr>
          </a:p>
        </p:txBody>
      </p:sp>
    </p:spTree>
    <p:extLst>
      <p:ext uri="{BB962C8B-B14F-4D97-AF65-F5344CB8AC3E}">
        <p14:creationId xmlns:p14="http://schemas.microsoft.com/office/powerpoint/2010/main" val="342887497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sp>
        <p:nvSpPr>
          <p:cNvPr id="4" name="Freeform 5"/>
          <p:cNvSpPr>
            <a:spLocks noEditPoints="1"/>
          </p:cNvSpPr>
          <p:nvPr/>
        </p:nvSpPr>
        <p:spPr bwMode="auto">
          <a:xfrm>
            <a:off x="594717" y="485781"/>
            <a:ext cx="1555551" cy="239713"/>
          </a:xfrm>
          <a:custGeom>
            <a:avLst/>
            <a:gdLst>
              <a:gd name="T0" fmla="*/ 2147483646 w 5472"/>
              <a:gd name="T1" fmla="*/ 2147483646 h 952"/>
              <a:gd name="T2" fmla="*/ 2147483646 w 5472"/>
              <a:gd name="T3" fmla="*/ 2147483646 h 952"/>
              <a:gd name="T4" fmla="*/ 2147483646 w 5472"/>
              <a:gd name="T5" fmla="*/ 2147483646 h 952"/>
              <a:gd name="T6" fmla="*/ 2147483646 w 5472"/>
              <a:gd name="T7" fmla="*/ 2147483646 h 952"/>
              <a:gd name="T8" fmla="*/ 2147483646 w 5472"/>
              <a:gd name="T9" fmla="*/ 2147483646 h 952"/>
              <a:gd name="T10" fmla="*/ 2147483646 w 5472"/>
              <a:gd name="T11" fmla="*/ 2147483646 h 952"/>
              <a:gd name="T12" fmla="*/ 2147483646 w 5472"/>
              <a:gd name="T13" fmla="*/ 2147483646 h 952"/>
              <a:gd name="T14" fmla="*/ 2147483646 w 5472"/>
              <a:gd name="T15" fmla="*/ 2147483646 h 952"/>
              <a:gd name="T16" fmla="*/ 2147483646 w 5472"/>
              <a:gd name="T17" fmla="*/ 2147483646 h 952"/>
              <a:gd name="T18" fmla="*/ 2147483646 w 5472"/>
              <a:gd name="T19" fmla="*/ 2147483646 h 952"/>
              <a:gd name="T20" fmla="*/ 2147483646 w 5472"/>
              <a:gd name="T21" fmla="*/ 2147483646 h 952"/>
              <a:gd name="T22" fmla="*/ 2147483646 w 5472"/>
              <a:gd name="T23" fmla="*/ 2147483646 h 952"/>
              <a:gd name="T24" fmla="*/ 2147483646 w 5472"/>
              <a:gd name="T25" fmla="*/ 2147483646 h 952"/>
              <a:gd name="T26" fmla="*/ 2147483646 w 5472"/>
              <a:gd name="T27" fmla="*/ 2147483646 h 952"/>
              <a:gd name="T28" fmla="*/ 2147483646 w 5472"/>
              <a:gd name="T29" fmla="*/ 2147483646 h 952"/>
              <a:gd name="T30" fmla="*/ 2147483646 w 5472"/>
              <a:gd name="T31" fmla="*/ 2147483646 h 952"/>
              <a:gd name="T32" fmla="*/ 2147483646 w 5472"/>
              <a:gd name="T33" fmla="*/ 2147483646 h 952"/>
              <a:gd name="T34" fmla="*/ 2147483646 w 5472"/>
              <a:gd name="T35" fmla="*/ 2147483646 h 952"/>
              <a:gd name="T36" fmla="*/ 2147483646 w 5472"/>
              <a:gd name="T37" fmla="*/ 2147483646 h 952"/>
              <a:gd name="T38" fmla="*/ 2147483646 w 5472"/>
              <a:gd name="T39" fmla="*/ 2147483646 h 952"/>
              <a:gd name="T40" fmla="*/ 2147483646 w 5472"/>
              <a:gd name="T41" fmla="*/ 2147483646 h 952"/>
              <a:gd name="T42" fmla="*/ 2147483646 w 5472"/>
              <a:gd name="T43" fmla="*/ 2147483646 h 952"/>
              <a:gd name="T44" fmla="*/ 2147483646 w 5472"/>
              <a:gd name="T45" fmla="*/ 2147483646 h 952"/>
              <a:gd name="T46" fmla="*/ 2147483646 w 5472"/>
              <a:gd name="T47" fmla="*/ 2147483646 h 952"/>
              <a:gd name="T48" fmla="*/ 2147483646 w 5472"/>
              <a:gd name="T49" fmla="*/ 2147483646 h 952"/>
              <a:gd name="T50" fmla="*/ 2147483646 w 5472"/>
              <a:gd name="T51" fmla="*/ 2147483646 h 952"/>
              <a:gd name="T52" fmla="*/ 2147483646 w 5472"/>
              <a:gd name="T53" fmla="*/ 2147483646 h 952"/>
              <a:gd name="T54" fmla="*/ 2147483646 w 5472"/>
              <a:gd name="T55" fmla="*/ 2147483646 h 952"/>
              <a:gd name="T56" fmla="*/ 2147483646 w 5472"/>
              <a:gd name="T57" fmla="*/ 2147483646 h 952"/>
              <a:gd name="T58" fmla="*/ 2147483646 w 5472"/>
              <a:gd name="T59" fmla="*/ 2147483646 h 952"/>
              <a:gd name="T60" fmla="*/ 2147483646 w 5472"/>
              <a:gd name="T61" fmla="*/ 2147483646 h 952"/>
              <a:gd name="T62" fmla="*/ 2147483646 w 5472"/>
              <a:gd name="T63" fmla="*/ 2147483646 h 952"/>
              <a:gd name="T64" fmla="*/ 2147483646 w 5472"/>
              <a:gd name="T65" fmla="*/ 2147483646 h 952"/>
              <a:gd name="T66" fmla="*/ 2147483646 w 5472"/>
              <a:gd name="T67" fmla="*/ 2147483646 h 952"/>
              <a:gd name="T68" fmla="*/ 2147483646 w 5472"/>
              <a:gd name="T69" fmla="*/ 2147483646 h 952"/>
              <a:gd name="T70" fmla="*/ 2147483646 w 5472"/>
              <a:gd name="T71" fmla="*/ 2147483646 h 952"/>
              <a:gd name="T72" fmla="*/ 2147483646 w 5472"/>
              <a:gd name="T73" fmla="*/ 2147483646 h 952"/>
              <a:gd name="T74" fmla="*/ 2147483646 w 5472"/>
              <a:gd name="T75" fmla="*/ 2147483646 h 952"/>
              <a:gd name="T76" fmla="*/ 2147483646 w 5472"/>
              <a:gd name="T77" fmla="*/ 2147483646 h 952"/>
              <a:gd name="T78" fmla="*/ 2147483646 w 5472"/>
              <a:gd name="T79" fmla="*/ 2147483646 h 952"/>
              <a:gd name="T80" fmla="*/ 2147483646 w 5472"/>
              <a:gd name="T81" fmla="*/ 2147483646 h 952"/>
              <a:gd name="T82" fmla="*/ 2147483646 w 5472"/>
              <a:gd name="T83" fmla="*/ 0 h 952"/>
              <a:gd name="T84" fmla="*/ 2147483646 w 5472"/>
              <a:gd name="T85" fmla="*/ 2147483646 h 952"/>
              <a:gd name="T86" fmla="*/ 2147483646 w 5472"/>
              <a:gd name="T87" fmla="*/ 2147483646 h 952"/>
              <a:gd name="T88" fmla="*/ 2147483646 w 5472"/>
              <a:gd name="T89" fmla="*/ 2147483646 h 952"/>
              <a:gd name="T90" fmla="*/ 2147483646 w 5472"/>
              <a:gd name="T91" fmla="*/ 2147483646 h 952"/>
              <a:gd name="T92" fmla="*/ 2147483646 w 5472"/>
              <a:gd name="T93" fmla="*/ 2147483646 h 952"/>
              <a:gd name="T94" fmla="*/ 2147483646 w 5472"/>
              <a:gd name="T95" fmla="*/ 2147483646 h 952"/>
              <a:gd name="T96" fmla="*/ 2147483646 w 5472"/>
              <a:gd name="T97" fmla="*/ 2147483646 h 952"/>
              <a:gd name="T98" fmla="*/ 2147483646 w 5472"/>
              <a:gd name="T99" fmla="*/ 2147483646 h 952"/>
              <a:gd name="T100" fmla="*/ 2147483646 w 5472"/>
              <a:gd name="T101" fmla="*/ 2147483646 h 952"/>
              <a:gd name="T102" fmla="*/ 2147483646 w 5472"/>
              <a:gd name="T103" fmla="*/ 2147483646 h 952"/>
              <a:gd name="T104" fmla="*/ 2147483646 w 5472"/>
              <a:gd name="T105" fmla="*/ 2147483646 h 952"/>
              <a:gd name="T106" fmla="*/ 2147483646 w 5472"/>
              <a:gd name="T107" fmla="*/ 2147483646 h 952"/>
              <a:gd name="T108" fmla="*/ 2147483646 w 5472"/>
              <a:gd name="T109" fmla="*/ 0 h 952"/>
              <a:gd name="T110" fmla="*/ 2147483646 w 5472"/>
              <a:gd name="T111" fmla="*/ 2147483646 h 952"/>
              <a:gd name="T112" fmla="*/ 2147483646 w 5472"/>
              <a:gd name="T113" fmla="*/ 2147483646 h 952"/>
              <a:gd name="T114" fmla="*/ 2147483646 w 5472"/>
              <a:gd name="T115" fmla="*/ 2147483646 h 952"/>
              <a:gd name="T116" fmla="*/ 2147483646 w 5472"/>
              <a:gd name="T117" fmla="*/ 2147483646 h 952"/>
              <a:gd name="T118" fmla="*/ 2147483646 w 5472"/>
              <a:gd name="T119" fmla="*/ 2147483646 h 952"/>
              <a:gd name="T120" fmla="*/ 2147483646 w 5472"/>
              <a:gd name="T121" fmla="*/ 2147483646 h 952"/>
              <a:gd name="T122" fmla="*/ 2147483646 w 5472"/>
              <a:gd name="T123" fmla="*/ 2147483646 h 95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2" h="952">
                <a:moveTo>
                  <a:pt x="5454" y="922"/>
                </a:moveTo>
                <a:lnTo>
                  <a:pt x="5454" y="922"/>
                </a:lnTo>
                <a:lnTo>
                  <a:pt x="5452" y="902"/>
                </a:lnTo>
                <a:lnTo>
                  <a:pt x="5448" y="886"/>
                </a:lnTo>
                <a:lnTo>
                  <a:pt x="5440" y="872"/>
                </a:lnTo>
                <a:lnTo>
                  <a:pt x="5430" y="862"/>
                </a:lnTo>
                <a:lnTo>
                  <a:pt x="5418" y="854"/>
                </a:lnTo>
                <a:lnTo>
                  <a:pt x="5402" y="848"/>
                </a:lnTo>
                <a:lnTo>
                  <a:pt x="5384" y="844"/>
                </a:lnTo>
                <a:lnTo>
                  <a:pt x="5364" y="844"/>
                </a:lnTo>
                <a:lnTo>
                  <a:pt x="4946" y="844"/>
                </a:lnTo>
                <a:lnTo>
                  <a:pt x="4910" y="842"/>
                </a:lnTo>
                <a:lnTo>
                  <a:pt x="4878" y="838"/>
                </a:lnTo>
                <a:lnTo>
                  <a:pt x="4848" y="832"/>
                </a:lnTo>
                <a:lnTo>
                  <a:pt x="4820" y="824"/>
                </a:lnTo>
                <a:lnTo>
                  <a:pt x="4796" y="814"/>
                </a:lnTo>
                <a:lnTo>
                  <a:pt x="4774" y="800"/>
                </a:lnTo>
                <a:lnTo>
                  <a:pt x="4754" y="788"/>
                </a:lnTo>
                <a:lnTo>
                  <a:pt x="4738" y="772"/>
                </a:lnTo>
                <a:lnTo>
                  <a:pt x="4722" y="756"/>
                </a:lnTo>
                <a:lnTo>
                  <a:pt x="4710" y="740"/>
                </a:lnTo>
                <a:lnTo>
                  <a:pt x="4698" y="724"/>
                </a:lnTo>
                <a:lnTo>
                  <a:pt x="4690" y="706"/>
                </a:lnTo>
                <a:lnTo>
                  <a:pt x="4682" y="688"/>
                </a:lnTo>
                <a:lnTo>
                  <a:pt x="4676" y="672"/>
                </a:lnTo>
                <a:lnTo>
                  <a:pt x="4674" y="654"/>
                </a:lnTo>
                <a:lnTo>
                  <a:pt x="4670" y="638"/>
                </a:lnTo>
                <a:lnTo>
                  <a:pt x="5252" y="638"/>
                </a:lnTo>
                <a:lnTo>
                  <a:pt x="5282" y="636"/>
                </a:lnTo>
                <a:lnTo>
                  <a:pt x="5310" y="632"/>
                </a:lnTo>
                <a:lnTo>
                  <a:pt x="5336" y="626"/>
                </a:lnTo>
                <a:lnTo>
                  <a:pt x="5358" y="618"/>
                </a:lnTo>
                <a:lnTo>
                  <a:pt x="5378" y="608"/>
                </a:lnTo>
                <a:lnTo>
                  <a:pt x="5396" y="596"/>
                </a:lnTo>
                <a:lnTo>
                  <a:pt x="5412" y="582"/>
                </a:lnTo>
                <a:lnTo>
                  <a:pt x="5426" y="568"/>
                </a:lnTo>
                <a:lnTo>
                  <a:pt x="5438" y="552"/>
                </a:lnTo>
                <a:lnTo>
                  <a:pt x="5448" y="536"/>
                </a:lnTo>
                <a:lnTo>
                  <a:pt x="5456" y="518"/>
                </a:lnTo>
                <a:lnTo>
                  <a:pt x="5462" y="502"/>
                </a:lnTo>
                <a:lnTo>
                  <a:pt x="5466" y="486"/>
                </a:lnTo>
                <a:lnTo>
                  <a:pt x="5470" y="468"/>
                </a:lnTo>
                <a:lnTo>
                  <a:pt x="5472" y="452"/>
                </a:lnTo>
                <a:lnTo>
                  <a:pt x="5472" y="438"/>
                </a:lnTo>
                <a:lnTo>
                  <a:pt x="5472" y="422"/>
                </a:lnTo>
                <a:lnTo>
                  <a:pt x="5470" y="404"/>
                </a:lnTo>
                <a:lnTo>
                  <a:pt x="5466" y="388"/>
                </a:lnTo>
                <a:lnTo>
                  <a:pt x="5460" y="370"/>
                </a:lnTo>
                <a:lnTo>
                  <a:pt x="5454" y="354"/>
                </a:lnTo>
                <a:lnTo>
                  <a:pt x="5446" y="336"/>
                </a:lnTo>
                <a:lnTo>
                  <a:pt x="5436" y="320"/>
                </a:lnTo>
                <a:lnTo>
                  <a:pt x="5424" y="306"/>
                </a:lnTo>
                <a:lnTo>
                  <a:pt x="5410" y="292"/>
                </a:lnTo>
                <a:lnTo>
                  <a:pt x="5394" y="278"/>
                </a:lnTo>
                <a:lnTo>
                  <a:pt x="5376" y="266"/>
                </a:lnTo>
                <a:lnTo>
                  <a:pt x="5356" y="256"/>
                </a:lnTo>
                <a:lnTo>
                  <a:pt x="5334" y="248"/>
                </a:lnTo>
                <a:lnTo>
                  <a:pt x="5310" y="242"/>
                </a:lnTo>
                <a:lnTo>
                  <a:pt x="5282" y="238"/>
                </a:lnTo>
                <a:lnTo>
                  <a:pt x="5252" y="236"/>
                </a:lnTo>
                <a:lnTo>
                  <a:pt x="4938" y="236"/>
                </a:lnTo>
                <a:lnTo>
                  <a:pt x="4886" y="238"/>
                </a:lnTo>
                <a:lnTo>
                  <a:pt x="4840" y="246"/>
                </a:lnTo>
                <a:lnTo>
                  <a:pt x="4796" y="256"/>
                </a:lnTo>
                <a:lnTo>
                  <a:pt x="4758" y="270"/>
                </a:lnTo>
                <a:lnTo>
                  <a:pt x="4724" y="286"/>
                </a:lnTo>
                <a:lnTo>
                  <a:pt x="4692" y="306"/>
                </a:lnTo>
                <a:lnTo>
                  <a:pt x="4664" y="328"/>
                </a:lnTo>
                <a:lnTo>
                  <a:pt x="4640" y="354"/>
                </a:lnTo>
                <a:lnTo>
                  <a:pt x="4620" y="380"/>
                </a:lnTo>
                <a:lnTo>
                  <a:pt x="4602" y="408"/>
                </a:lnTo>
                <a:lnTo>
                  <a:pt x="4588" y="438"/>
                </a:lnTo>
                <a:lnTo>
                  <a:pt x="4578" y="468"/>
                </a:lnTo>
                <a:lnTo>
                  <a:pt x="4568" y="498"/>
                </a:lnTo>
                <a:lnTo>
                  <a:pt x="4562" y="528"/>
                </a:lnTo>
                <a:lnTo>
                  <a:pt x="4560" y="560"/>
                </a:lnTo>
                <a:lnTo>
                  <a:pt x="4558" y="590"/>
                </a:lnTo>
                <a:lnTo>
                  <a:pt x="4560" y="622"/>
                </a:lnTo>
                <a:lnTo>
                  <a:pt x="4564" y="654"/>
                </a:lnTo>
                <a:lnTo>
                  <a:pt x="4570" y="686"/>
                </a:lnTo>
                <a:lnTo>
                  <a:pt x="4578" y="718"/>
                </a:lnTo>
                <a:lnTo>
                  <a:pt x="4592" y="748"/>
                </a:lnTo>
                <a:lnTo>
                  <a:pt x="4606" y="778"/>
                </a:lnTo>
                <a:lnTo>
                  <a:pt x="4624" y="804"/>
                </a:lnTo>
                <a:lnTo>
                  <a:pt x="4646" y="830"/>
                </a:lnTo>
                <a:lnTo>
                  <a:pt x="4670" y="854"/>
                </a:lnTo>
                <a:lnTo>
                  <a:pt x="4698" y="876"/>
                </a:lnTo>
                <a:lnTo>
                  <a:pt x="4728" y="896"/>
                </a:lnTo>
                <a:lnTo>
                  <a:pt x="4764" y="912"/>
                </a:lnTo>
                <a:lnTo>
                  <a:pt x="4802" y="924"/>
                </a:lnTo>
                <a:lnTo>
                  <a:pt x="4842" y="934"/>
                </a:lnTo>
                <a:lnTo>
                  <a:pt x="4888" y="940"/>
                </a:lnTo>
                <a:lnTo>
                  <a:pt x="4938" y="942"/>
                </a:lnTo>
                <a:lnTo>
                  <a:pt x="5454" y="942"/>
                </a:lnTo>
                <a:lnTo>
                  <a:pt x="5454" y="922"/>
                </a:lnTo>
                <a:close/>
                <a:moveTo>
                  <a:pt x="4946" y="334"/>
                </a:moveTo>
                <a:lnTo>
                  <a:pt x="4946" y="334"/>
                </a:lnTo>
                <a:lnTo>
                  <a:pt x="5238" y="334"/>
                </a:lnTo>
                <a:lnTo>
                  <a:pt x="5256" y="336"/>
                </a:lnTo>
                <a:lnTo>
                  <a:pt x="5272" y="338"/>
                </a:lnTo>
                <a:lnTo>
                  <a:pt x="5286" y="340"/>
                </a:lnTo>
                <a:lnTo>
                  <a:pt x="5300" y="344"/>
                </a:lnTo>
                <a:lnTo>
                  <a:pt x="5312" y="350"/>
                </a:lnTo>
                <a:lnTo>
                  <a:pt x="5322" y="356"/>
                </a:lnTo>
                <a:lnTo>
                  <a:pt x="5330" y="364"/>
                </a:lnTo>
                <a:lnTo>
                  <a:pt x="5338" y="370"/>
                </a:lnTo>
                <a:lnTo>
                  <a:pt x="5350" y="388"/>
                </a:lnTo>
                <a:lnTo>
                  <a:pt x="5358" y="404"/>
                </a:lnTo>
                <a:lnTo>
                  <a:pt x="5362" y="422"/>
                </a:lnTo>
                <a:lnTo>
                  <a:pt x="5362" y="438"/>
                </a:lnTo>
                <a:lnTo>
                  <a:pt x="5362" y="452"/>
                </a:lnTo>
                <a:lnTo>
                  <a:pt x="5358" y="468"/>
                </a:lnTo>
                <a:lnTo>
                  <a:pt x="5350" y="486"/>
                </a:lnTo>
                <a:lnTo>
                  <a:pt x="5338" y="502"/>
                </a:lnTo>
                <a:lnTo>
                  <a:pt x="5332" y="510"/>
                </a:lnTo>
                <a:lnTo>
                  <a:pt x="5322" y="518"/>
                </a:lnTo>
                <a:lnTo>
                  <a:pt x="5312" y="524"/>
                </a:lnTo>
                <a:lnTo>
                  <a:pt x="5300" y="530"/>
                </a:lnTo>
                <a:lnTo>
                  <a:pt x="5288" y="534"/>
                </a:lnTo>
                <a:lnTo>
                  <a:pt x="5272" y="538"/>
                </a:lnTo>
                <a:lnTo>
                  <a:pt x="5256" y="540"/>
                </a:lnTo>
                <a:lnTo>
                  <a:pt x="5238" y="540"/>
                </a:lnTo>
                <a:lnTo>
                  <a:pt x="4670" y="540"/>
                </a:lnTo>
                <a:lnTo>
                  <a:pt x="4676" y="512"/>
                </a:lnTo>
                <a:lnTo>
                  <a:pt x="4680" y="496"/>
                </a:lnTo>
                <a:lnTo>
                  <a:pt x="4688" y="478"/>
                </a:lnTo>
                <a:lnTo>
                  <a:pt x="4696" y="462"/>
                </a:lnTo>
                <a:lnTo>
                  <a:pt x="4706" y="444"/>
                </a:lnTo>
                <a:lnTo>
                  <a:pt x="4718" y="428"/>
                </a:lnTo>
                <a:lnTo>
                  <a:pt x="4732" y="412"/>
                </a:lnTo>
                <a:lnTo>
                  <a:pt x="4750" y="396"/>
                </a:lnTo>
                <a:lnTo>
                  <a:pt x="4768" y="382"/>
                </a:lnTo>
                <a:lnTo>
                  <a:pt x="4790" y="368"/>
                </a:lnTo>
                <a:lnTo>
                  <a:pt x="4816" y="356"/>
                </a:lnTo>
                <a:lnTo>
                  <a:pt x="4844" y="348"/>
                </a:lnTo>
                <a:lnTo>
                  <a:pt x="4874" y="340"/>
                </a:lnTo>
                <a:lnTo>
                  <a:pt x="4908" y="336"/>
                </a:lnTo>
                <a:lnTo>
                  <a:pt x="4946" y="334"/>
                </a:lnTo>
                <a:close/>
                <a:moveTo>
                  <a:pt x="3760" y="898"/>
                </a:moveTo>
                <a:lnTo>
                  <a:pt x="3760" y="898"/>
                </a:lnTo>
                <a:lnTo>
                  <a:pt x="3740" y="924"/>
                </a:lnTo>
                <a:lnTo>
                  <a:pt x="3730" y="932"/>
                </a:lnTo>
                <a:lnTo>
                  <a:pt x="3720" y="940"/>
                </a:lnTo>
                <a:lnTo>
                  <a:pt x="3712" y="946"/>
                </a:lnTo>
                <a:lnTo>
                  <a:pt x="3702" y="950"/>
                </a:lnTo>
                <a:lnTo>
                  <a:pt x="3694" y="952"/>
                </a:lnTo>
                <a:lnTo>
                  <a:pt x="3684" y="952"/>
                </a:lnTo>
                <a:lnTo>
                  <a:pt x="3670" y="952"/>
                </a:lnTo>
                <a:lnTo>
                  <a:pt x="3660" y="948"/>
                </a:lnTo>
                <a:lnTo>
                  <a:pt x="3650" y="944"/>
                </a:lnTo>
                <a:lnTo>
                  <a:pt x="3642" y="938"/>
                </a:lnTo>
                <a:lnTo>
                  <a:pt x="3634" y="930"/>
                </a:lnTo>
                <a:lnTo>
                  <a:pt x="3624" y="920"/>
                </a:lnTo>
                <a:lnTo>
                  <a:pt x="3606" y="898"/>
                </a:lnTo>
                <a:lnTo>
                  <a:pt x="3124" y="236"/>
                </a:lnTo>
                <a:lnTo>
                  <a:pt x="3188" y="236"/>
                </a:lnTo>
                <a:lnTo>
                  <a:pt x="3212" y="238"/>
                </a:lnTo>
                <a:lnTo>
                  <a:pt x="3232" y="240"/>
                </a:lnTo>
                <a:lnTo>
                  <a:pt x="3250" y="246"/>
                </a:lnTo>
                <a:lnTo>
                  <a:pt x="3264" y="254"/>
                </a:lnTo>
                <a:lnTo>
                  <a:pt x="3276" y="264"/>
                </a:lnTo>
                <a:lnTo>
                  <a:pt x="3286" y="274"/>
                </a:lnTo>
                <a:lnTo>
                  <a:pt x="3308" y="302"/>
                </a:lnTo>
                <a:lnTo>
                  <a:pt x="3686" y="836"/>
                </a:lnTo>
                <a:lnTo>
                  <a:pt x="4066" y="300"/>
                </a:lnTo>
                <a:lnTo>
                  <a:pt x="4086" y="274"/>
                </a:lnTo>
                <a:lnTo>
                  <a:pt x="4098" y="262"/>
                </a:lnTo>
                <a:lnTo>
                  <a:pt x="4110" y="254"/>
                </a:lnTo>
                <a:lnTo>
                  <a:pt x="4124" y="246"/>
                </a:lnTo>
                <a:lnTo>
                  <a:pt x="4140" y="240"/>
                </a:lnTo>
                <a:lnTo>
                  <a:pt x="4160" y="238"/>
                </a:lnTo>
                <a:lnTo>
                  <a:pt x="4184" y="236"/>
                </a:lnTo>
                <a:lnTo>
                  <a:pt x="4242" y="236"/>
                </a:lnTo>
                <a:lnTo>
                  <a:pt x="3760" y="898"/>
                </a:lnTo>
                <a:close/>
                <a:moveTo>
                  <a:pt x="1002" y="942"/>
                </a:moveTo>
                <a:lnTo>
                  <a:pt x="1002" y="942"/>
                </a:lnTo>
                <a:lnTo>
                  <a:pt x="986" y="940"/>
                </a:lnTo>
                <a:lnTo>
                  <a:pt x="972" y="938"/>
                </a:lnTo>
                <a:lnTo>
                  <a:pt x="960" y="932"/>
                </a:lnTo>
                <a:lnTo>
                  <a:pt x="948" y="926"/>
                </a:lnTo>
                <a:lnTo>
                  <a:pt x="938" y="916"/>
                </a:lnTo>
                <a:lnTo>
                  <a:pt x="932" y="904"/>
                </a:lnTo>
                <a:lnTo>
                  <a:pt x="926" y="890"/>
                </a:lnTo>
                <a:lnTo>
                  <a:pt x="922" y="874"/>
                </a:lnTo>
                <a:lnTo>
                  <a:pt x="906" y="796"/>
                </a:lnTo>
                <a:lnTo>
                  <a:pt x="894" y="816"/>
                </a:lnTo>
                <a:lnTo>
                  <a:pt x="876" y="838"/>
                </a:lnTo>
                <a:lnTo>
                  <a:pt x="850" y="862"/>
                </a:lnTo>
                <a:lnTo>
                  <a:pt x="836" y="874"/>
                </a:lnTo>
                <a:lnTo>
                  <a:pt x="818" y="886"/>
                </a:lnTo>
                <a:lnTo>
                  <a:pt x="798" y="898"/>
                </a:lnTo>
                <a:lnTo>
                  <a:pt x="778" y="908"/>
                </a:lnTo>
                <a:lnTo>
                  <a:pt x="754" y="918"/>
                </a:lnTo>
                <a:lnTo>
                  <a:pt x="728" y="926"/>
                </a:lnTo>
                <a:lnTo>
                  <a:pt x="700" y="932"/>
                </a:lnTo>
                <a:lnTo>
                  <a:pt x="670" y="938"/>
                </a:lnTo>
                <a:lnTo>
                  <a:pt x="638" y="940"/>
                </a:lnTo>
                <a:lnTo>
                  <a:pt x="604" y="942"/>
                </a:lnTo>
                <a:lnTo>
                  <a:pt x="384" y="942"/>
                </a:lnTo>
                <a:lnTo>
                  <a:pt x="356" y="942"/>
                </a:lnTo>
                <a:lnTo>
                  <a:pt x="330" y="940"/>
                </a:lnTo>
                <a:lnTo>
                  <a:pt x="306" y="936"/>
                </a:lnTo>
                <a:lnTo>
                  <a:pt x="282" y="932"/>
                </a:lnTo>
                <a:lnTo>
                  <a:pt x="258" y="928"/>
                </a:lnTo>
                <a:lnTo>
                  <a:pt x="238" y="922"/>
                </a:lnTo>
                <a:lnTo>
                  <a:pt x="198" y="908"/>
                </a:lnTo>
                <a:lnTo>
                  <a:pt x="162" y="890"/>
                </a:lnTo>
                <a:lnTo>
                  <a:pt x="130" y="870"/>
                </a:lnTo>
                <a:lnTo>
                  <a:pt x="104" y="846"/>
                </a:lnTo>
                <a:lnTo>
                  <a:pt x="80" y="822"/>
                </a:lnTo>
                <a:lnTo>
                  <a:pt x="60" y="794"/>
                </a:lnTo>
                <a:lnTo>
                  <a:pt x="42" y="766"/>
                </a:lnTo>
                <a:lnTo>
                  <a:pt x="28" y="738"/>
                </a:lnTo>
                <a:lnTo>
                  <a:pt x="18" y="708"/>
                </a:lnTo>
                <a:lnTo>
                  <a:pt x="10" y="678"/>
                </a:lnTo>
                <a:lnTo>
                  <a:pt x="4" y="648"/>
                </a:lnTo>
                <a:lnTo>
                  <a:pt x="2" y="618"/>
                </a:lnTo>
                <a:lnTo>
                  <a:pt x="0" y="590"/>
                </a:lnTo>
                <a:lnTo>
                  <a:pt x="2" y="558"/>
                </a:lnTo>
                <a:lnTo>
                  <a:pt x="4" y="526"/>
                </a:lnTo>
                <a:lnTo>
                  <a:pt x="12" y="494"/>
                </a:lnTo>
                <a:lnTo>
                  <a:pt x="20" y="462"/>
                </a:lnTo>
                <a:lnTo>
                  <a:pt x="32" y="432"/>
                </a:lnTo>
                <a:lnTo>
                  <a:pt x="46" y="404"/>
                </a:lnTo>
                <a:lnTo>
                  <a:pt x="64" y="376"/>
                </a:lnTo>
                <a:lnTo>
                  <a:pt x="86" y="350"/>
                </a:lnTo>
                <a:lnTo>
                  <a:pt x="110" y="326"/>
                </a:lnTo>
                <a:lnTo>
                  <a:pt x="138" y="304"/>
                </a:lnTo>
                <a:lnTo>
                  <a:pt x="170" y="284"/>
                </a:lnTo>
                <a:lnTo>
                  <a:pt x="204" y="268"/>
                </a:lnTo>
                <a:lnTo>
                  <a:pt x="244" y="254"/>
                </a:lnTo>
                <a:lnTo>
                  <a:pt x="286" y="244"/>
                </a:lnTo>
                <a:lnTo>
                  <a:pt x="332" y="238"/>
                </a:lnTo>
                <a:lnTo>
                  <a:pt x="384" y="236"/>
                </a:lnTo>
                <a:lnTo>
                  <a:pt x="604" y="236"/>
                </a:lnTo>
                <a:lnTo>
                  <a:pt x="642" y="238"/>
                </a:lnTo>
                <a:lnTo>
                  <a:pt x="680" y="242"/>
                </a:lnTo>
                <a:lnTo>
                  <a:pt x="714" y="248"/>
                </a:lnTo>
                <a:lnTo>
                  <a:pt x="746" y="258"/>
                </a:lnTo>
                <a:lnTo>
                  <a:pt x="776" y="270"/>
                </a:lnTo>
                <a:lnTo>
                  <a:pt x="804" y="284"/>
                </a:lnTo>
                <a:lnTo>
                  <a:pt x="830" y="300"/>
                </a:lnTo>
                <a:lnTo>
                  <a:pt x="854" y="318"/>
                </a:lnTo>
                <a:lnTo>
                  <a:pt x="876" y="338"/>
                </a:lnTo>
                <a:lnTo>
                  <a:pt x="894" y="358"/>
                </a:lnTo>
                <a:lnTo>
                  <a:pt x="912" y="382"/>
                </a:lnTo>
                <a:lnTo>
                  <a:pt x="926" y="406"/>
                </a:lnTo>
                <a:lnTo>
                  <a:pt x="940" y="432"/>
                </a:lnTo>
                <a:lnTo>
                  <a:pt x="950" y="458"/>
                </a:lnTo>
                <a:lnTo>
                  <a:pt x="958" y="484"/>
                </a:lnTo>
                <a:lnTo>
                  <a:pt x="966" y="514"/>
                </a:lnTo>
                <a:lnTo>
                  <a:pt x="1046" y="942"/>
                </a:lnTo>
                <a:lnTo>
                  <a:pt x="1002" y="942"/>
                </a:lnTo>
                <a:close/>
                <a:moveTo>
                  <a:pt x="580" y="334"/>
                </a:moveTo>
                <a:lnTo>
                  <a:pt x="580" y="334"/>
                </a:lnTo>
                <a:lnTo>
                  <a:pt x="392" y="334"/>
                </a:lnTo>
                <a:lnTo>
                  <a:pt x="354" y="336"/>
                </a:lnTo>
                <a:lnTo>
                  <a:pt x="318" y="340"/>
                </a:lnTo>
                <a:lnTo>
                  <a:pt x="286" y="348"/>
                </a:lnTo>
                <a:lnTo>
                  <a:pt x="258" y="358"/>
                </a:lnTo>
                <a:lnTo>
                  <a:pt x="232" y="370"/>
                </a:lnTo>
                <a:lnTo>
                  <a:pt x="210" y="384"/>
                </a:lnTo>
                <a:lnTo>
                  <a:pt x="188" y="400"/>
                </a:lnTo>
                <a:lnTo>
                  <a:pt x="170" y="416"/>
                </a:lnTo>
                <a:lnTo>
                  <a:pt x="156" y="436"/>
                </a:lnTo>
                <a:lnTo>
                  <a:pt x="142" y="456"/>
                </a:lnTo>
                <a:lnTo>
                  <a:pt x="132" y="476"/>
                </a:lnTo>
                <a:lnTo>
                  <a:pt x="122" y="498"/>
                </a:lnTo>
                <a:lnTo>
                  <a:pt x="116" y="520"/>
                </a:lnTo>
                <a:lnTo>
                  <a:pt x="112" y="544"/>
                </a:lnTo>
                <a:lnTo>
                  <a:pt x="110" y="566"/>
                </a:lnTo>
                <a:lnTo>
                  <a:pt x="108" y="590"/>
                </a:lnTo>
                <a:lnTo>
                  <a:pt x="110" y="612"/>
                </a:lnTo>
                <a:lnTo>
                  <a:pt x="112" y="636"/>
                </a:lnTo>
                <a:lnTo>
                  <a:pt x="116" y="658"/>
                </a:lnTo>
                <a:lnTo>
                  <a:pt x="122" y="680"/>
                </a:lnTo>
                <a:lnTo>
                  <a:pt x="132" y="702"/>
                </a:lnTo>
                <a:lnTo>
                  <a:pt x="142" y="724"/>
                </a:lnTo>
                <a:lnTo>
                  <a:pt x="156" y="744"/>
                </a:lnTo>
                <a:lnTo>
                  <a:pt x="170" y="762"/>
                </a:lnTo>
                <a:lnTo>
                  <a:pt x="188" y="780"/>
                </a:lnTo>
                <a:lnTo>
                  <a:pt x="210" y="796"/>
                </a:lnTo>
                <a:lnTo>
                  <a:pt x="232" y="810"/>
                </a:lnTo>
                <a:lnTo>
                  <a:pt x="258" y="822"/>
                </a:lnTo>
                <a:lnTo>
                  <a:pt x="286" y="830"/>
                </a:lnTo>
                <a:lnTo>
                  <a:pt x="318" y="838"/>
                </a:lnTo>
                <a:lnTo>
                  <a:pt x="354" y="842"/>
                </a:lnTo>
                <a:lnTo>
                  <a:pt x="392" y="844"/>
                </a:lnTo>
                <a:lnTo>
                  <a:pt x="580" y="844"/>
                </a:lnTo>
                <a:lnTo>
                  <a:pt x="618" y="842"/>
                </a:lnTo>
                <a:lnTo>
                  <a:pt x="654" y="838"/>
                </a:lnTo>
                <a:lnTo>
                  <a:pt x="688" y="830"/>
                </a:lnTo>
                <a:lnTo>
                  <a:pt x="716" y="820"/>
                </a:lnTo>
                <a:lnTo>
                  <a:pt x="744" y="808"/>
                </a:lnTo>
                <a:lnTo>
                  <a:pt x="766" y="794"/>
                </a:lnTo>
                <a:lnTo>
                  <a:pt x="786" y="778"/>
                </a:lnTo>
                <a:lnTo>
                  <a:pt x="804" y="760"/>
                </a:lnTo>
                <a:lnTo>
                  <a:pt x="820" y="740"/>
                </a:lnTo>
                <a:lnTo>
                  <a:pt x="832" y="720"/>
                </a:lnTo>
                <a:lnTo>
                  <a:pt x="842" y="700"/>
                </a:lnTo>
                <a:lnTo>
                  <a:pt x="850" y="678"/>
                </a:lnTo>
                <a:lnTo>
                  <a:pt x="856" y="656"/>
                </a:lnTo>
                <a:lnTo>
                  <a:pt x="860" y="634"/>
                </a:lnTo>
                <a:lnTo>
                  <a:pt x="864" y="610"/>
                </a:lnTo>
                <a:lnTo>
                  <a:pt x="864" y="590"/>
                </a:lnTo>
                <a:lnTo>
                  <a:pt x="864" y="570"/>
                </a:lnTo>
                <a:lnTo>
                  <a:pt x="862" y="548"/>
                </a:lnTo>
                <a:lnTo>
                  <a:pt x="858" y="528"/>
                </a:lnTo>
                <a:lnTo>
                  <a:pt x="852" y="506"/>
                </a:lnTo>
                <a:lnTo>
                  <a:pt x="844" y="484"/>
                </a:lnTo>
                <a:lnTo>
                  <a:pt x="834" y="464"/>
                </a:lnTo>
                <a:lnTo>
                  <a:pt x="822" y="444"/>
                </a:lnTo>
                <a:lnTo>
                  <a:pt x="806" y="424"/>
                </a:lnTo>
                <a:lnTo>
                  <a:pt x="790" y="406"/>
                </a:lnTo>
                <a:lnTo>
                  <a:pt x="770" y="388"/>
                </a:lnTo>
                <a:lnTo>
                  <a:pt x="746" y="372"/>
                </a:lnTo>
                <a:lnTo>
                  <a:pt x="720" y="360"/>
                </a:lnTo>
                <a:lnTo>
                  <a:pt x="690" y="350"/>
                </a:lnTo>
                <a:lnTo>
                  <a:pt x="656" y="342"/>
                </a:lnTo>
                <a:lnTo>
                  <a:pt x="620" y="336"/>
                </a:lnTo>
                <a:lnTo>
                  <a:pt x="580" y="334"/>
                </a:lnTo>
                <a:close/>
                <a:moveTo>
                  <a:pt x="4384" y="156"/>
                </a:moveTo>
                <a:lnTo>
                  <a:pt x="4384" y="156"/>
                </a:lnTo>
                <a:lnTo>
                  <a:pt x="4394" y="154"/>
                </a:lnTo>
                <a:lnTo>
                  <a:pt x="4404" y="152"/>
                </a:lnTo>
                <a:lnTo>
                  <a:pt x="4414" y="148"/>
                </a:lnTo>
                <a:lnTo>
                  <a:pt x="4422" y="142"/>
                </a:lnTo>
                <a:lnTo>
                  <a:pt x="4430" y="134"/>
                </a:lnTo>
                <a:lnTo>
                  <a:pt x="4434" y="124"/>
                </a:lnTo>
                <a:lnTo>
                  <a:pt x="4438" y="112"/>
                </a:lnTo>
                <a:lnTo>
                  <a:pt x="4438" y="100"/>
                </a:lnTo>
                <a:lnTo>
                  <a:pt x="4438" y="76"/>
                </a:lnTo>
                <a:lnTo>
                  <a:pt x="4438" y="64"/>
                </a:lnTo>
                <a:lnTo>
                  <a:pt x="4434" y="52"/>
                </a:lnTo>
                <a:lnTo>
                  <a:pt x="4430" y="42"/>
                </a:lnTo>
                <a:lnTo>
                  <a:pt x="4422" y="34"/>
                </a:lnTo>
                <a:lnTo>
                  <a:pt x="4414" y="28"/>
                </a:lnTo>
                <a:lnTo>
                  <a:pt x="4404" y="24"/>
                </a:lnTo>
                <a:lnTo>
                  <a:pt x="4394" y="22"/>
                </a:lnTo>
                <a:lnTo>
                  <a:pt x="4384" y="20"/>
                </a:lnTo>
                <a:lnTo>
                  <a:pt x="4372" y="22"/>
                </a:lnTo>
                <a:lnTo>
                  <a:pt x="4362" y="24"/>
                </a:lnTo>
                <a:lnTo>
                  <a:pt x="4352" y="28"/>
                </a:lnTo>
                <a:lnTo>
                  <a:pt x="4344" y="34"/>
                </a:lnTo>
                <a:lnTo>
                  <a:pt x="4338" y="42"/>
                </a:lnTo>
                <a:lnTo>
                  <a:pt x="4332" y="52"/>
                </a:lnTo>
                <a:lnTo>
                  <a:pt x="4328" y="64"/>
                </a:lnTo>
                <a:lnTo>
                  <a:pt x="4328" y="76"/>
                </a:lnTo>
                <a:lnTo>
                  <a:pt x="4328" y="100"/>
                </a:lnTo>
                <a:lnTo>
                  <a:pt x="4328" y="112"/>
                </a:lnTo>
                <a:lnTo>
                  <a:pt x="4332" y="124"/>
                </a:lnTo>
                <a:lnTo>
                  <a:pt x="4336" y="134"/>
                </a:lnTo>
                <a:lnTo>
                  <a:pt x="4344" y="142"/>
                </a:lnTo>
                <a:lnTo>
                  <a:pt x="4352" y="148"/>
                </a:lnTo>
                <a:lnTo>
                  <a:pt x="4362" y="152"/>
                </a:lnTo>
                <a:lnTo>
                  <a:pt x="4372" y="154"/>
                </a:lnTo>
                <a:lnTo>
                  <a:pt x="4384" y="156"/>
                </a:lnTo>
                <a:close/>
                <a:moveTo>
                  <a:pt x="4328" y="236"/>
                </a:moveTo>
                <a:lnTo>
                  <a:pt x="4328" y="236"/>
                </a:lnTo>
                <a:lnTo>
                  <a:pt x="4354" y="236"/>
                </a:lnTo>
                <a:lnTo>
                  <a:pt x="4372" y="238"/>
                </a:lnTo>
                <a:lnTo>
                  <a:pt x="4388" y="242"/>
                </a:lnTo>
                <a:lnTo>
                  <a:pt x="4402" y="248"/>
                </a:lnTo>
                <a:lnTo>
                  <a:pt x="4414" y="256"/>
                </a:lnTo>
                <a:lnTo>
                  <a:pt x="4424" y="268"/>
                </a:lnTo>
                <a:lnTo>
                  <a:pt x="4432" y="284"/>
                </a:lnTo>
                <a:lnTo>
                  <a:pt x="4436" y="304"/>
                </a:lnTo>
                <a:lnTo>
                  <a:pt x="4438" y="328"/>
                </a:lnTo>
                <a:lnTo>
                  <a:pt x="4438" y="942"/>
                </a:lnTo>
                <a:lnTo>
                  <a:pt x="4410" y="942"/>
                </a:lnTo>
                <a:lnTo>
                  <a:pt x="4390" y="940"/>
                </a:lnTo>
                <a:lnTo>
                  <a:pt x="4374" y="936"/>
                </a:lnTo>
                <a:lnTo>
                  <a:pt x="4360" y="930"/>
                </a:lnTo>
                <a:lnTo>
                  <a:pt x="4348" y="920"/>
                </a:lnTo>
                <a:lnTo>
                  <a:pt x="4340" y="908"/>
                </a:lnTo>
                <a:lnTo>
                  <a:pt x="4334" y="892"/>
                </a:lnTo>
                <a:lnTo>
                  <a:pt x="4330" y="874"/>
                </a:lnTo>
                <a:lnTo>
                  <a:pt x="4328" y="852"/>
                </a:lnTo>
                <a:lnTo>
                  <a:pt x="4328" y="236"/>
                </a:lnTo>
                <a:close/>
                <a:moveTo>
                  <a:pt x="1210" y="328"/>
                </a:moveTo>
                <a:lnTo>
                  <a:pt x="1210" y="328"/>
                </a:lnTo>
                <a:lnTo>
                  <a:pt x="1230" y="312"/>
                </a:lnTo>
                <a:lnTo>
                  <a:pt x="1252" y="296"/>
                </a:lnTo>
                <a:lnTo>
                  <a:pt x="1280" y="280"/>
                </a:lnTo>
                <a:lnTo>
                  <a:pt x="1310" y="266"/>
                </a:lnTo>
                <a:lnTo>
                  <a:pt x="1344" y="254"/>
                </a:lnTo>
                <a:lnTo>
                  <a:pt x="1382" y="244"/>
                </a:lnTo>
                <a:lnTo>
                  <a:pt x="1424" y="238"/>
                </a:lnTo>
                <a:lnTo>
                  <a:pt x="1472" y="236"/>
                </a:lnTo>
                <a:lnTo>
                  <a:pt x="1692" y="236"/>
                </a:lnTo>
                <a:lnTo>
                  <a:pt x="1718" y="238"/>
                </a:lnTo>
                <a:lnTo>
                  <a:pt x="1744" y="238"/>
                </a:lnTo>
                <a:lnTo>
                  <a:pt x="1770" y="242"/>
                </a:lnTo>
                <a:lnTo>
                  <a:pt x="1794" y="246"/>
                </a:lnTo>
                <a:lnTo>
                  <a:pt x="1816" y="250"/>
                </a:lnTo>
                <a:lnTo>
                  <a:pt x="1838" y="256"/>
                </a:lnTo>
                <a:lnTo>
                  <a:pt x="1878" y="270"/>
                </a:lnTo>
                <a:lnTo>
                  <a:pt x="1912" y="288"/>
                </a:lnTo>
                <a:lnTo>
                  <a:pt x="1944" y="308"/>
                </a:lnTo>
                <a:lnTo>
                  <a:pt x="1972" y="332"/>
                </a:lnTo>
                <a:lnTo>
                  <a:pt x="1996" y="356"/>
                </a:lnTo>
                <a:lnTo>
                  <a:pt x="2016" y="384"/>
                </a:lnTo>
                <a:lnTo>
                  <a:pt x="2032" y="412"/>
                </a:lnTo>
                <a:lnTo>
                  <a:pt x="2046" y="440"/>
                </a:lnTo>
                <a:lnTo>
                  <a:pt x="2058" y="470"/>
                </a:lnTo>
                <a:lnTo>
                  <a:pt x="2066" y="500"/>
                </a:lnTo>
                <a:lnTo>
                  <a:pt x="2070" y="530"/>
                </a:lnTo>
                <a:lnTo>
                  <a:pt x="2074" y="560"/>
                </a:lnTo>
                <a:lnTo>
                  <a:pt x="2074" y="590"/>
                </a:lnTo>
                <a:lnTo>
                  <a:pt x="2074" y="620"/>
                </a:lnTo>
                <a:lnTo>
                  <a:pt x="2070" y="652"/>
                </a:lnTo>
                <a:lnTo>
                  <a:pt x="2064" y="684"/>
                </a:lnTo>
                <a:lnTo>
                  <a:pt x="2054" y="716"/>
                </a:lnTo>
                <a:lnTo>
                  <a:pt x="2042" y="746"/>
                </a:lnTo>
                <a:lnTo>
                  <a:pt x="2028" y="774"/>
                </a:lnTo>
                <a:lnTo>
                  <a:pt x="2010" y="802"/>
                </a:lnTo>
                <a:lnTo>
                  <a:pt x="1988" y="828"/>
                </a:lnTo>
                <a:lnTo>
                  <a:pt x="1964" y="852"/>
                </a:lnTo>
                <a:lnTo>
                  <a:pt x="1936" y="874"/>
                </a:lnTo>
                <a:lnTo>
                  <a:pt x="1906" y="894"/>
                </a:lnTo>
                <a:lnTo>
                  <a:pt x="1870" y="910"/>
                </a:lnTo>
                <a:lnTo>
                  <a:pt x="1832" y="924"/>
                </a:lnTo>
                <a:lnTo>
                  <a:pt x="1788" y="934"/>
                </a:lnTo>
                <a:lnTo>
                  <a:pt x="1742" y="940"/>
                </a:lnTo>
                <a:lnTo>
                  <a:pt x="1692" y="942"/>
                </a:lnTo>
                <a:lnTo>
                  <a:pt x="1472" y="942"/>
                </a:lnTo>
                <a:lnTo>
                  <a:pt x="1432" y="940"/>
                </a:lnTo>
                <a:lnTo>
                  <a:pt x="1394" y="936"/>
                </a:lnTo>
                <a:lnTo>
                  <a:pt x="1358" y="928"/>
                </a:lnTo>
                <a:lnTo>
                  <a:pt x="1324" y="916"/>
                </a:lnTo>
                <a:lnTo>
                  <a:pt x="1290" y="904"/>
                </a:lnTo>
                <a:lnTo>
                  <a:pt x="1260" y="886"/>
                </a:lnTo>
                <a:lnTo>
                  <a:pt x="1232" y="868"/>
                </a:lnTo>
                <a:lnTo>
                  <a:pt x="1206" y="846"/>
                </a:lnTo>
                <a:lnTo>
                  <a:pt x="1184" y="822"/>
                </a:lnTo>
                <a:lnTo>
                  <a:pt x="1162" y="796"/>
                </a:lnTo>
                <a:lnTo>
                  <a:pt x="1144" y="766"/>
                </a:lnTo>
                <a:lnTo>
                  <a:pt x="1130" y="734"/>
                </a:lnTo>
                <a:lnTo>
                  <a:pt x="1118" y="702"/>
                </a:lnTo>
                <a:lnTo>
                  <a:pt x="1110" y="666"/>
                </a:lnTo>
                <a:lnTo>
                  <a:pt x="1104" y="628"/>
                </a:lnTo>
                <a:lnTo>
                  <a:pt x="1102" y="590"/>
                </a:lnTo>
                <a:lnTo>
                  <a:pt x="1102" y="0"/>
                </a:lnTo>
                <a:lnTo>
                  <a:pt x="1136" y="0"/>
                </a:lnTo>
                <a:lnTo>
                  <a:pt x="1154" y="0"/>
                </a:lnTo>
                <a:lnTo>
                  <a:pt x="1168" y="4"/>
                </a:lnTo>
                <a:lnTo>
                  <a:pt x="1180" y="10"/>
                </a:lnTo>
                <a:lnTo>
                  <a:pt x="1192" y="18"/>
                </a:lnTo>
                <a:lnTo>
                  <a:pt x="1200" y="28"/>
                </a:lnTo>
                <a:lnTo>
                  <a:pt x="1206" y="40"/>
                </a:lnTo>
                <a:lnTo>
                  <a:pt x="1210" y="54"/>
                </a:lnTo>
                <a:lnTo>
                  <a:pt x="1210" y="70"/>
                </a:lnTo>
                <a:lnTo>
                  <a:pt x="1210" y="328"/>
                </a:lnTo>
                <a:close/>
                <a:moveTo>
                  <a:pt x="1496" y="844"/>
                </a:moveTo>
                <a:lnTo>
                  <a:pt x="1496" y="844"/>
                </a:lnTo>
                <a:lnTo>
                  <a:pt x="1684" y="844"/>
                </a:lnTo>
                <a:lnTo>
                  <a:pt x="1722" y="842"/>
                </a:lnTo>
                <a:lnTo>
                  <a:pt x="1756" y="838"/>
                </a:lnTo>
                <a:lnTo>
                  <a:pt x="1788" y="830"/>
                </a:lnTo>
                <a:lnTo>
                  <a:pt x="1816" y="820"/>
                </a:lnTo>
                <a:lnTo>
                  <a:pt x="1842" y="810"/>
                </a:lnTo>
                <a:lnTo>
                  <a:pt x="1866" y="796"/>
                </a:lnTo>
                <a:lnTo>
                  <a:pt x="1886" y="780"/>
                </a:lnTo>
                <a:lnTo>
                  <a:pt x="1904" y="762"/>
                </a:lnTo>
                <a:lnTo>
                  <a:pt x="1920" y="742"/>
                </a:lnTo>
                <a:lnTo>
                  <a:pt x="1932" y="722"/>
                </a:lnTo>
                <a:lnTo>
                  <a:pt x="1944" y="702"/>
                </a:lnTo>
                <a:lnTo>
                  <a:pt x="1952" y="680"/>
                </a:lnTo>
                <a:lnTo>
                  <a:pt x="1958" y="658"/>
                </a:lnTo>
                <a:lnTo>
                  <a:pt x="1964" y="634"/>
                </a:lnTo>
                <a:lnTo>
                  <a:pt x="1966" y="612"/>
                </a:lnTo>
                <a:lnTo>
                  <a:pt x="1966" y="590"/>
                </a:lnTo>
                <a:lnTo>
                  <a:pt x="1966" y="566"/>
                </a:lnTo>
                <a:lnTo>
                  <a:pt x="1964" y="544"/>
                </a:lnTo>
                <a:lnTo>
                  <a:pt x="1958" y="520"/>
                </a:lnTo>
                <a:lnTo>
                  <a:pt x="1952" y="498"/>
                </a:lnTo>
                <a:lnTo>
                  <a:pt x="1944" y="476"/>
                </a:lnTo>
                <a:lnTo>
                  <a:pt x="1932" y="456"/>
                </a:lnTo>
                <a:lnTo>
                  <a:pt x="1920" y="436"/>
                </a:lnTo>
                <a:lnTo>
                  <a:pt x="1904" y="416"/>
                </a:lnTo>
                <a:lnTo>
                  <a:pt x="1886" y="398"/>
                </a:lnTo>
                <a:lnTo>
                  <a:pt x="1866" y="382"/>
                </a:lnTo>
                <a:lnTo>
                  <a:pt x="1842" y="370"/>
                </a:lnTo>
                <a:lnTo>
                  <a:pt x="1816" y="358"/>
                </a:lnTo>
                <a:lnTo>
                  <a:pt x="1788" y="348"/>
                </a:lnTo>
                <a:lnTo>
                  <a:pt x="1756" y="340"/>
                </a:lnTo>
                <a:lnTo>
                  <a:pt x="1722" y="336"/>
                </a:lnTo>
                <a:lnTo>
                  <a:pt x="1684" y="334"/>
                </a:lnTo>
                <a:lnTo>
                  <a:pt x="1496" y="334"/>
                </a:lnTo>
                <a:lnTo>
                  <a:pt x="1456" y="336"/>
                </a:lnTo>
                <a:lnTo>
                  <a:pt x="1420" y="340"/>
                </a:lnTo>
                <a:lnTo>
                  <a:pt x="1388" y="348"/>
                </a:lnTo>
                <a:lnTo>
                  <a:pt x="1358" y="358"/>
                </a:lnTo>
                <a:lnTo>
                  <a:pt x="1332" y="370"/>
                </a:lnTo>
                <a:lnTo>
                  <a:pt x="1308" y="384"/>
                </a:lnTo>
                <a:lnTo>
                  <a:pt x="1288" y="402"/>
                </a:lnTo>
                <a:lnTo>
                  <a:pt x="1270" y="418"/>
                </a:lnTo>
                <a:lnTo>
                  <a:pt x="1256" y="438"/>
                </a:lnTo>
                <a:lnTo>
                  <a:pt x="1242" y="458"/>
                </a:lnTo>
                <a:lnTo>
                  <a:pt x="1232" y="480"/>
                </a:lnTo>
                <a:lnTo>
                  <a:pt x="1224" y="500"/>
                </a:lnTo>
                <a:lnTo>
                  <a:pt x="1218" y="524"/>
                </a:lnTo>
                <a:lnTo>
                  <a:pt x="1214" y="546"/>
                </a:lnTo>
                <a:lnTo>
                  <a:pt x="1212" y="568"/>
                </a:lnTo>
                <a:lnTo>
                  <a:pt x="1210" y="590"/>
                </a:lnTo>
                <a:lnTo>
                  <a:pt x="1212" y="608"/>
                </a:lnTo>
                <a:lnTo>
                  <a:pt x="1214" y="630"/>
                </a:lnTo>
                <a:lnTo>
                  <a:pt x="1218" y="650"/>
                </a:lnTo>
                <a:lnTo>
                  <a:pt x="1224" y="672"/>
                </a:lnTo>
                <a:lnTo>
                  <a:pt x="1232" y="694"/>
                </a:lnTo>
                <a:lnTo>
                  <a:pt x="1242" y="714"/>
                </a:lnTo>
                <a:lnTo>
                  <a:pt x="1254" y="736"/>
                </a:lnTo>
                <a:lnTo>
                  <a:pt x="1268" y="754"/>
                </a:lnTo>
                <a:lnTo>
                  <a:pt x="1286" y="774"/>
                </a:lnTo>
                <a:lnTo>
                  <a:pt x="1306" y="790"/>
                </a:lnTo>
                <a:lnTo>
                  <a:pt x="1328" y="806"/>
                </a:lnTo>
                <a:lnTo>
                  <a:pt x="1356" y="818"/>
                </a:lnTo>
                <a:lnTo>
                  <a:pt x="1384" y="830"/>
                </a:lnTo>
                <a:lnTo>
                  <a:pt x="1418" y="838"/>
                </a:lnTo>
                <a:lnTo>
                  <a:pt x="1456" y="842"/>
                </a:lnTo>
                <a:lnTo>
                  <a:pt x="1496" y="844"/>
                </a:lnTo>
                <a:close/>
                <a:moveTo>
                  <a:pt x="2294" y="328"/>
                </a:moveTo>
                <a:lnTo>
                  <a:pt x="2294" y="328"/>
                </a:lnTo>
                <a:lnTo>
                  <a:pt x="2312" y="312"/>
                </a:lnTo>
                <a:lnTo>
                  <a:pt x="2336" y="296"/>
                </a:lnTo>
                <a:lnTo>
                  <a:pt x="2362" y="280"/>
                </a:lnTo>
                <a:lnTo>
                  <a:pt x="2392" y="266"/>
                </a:lnTo>
                <a:lnTo>
                  <a:pt x="2426" y="254"/>
                </a:lnTo>
                <a:lnTo>
                  <a:pt x="2464" y="244"/>
                </a:lnTo>
                <a:lnTo>
                  <a:pt x="2506" y="238"/>
                </a:lnTo>
                <a:lnTo>
                  <a:pt x="2554" y="236"/>
                </a:lnTo>
                <a:lnTo>
                  <a:pt x="2774" y="236"/>
                </a:lnTo>
                <a:lnTo>
                  <a:pt x="2800" y="238"/>
                </a:lnTo>
                <a:lnTo>
                  <a:pt x="2828" y="238"/>
                </a:lnTo>
                <a:lnTo>
                  <a:pt x="2852" y="242"/>
                </a:lnTo>
                <a:lnTo>
                  <a:pt x="2876" y="246"/>
                </a:lnTo>
                <a:lnTo>
                  <a:pt x="2898" y="250"/>
                </a:lnTo>
                <a:lnTo>
                  <a:pt x="2920" y="256"/>
                </a:lnTo>
                <a:lnTo>
                  <a:pt x="2960" y="270"/>
                </a:lnTo>
                <a:lnTo>
                  <a:pt x="2996" y="288"/>
                </a:lnTo>
                <a:lnTo>
                  <a:pt x="3026" y="308"/>
                </a:lnTo>
                <a:lnTo>
                  <a:pt x="3054" y="332"/>
                </a:lnTo>
                <a:lnTo>
                  <a:pt x="3078" y="356"/>
                </a:lnTo>
                <a:lnTo>
                  <a:pt x="3098" y="384"/>
                </a:lnTo>
                <a:lnTo>
                  <a:pt x="3114" y="412"/>
                </a:lnTo>
                <a:lnTo>
                  <a:pt x="3128" y="440"/>
                </a:lnTo>
                <a:lnTo>
                  <a:pt x="3140" y="470"/>
                </a:lnTo>
                <a:lnTo>
                  <a:pt x="3148" y="500"/>
                </a:lnTo>
                <a:lnTo>
                  <a:pt x="3152" y="530"/>
                </a:lnTo>
                <a:lnTo>
                  <a:pt x="3156" y="560"/>
                </a:lnTo>
                <a:lnTo>
                  <a:pt x="3158" y="590"/>
                </a:lnTo>
                <a:lnTo>
                  <a:pt x="3156" y="620"/>
                </a:lnTo>
                <a:lnTo>
                  <a:pt x="3152" y="652"/>
                </a:lnTo>
                <a:lnTo>
                  <a:pt x="3146" y="684"/>
                </a:lnTo>
                <a:lnTo>
                  <a:pt x="3136" y="716"/>
                </a:lnTo>
                <a:lnTo>
                  <a:pt x="3126" y="746"/>
                </a:lnTo>
                <a:lnTo>
                  <a:pt x="3110" y="774"/>
                </a:lnTo>
                <a:lnTo>
                  <a:pt x="3092" y="802"/>
                </a:lnTo>
                <a:lnTo>
                  <a:pt x="3072" y="828"/>
                </a:lnTo>
                <a:lnTo>
                  <a:pt x="3046" y="852"/>
                </a:lnTo>
                <a:lnTo>
                  <a:pt x="3018" y="874"/>
                </a:lnTo>
                <a:lnTo>
                  <a:pt x="2988" y="894"/>
                </a:lnTo>
                <a:lnTo>
                  <a:pt x="2952" y="910"/>
                </a:lnTo>
                <a:lnTo>
                  <a:pt x="2914" y="924"/>
                </a:lnTo>
                <a:lnTo>
                  <a:pt x="2872" y="934"/>
                </a:lnTo>
                <a:lnTo>
                  <a:pt x="2824" y="940"/>
                </a:lnTo>
                <a:lnTo>
                  <a:pt x="2774" y="942"/>
                </a:lnTo>
                <a:lnTo>
                  <a:pt x="2554" y="942"/>
                </a:lnTo>
                <a:lnTo>
                  <a:pt x="2514" y="940"/>
                </a:lnTo>
                <a:lnTo>
                  <a:pt x="2476" y="936"/>
                </a:lnTo>
                <a:lnTo>
                  <a:pt x="2440" y="928"/>
                </a:lnTo>
                <a:lnTo>
                  <a:pt x="2406" y="916"/>
                </a:lnTo>
                <a:lnTo>
                  <a:pt x="2374" y="904"/>
                </a:lnTo>
                <a:lnTo>
                  <a:pt x="2342" y="886"/>
                </a:lnTo>
                <a:lnTo>
                  <a:pt x="2314" y="868"/>
                </a:lnTo>
                <a:lnTo>
                  <a:pt x="2288" y="846"/>
                </a:lnTo>
                <a:lnTo>
                  <a:pt x="2266" y="822"/>
                </a:lnTo>
                <a:lnTo>
                  <a:pt x="2246" y="796"/>
                </a:lnTo>
                <a:lnTo>
                  <a:pt x="2228" y="766"/>
                </a:lnTo>
                <a:lnTo>
                  <a:pt x="2212" y="734"/>
                </a:lnTo>
                <a:lnTo>
                  <a:pt x="2200" y="702"/>
                </a:lnTo>
                <a:lnTo>
                  <a:pt x="2192" y="666"/>
                </a:lnTo>
                <a:lnTo>
                  <a:pt x="2186" y="628"/>
                </a:lnTo>
                <a:lnTo>
                  <a:pt x="2184" y="590"/>
                </a:lnTo>
                <a:lnTo>
                  <a:pt x="2184" y="0"/>
                </a:lnTo>
                <a:lnTo>
                  <a:pt x="2218" y="0"/>
                </a:lnTo>
                <a:lnTo>
                  <a:pt x="2236" y="0"/>
                </a:lnTo>
                <a:lnTo>
                  <a:pt x="2250" y="4"/>
                </a:lnTo>
                <a:lnTo>
                  <a:pt x="2264" y="10"/>
                </a:lnTo>
                <a:lnTo>
                  <a:pt x="2274" y="18"/>
                </a:lnTo>
                <a:lnTo>
                  <a:pt x="2282" y="28"/>
                </a:lnTo>
                <a:lnTo>
                  <a:pt x="2288" y="40"/>
                </a:lnTo>
                <a:lnTo>
                  <a:pt x="2292" y="54"/>
                </a:lnTo>
                <a:lnTo>
                  <a:pt x="2294" y="70"/>
                </a:lnTo>
                <a:lnTo>
                  <a:pt x="2294" y="328"/>
                </a:lnTo>
                <a:close/>
                <a:moveTo>
                  <a:pt x="2578" y="844"/>
                </a:moveTo>
                <a:lnTo>
                  <a:pt x="2578" y="844"/>
                </a:lnTo>
                <a:lnTo>
                  <a:pt x="2766" y="844"/>
                </a:lnTo>
                <a:lnTo>
                  <a:pt x="2804" y="842"/>
                </a:lnTo>
                <a:lnTo>
                  <a:pt x="2838" y="838"/>
                </a:lnTo>
                <a:lnTo>
                  <a:pt x="2870" y="830"/>
                </a:lnTo>
                <a:lnTo>
                  <a:pt x="2900" y="820"/>
                </a:lnTo>
                <a:lnTo>
                  <a:pt x="2924" y="810"/>
                </a:lnTo>
                <a:lnTo>
                  <a:pt x="2948" y="796"/>
                </a:lnTo>
                <a:lnTo>
                  <a:pt x="2968" y="780"/>
                </a:lnTo>
                <a:lnTo>
                  <a:pt x="2986" y="762"/>
                </a:lnTo>
                <a:lnTo>
                  <a:pt x="3002" y="742"/>
                </a:lnTo>
                <a:lnTo>
                  <a:pt x="3014" y="722"/>
                </a:lnTo>
                <a:lnTo>
                  <a:pt x="3026" y="702"/>
                </a:lnTo>
                <a:lnTo>
                  <a:pt x="3034" y="680"/>
                </a:lnTo>
                <a:lnTo>
                  <a:pt x="3040" y="658"/>
                </a:lnTo>
                <a:lnTo>
                  <a:pt x="3046" y="634"/>
                </a:lnTo>
                <a:lnTo>
                  <a:pt x="3048" y="612"/>
                </a:lnTo>
                <a:lnTo>
                  <a:pt x="3048" y="590"/>
                </a:lnTo>
                <a:lnTo>
                  <a:pt x="3048" y="566"/>
                </a:lnTo>
                <a:lnTo>
                  <a:pt x="3046" y="544"/>
                </a:lnTo>
                <a:lnTo>
                  <a:pt x="3040" y="520"/>
                </a:lnTo>
                <a:lnTo>
                  <a:pt x="3034" y="498"/>
                </a:lnTo>
                <a:lnTo>
                  <a:pt x="3026" y="476"/>
                </a:lnTo>
                <a:lnTo>
                  <a:pt x="3014" y="456"/>
                </a:lnTo>
                <a:lnTo>
                  <a:pt x="3002" y="436"/>
                </a:lnTo>
                <a:lnTo>
                  <a:pt x="2986" y="416"/>
                </a:lnTo>
                <a:lnTo>
                  <a:pt x="2968" y="398"/>
                </a:lnTo>
                <a:lnTo>
                  <a:pt x="2948" y="382"/>
                </a:lnTo>
                <a:lnTo>
                  <a:pt x="2924" y="370"/>
                </a:lnTo>
                <a:lnTo>
                  <a:pt x="2900" y="358"/>
                </a:lnTo>
                <a:lnTo>
                  <a:pt x="2870" y="348"/>
                </a:lnTo>
                <a:lnTo>
                  <a:pt x="2838" y="340"/>
                </a:lnTo>
                <a:lnTo>
                  <a:pt x="2804" y="336"/>
                </a:lnTo>
                <a:lnTo>
                  <a:pt x="2766" y="334"/>
                </a:lnTo>
                <a:lnTo>
                  <a:pt x="2578" y="334"/>
                </a:lnTo>
                <a:lnTo>
                  <a:pt x="2538" y="336"/>
                </a:lnTo>
                <a:lnTo>
                  <a:pt x="2502" y="340"/>
                </a:lnTo>
                <a:lnTo>
                  <a:pt x="2470" y="348"/>
                </a:lnTo>
                <a:lnTo>
                  <a:pt x="2440" y="358"/>
                </a:lnTo>
                <a:lnTo>
                  <a:pt x="2414" y="370"/>
                </a:lnTo>
                <a:lnTo>
                  <a:pt x="2390" y="384"/>
                </a:lnTo>
                <a:lnTo>
                  <a:pt x="2370" y="402"/>
                </a:lnTo>
                <a:lnTo>
                  <a:pt x="2352" y="418"/>
                </a:lnTo>
                <a:lnTo>
                  <a:pt x="2338" y="438"/>
                </a:lnTo>
                <a:lnTo>
                  <a:pt x="2326" y="458"/>
                </a:lnTo>
                <a:lnTo>
                  <a:pt x="2314" y="480"/>
                </a:lnTo>
                <a:lnTo>
                  <a:pt x="2306" y="500"/>
                </a:lnTo>
                <a:lnTo>
                  <a:pt x="2300" y="524"/>
                </a:lnTo>
                <a:lnTo>
                  <a:pt x="2296" y="546"/>
                </a:lnTo>
                <a:lnTo>
                  <a:pt x="2294" y="568"/>
                </a:lnTo>
                <a:lnTo>
                  <a:pt x="2294" y="590"/>
                </a:lnTo>
                <a:lnTo>
                  <a:pt x="2294" y="608"/>
                </a:lnTo>
                <a:lnTo>
                  <a:pt x="2296" y="630"/>
                </a:lnTo>
                <a:lnTo>
                  <a:pt x="2300" y="650"/>
                </a:lnTo>
                <a:lnTo>
                  <a:pt x="2306" y="672"/>
                </a:lnTo>
                <a:lnTo>
                  <a:pt x="2314" y="694"/>
                </a:lnTo>
                <a:lnTo>
                  <a:pt x="2324" y="714"/>
                </a:lnTo>
                <a:lnTo>
                  <a:pt x="2336" y="736"/>
                </a:lnTo>
                <a:lnTo>
                  <a:pt x="2350" y="754"/>
                </a:lnTo>
                <a:lnTo>
                  <a:pt x="2368" y="774"/>
                </a:lnTo>
                <a:lnTo>
                  <a:pt x="2388" y="790"/>
                </a:lnTo>
                <a:lnTo>
                  <a:pt x="2412" y="806"/>
                </a:lnTo>
                <a:lnTo>
                  <a:pt x="2438" y="818"/>
                </a:lnTo>
                <a:lnTo>
                  <a:pt x="2468" y="830"/>
                </a:lnTo>
                <a:lnTo>
                  <a:pt x="2500" y="838"/>
                </a:lnTo>
                <a:lnTo>
                  <a:pt x="2538" y="842"/>
                </a:lnTo>
                <a:lnTo>
                  <a:pt x="2578" y="8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endParaRPr lang="en-GB" sz="1800" b="0" dirty="0">
              <a:solidFill>
                <a:srgbClr val="071D49"/>
              </a:solidFill>
              <a:latin typeface="Calibri"/>
              <a:ea typeface="ＭＳ Ｐゴシック" panose="020B0600070205080204" pitchFamily="34" charset="-128"/>
              <a:cs typeface="+mn-cs"/>
            </a:endParaRPr>
          </a:p>
        </p:txBody>
      </p:sp>
      <p:pic>
        <p:nvPicPr>
          <p:cNvPr id="5"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29266" y="0"/>
            <a:ext cx="475773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reeform 10"/>
          <p:cNvSpPr>
            <a:spLocks/>
          </p:cNvSpPr>
          <p:nvPr/>
        </p:nvSpPr>
        <p:spPr bwMode="gray">
          <a:xfrm>
            <a:off x="5141717" y="1530352"/>
            <a:ext cx="141089" cy="3797300"/>
          </a:xfrm>
          <a:custGeom>
            <a:avLst/>
            <a:gdLst>
              <a:gd name="T0" fmla="*/ 0 w 94692"/>
              <a:gd name="T1" fmla="*/ 0 h 3865545"/>
              <a:gd name="T2" fmla="*/ 0 w 94692"/>
              <a:gd name="T3" fmla="*/ 0 h 3865545"/>
              <a:gd name="T4" fmla="*/ 124765 w 94692"/>
              <a:gd name="T5" fmla="*/ 0 h 3865545"/>
              <a:gd name="T6" fmla="*/ 124765 w 94692"/>
              <a:gd name="T7" fmla="*/ 3797010 h 3865545"/>
              <a:gd name="T8" fmla="*/ 0 w 94692"/>
              <a:gd name="T9" fmla="*/ 3797010 h 3865545"/>
              <a:gd name="T10" fmla="*/ 0 w 94692"/>
              <a:gd name="T11" fmla="*/ 3797010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accent5"/>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fontAlgn="auto">
              <a:spcBef>
                <a:spcPts val="0"/>
              </a:spcBef>
              <a:spcAft>
                <a:spcPts val="0"/>
              </a:spcAft>
              <a:defRPr/>
            </a:pPr>
            <a:endParaRPr lang="en-US" sz="1800" b="0" dirty="0">
              <a:solidFill>
                <a:srgbClr val="071D49"/>
              </a:solidFill>
              <a:latin typeface="Calibri"/>
              <a:ea typeface="ＭＳ Ｐゴシック" panose="020B0600070205080204" pitchFamily="34" charset="-128"/>
              <a:cs typeface="+mn-cs"/>
            </a:endParaRPr>
          </a:p>
        </p:txBody>
      </p:sp>
      <p:sp>
        <p:nvSpPr>
          <p:cNvPr id="4115" name="Rectangle 19"/>
          <p:cNvSpPr>
            <a:spLocks noGrp="1" noChangeArrowheads="1"/>
          </p:cNvSpPr>
          <p:nvPr>
            <p:ph type="ctrTitle"/>
          </p:nvPr>
        </p:nvSpPr>
        <p:spPr>
          <a:xfrm>
            <a:off x="570649" y="1657885"/>
            <a:ext cx="4636493" cy="2220218"/>
          </a:xfrm>
        </p:spPr>
        <p:txBody>
          <a:bodyPr/>
          <a:lstStyle>
            <a:lvl1pPr>
              <a:lnSpc>
                <a:spcPct val="100000"/>
              </a:lnSpc>
              <a:defRPr sz="3200">
                <a:solidFill>
                  <a:schemeClr val="accent5"/>
                </a:solidFill>
              </a:defRPr>
            </a:lvl1pPr>
          </a:lstStyle>
          <a:p>
            <a:r>
              <a:rPr lang="en-US"/>
              <a:t>Click to edit Master title style</a:t>
            </a:r>
            <a:endParaRPr lang="en-US" dirty="0"/>
          </a:p>
        </p:txBody>
      </p:sp>
      <p:sp>
        <p:nvSpPr>
          <p:cNvPr id="4116" name="Rectangle 20"/>
          <p:cNvSpPr>
            <a:spLocks noGrp="1" noChangeArrowheads="1"/>
          </p:cNvSpPr>
          <p:nvPr>
            <p:ph type="subTitle" idx="1"/>
          </p:nvPr>
        </p:nvSpPr>
        <p:spPr>
          <a:xfrm>
            <a:off x="581466" y="4075358"/>
            <a:ext cx="4657482" cy="336223"/>
          </a:xfrm>
        </p:spPr>
        <p:txBody>
          <a:bodyPr/>
          <a:lstStyle>
            <a:lvl1pPr marL="0" indent="0">
              <a:lnSpc>
                <a:spcPct val="100000"/>
              </a:lnSpc>
              <a:spcAft>
                <a:spcPct val="0"/>
              </a:spcAft>
              <a:buFontTx/>
              <a:buNone/>
              <a:defRPr sz="1400">
                <a:solidFill>
                  <a:srgbClr val="000000"/>
                </a:solidFill>
              </a:defRPr>
            </a:lvl1pPr>
          </a:lstStyle>
          <a:p>
            <a:r>
              <a:rPr lang="en-US"/>
              <a:t>Click to edit Master subtitle style</a:t>
            </a:r>
            <a:endParaRPr lang="en-US" dirty="0"/>
          </a:p>
        </p:txBody>
      </p:sp>
    </p:spTree>
    <p:extLst>
      <p:ext uri="{BB962C8B-B14F-4D97-AF65-F5344CB8AC3E}">
        <p14:creationId xmlns:p14="http://schemas.microsoft.com/office/powerpoint/2010/main" val="3707365432"/>
      </p:ext>
    </p:extLst>
  </p:cSld>
  <p:clrMapOvr>
    <a:overrideClrMapping bg1="lt1" tx1="dk1" bg2="lt2" tx2="dk2" accent1="accent1" accent2="accent2" accent3="accent3" accent4="accent4" accent5="accent5" accent6="accent6" hlink="hlink" folHlink="folHlink"/>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lternate 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5359574" y="785606"/>
            <a:ext cx="65" cy="338554"/>
          </a:xfrm>
          <a:prstGeom prst="rect">
            <a:avLst/>
          </a:prstGeom>
          <a:solidFill>
            <a:schemeClr val="bg1"/>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a:defRPr>
                <a:solidFill>
                  <a:schemeClr val="tx1"/>
                </a:solidFill>
                <a:latin typeface="Calibri" panose="020F0502020204030204" pitchFamily="34" charset="0"/>
                <a:ea typeface="ＭＳ Ｐゴシック" panose="020B0600070205080204" pitchFamily="34" charset="-128"/>
              </a:defRPr>
            </a:lvl1pPr>
            <a:lvl2pPr marL="742950" indent="-285750">
              <a:defRPr>
                <a:solidFill>
                  <a:schemeClr val="tx1"/>
                </a:solidFill>
                <a:latin typeface="Calibri" panose="020F0502020204030204" pitchFamily="34" charset="0"/>
                <a:ea typeface="ＭＳ Ｐゴシック" panose="020B0600070205080204" pitchFamily="34" charset="-128"/>
              </a:defRPr>
            </a:lvl2pPr>
            <a:lvl3pPr marL="1143000" indent="-228600">
              <a:defRPr>
                <a:solidFill>
                  <a:schemeClr val="tx1"/>
                </a:solidFill>
                <a:latin typeface="Calibri" panose="020F0502020204030204" pitchFamily="34" charset="0"/>
                <a:ea typeface="ＭＳ Ｐゴシック" panose="020B0600070205080204" pitchFamily="34" charset="-128"/>
              </a:defRPr>
            </a:lvl3pPr>
            <a:lvl4pPr marL="1600200" indent="-228600">
              <a:defRPr>
                <a:solidFill>
                  <a:schemeClr val="tx1"/>
                </a:solidFill>
                <a:latin typeface="Calibri" panose="020F0502020204030204" pitchFamily="34" charset="0"/>
                <a:ea typeface="ＭＳ Ｐゴシック" panose="020B0600070205080204" pitchFamily="34" charset="-128"/>
              </a:defRPr>
            </a:lvl4pPr>
            <a:lvl5pPr marL="2057400" indent="-228600">
              <a:defRPr>
                <a:solidFill>
                  <a:schemeClr val="tx1"/>
                </a:solidFill>
                <a:latin typeface="Calibri" panose="020F0502020204030204" pitchFamily="34" charset="0"/>
                <a:ea typeface="ＭＳ Ｐゴシック" panose="020B0600070205080204" pitchFamily="34" charset="-128"/>
              </a:defRPr>
            </a:lvl5pPr>
            <a:lvl6pPr marL="2514600" indent="-228600" fontAlgn="base">
              <a:spcBef>
                <a:spcPct val="0"/>
              </a:spcBef>
              <a:spcAft>
                <a:spcPct val="0"/>
              </a:spcAft>
              <a:defRPr>
                <a:solidFill>
                  <a:schemeClr val="tx1"/>
                </a:solidFill>
                <a:latin typeface="Calibri" panose="020F0502020204030204" pitchFamily="34" charset="0"/>
                <a:ea typeface="ＭＳ Ｐゴシック" panose="020B0600070205080204" pitchFamily="34" charset="-128"/>
              </a:defRPr>
            </a:lvl6pPr>
            <a:lvl7pPr marL="2971800" indent="-228600" fontAlgn="base">
              <a:spcBef>
                <a:spcPct val="0"/>
              </a:spcBef>
              <a:spcAft>
                <a:spcPct val="0"/>
              </a:spcAft>
              <a:defRPr>
                <a:solidFill>
                  <a:schemeClr val="tx1"/>
                </a:solidFill>
                <a:latin typeface="Calibri" panose="020F0502020204030204" pitchFamily="34" charset="0"/>
                <a:ea typeface="ＭＳ Ｐゴシック" panose="020B0600070205080204" pitchFamily="34" charset="-128"/>
              </a:defRPr>
            </a:lvl7pPr>
            <a:lvl8pPr marL="3429000" indent="-228600" fontAlgn="base">
              <a:spcBef>
                <a:spcPct val="0"/>
              </a:spcBef>
              <a:spcAft>
                <a:spcPct val="0"/>
              </a:spcAft>
              <a:defRPr>
                <a:solidFill>
                  <a:schemeClr val="tx1"/>
                </a:solidFill>
                <a:latin typeface="Calibri" panose="020F0502020204030204" pitchFamily="34" charset="0"/>
                <a:ea typeface="ＭＳ Ｐゴシック" panose="020B0600070205080204" pitchFamily="34" charset="-128"/>
              </a:defRPr>
            </a:lvl8pPr>
            <a:lvl9pPr marL="3886200" indent="-228600" fontAlgn="base">
              <a:spcBef>
                <a:spcPct val="0"/>
              </a:spcBef>
              <a:spcAft>
                <a:spcPct val="0"/>
              </a:spcAft>
              <a:defRPr>
                <a:solidFill>
                  <a:schemeClr val="tx1"/>
                </a:solidFill>
                <a:latin typeface="Calibri" panose="020F0502020204030204" pitchFamily="34" charset="0"/>
                <a:ea typeface="ＭＳ Ｐゴシック" panose="020B0600070205080204" pitchFamily="34" charset="-128"/>
              </a:defRPr>
            </a:lvl9pPr>
          </a:lstStyle>
          <a:p>
            <a:pPr algn="ctr">
              <a:spcBef>
                <a:spcPct val="50000"/>
              </a:spcBef>
              <a:spcAft>
                <a:spcPct val="50000"/>
              </a:spcAft>
              <a:defRPr/>
            </a:pPr>
            <a:endParaRPr lang="en-GB" altLang="en-US" sz="2200" b="0" dirty="0">
              <a:solidFill>
                <a:srgbClr val="071D49"/>
              </a:solidFill>
              <a:latin typeface="Arial" panose="020B0604020202020204" pitchFamily="34" charset="0"/>
              <a:cs typeface="+mn-cs"/>
            </a:endParaRPr>
          </a:p>
        </p:txBody>
      </p:sp>
      <p:sp>
        <p:nvSpPr>
          <p:cNvPr id="7" name="Text Placeholder 6"/>
          <p:cNvSpPr>
            <a:spLocks noGrp="1"/>
          </p:cNvSpPr>
          <p:nvPr>
            <p:ph type="body" sz="quarter" idx="10"/>
          </p:nvPr>
        </p:nvSpPr>
        <p:spPr>
          <a:xfrm>
            <a:off x="992987" y="2079630"/>
            <a:ext cx="8301038" cy="1349375"/>
          </a:xfrm>
        </p:spPr>
        <p:txBody>
          <a:bodyPr anchor="b"/>
          <a:lstStyle>
            <a:lvl1pPr marL="0" indent="0" algn="ctr">
              <a:spcBef>
                <a:spcPts val="0"/>
              </a:spcBef>
              <a:spcAft>
                <a:spcPts val="0"/>
              </a:spcAft>
              <a:buNone/>
              <a:defRPr sz="3200" b="1">
                <a:solidFill>
                  <a:schemeClr val="tx1"/>
                </a:solidFill>
              </a:defRPr>
            </a:lvl1pPr>
            <a:lvl2pPr marL="231775" indent="0" algn="ctr">
              <a:buNone/>
              <a:defRPr/>
            </a:lvl2pPr>
            <a:lvl3pPr marL="449262" indent="0" algn="ctr">
              <a:buNone/>
              <a:defRPr/>
            </a:lvl3pPr>
            <a:lvl4pPr marL="688975" indent="0" algn="ctr">
              <a:buNone/>
              <a:defRPr/>
            </a:lvl4pPr>
            <a:lvl5pPr marL="915987" indent="0" algn="ctr">
              <a:buNone/>
              <a:defRPr/>
            </a:lvl5pPr>
          </a:lstStyle>
          <a:p>
            <a:pPr lvl="0"/>
            <a:r>
              <a:rPr lang="en-US" dirty="0"/>
              <a:t>Click to edit Master text styles</a:t>
            </a:r>
          </a:p>
        </p:txBody>
      </p:sp>
      <p:sp>
        <p:nvSpPr>
          <p:cNvPr id="8" name="Text Placeholder 6"/>
          <p:cNvSpPr>
            <a:spLocks noGrp="1"/>
          </p:cNvSpPr>
          <p:nvPr>
            <p:ph type="body" sz="quarter" idx="11"/>
          </p:nvPr>
        </p:nvSpPr>
        <p:spPr>
          <a:xfrm>
            <a:off x="992987" y="3505022"/>
            <a:ext cx="8301038" cy="1349375"/>
          </a:xfrm>
        </p:spPr>
        <p:txBody>
          <a:bodyPr/>
          <a:lstStyle>
            <a:lvl1pPr marL="0" indent="0" algn="ctr">
              <a:spcBef>
                <a:spcPts val="0"/>
              </a:spcBef>
              <a:spcAft>
                <a:spcPts val="0"/>
              </a:spcAft>
              <a:buNone/>
              <a:defRPr sz="2000" b="0">
                <a:solidFill>
                  <a:schemeClr val="bg1">
                    <a:lumMod val="50000"/>
                  </a:schemeClr>
                </a:solidFill>
              </a:defRPr>
            </a:lvl1pPr>
            <a:lvl2pPr marL="231775" indent="0" algn="ctr">
              <a:buNone/>
              <a:defRPr/>
            </a:lvl2pPr>
            <a:lvl3pPr marL="449262" indent="0" algn="ctr">
              <a:buNone/>
              <a:defRPr/>
            </a:lvl3pPr>
            <a:lvl4pPr marL="688975" indent="0" algn="ctr">
              <a:buNone/>
              <a:defRPr/>
            </a:lvl4pPr>
            <a:lvl5pPr marL="915987" indent="0" algn="ctr">
              <a:buNone/>
              <a:defRPr/>
            </a:lvl5pPr>
          </a:lstStyle>
          <a:p>
            <a:pPr lvl="0"/>
            <a:r>
              <a:rPr lang="en-US" dirty="0"/>
              <a:t>Click to edit Master text styles</a:t>
            </a:r>
          </a:p>
        </p:txBody>
      </p:sp>
    </p:spTree>
    <p:extLst>
      <p:ext uri="{BB962C8B-B14F-4D97-AF65-F5344CB8AC3E}">
        <p14:creationId xmlns:p14="http://schemas.microsoft.com/office/powerpoint/2010/main" val="293683261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5AC303E-1D06-472F-9EFD-E80F3E2D4E83}" type="slidenum">
              <a:rPr lang="el-GR"/>
              <a:pPr>
                <a:defRPr/>
              </a:pPr>
              <a:t>‹#›</a:t>
            </a:fld>
            <a:endParaRPr lang="el-GR"/>
          </a:p>
        </p:txBody>
      </p:sp>
    </p:spTree>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Section Slide">
    <p:bg bwMode="gray">
      <p:bgPr>
        <a:solidFill>
          <a:srgbClr val="000000"/>
        </a:solidFill>
        <a:effectLst/>
      </p:bgPr>
    </p:bg>
    <p:spTree>
      <p:nvGrpSpPr>
        <p:cNvPr id="1" name=""/>
        <p:cNvGrpSpPr/>
        <p:nvPr/>
      </p:nvGrpSpPr>
      <p:grpSpPr>
        <a:xfrm>
          <a:off x="0" y="0"/>
          <a:ext cx="0" cy="0"/>
          <a:chOff x="0" y="0"/>
          <a:chExt cx="0" cy="0"/>
        </a:xfrm>
      </p:grpSpPr>
      <p:sp>
        <p:nvSpPr>
          <p:cNvPr id="4" name="Freeform 5"/>
          <p:cNvSpPr>
            <a:spLocks noEditPoints="1"/>
          </p:cNvSpPr>
          <p:nvPr/>
        </p:nvSpPr>
        <p:spPr bwMode="auto">
          <a:xfrm>
            <a:off x="594717" y="485781"/>
            <a:ext cx="1555551" cy="239713"/>
          </a:xfrm>
          <a:custGeom>
            <a:avLst/>
            <a:gdLst>
              <a:gd name="T0" fmla="*/ 2147483646 w 5472"/>
              <a:gd name="T1" fmla="*/ 2147483646 h 952"/>
              <a:gd name="T2" fmla="*/ 2147483646 w 5472"/>
              <a:gd name="T3" fmla="*/ 2147483646 h 952"/>
              <a:gd name="T4" fmla="*/ 2147483646 w 5472"/>
              <a:gd name="T5" fmla="*/ 2147483646 h 952"/>
              <a:gd name="T6" fmla="*/ 2147483646 w 5472"/>
              <a:gd name="T7" fmla="*/ 2147483646 h 952"/>
              <a:gd name="T8" fmla="*/ 2147483646 w 5472"/>
              <a:gd name="T9" fmla="*/ 2147483646 h 952"/>
              <a:gd name="T10" fmla="*/ 2147483646 w 5472"/>
              <a:gd name="T11" fmla="*/ 2147483646 h 952"/>
              <a:gd name="T12" fmla="*/ 2147483646 w 5472"/>
              <a:gd name="T13" fmla="*/ 2147483646 h 952"/>
              <a:gd name="T14" fmla="*/ 2147483646 w 5472"/>
              <a:gd name="T15" fmla="*/ 2147483646 h 952"/>
              <a:gd name="T16" fmla="*/ 2147483646 w 5472"/>
              <a:gd name="T17" fmla="*/ 2147483646 h 952"/>
              <a:gd name="T18" fmla="*/ 2147483646 w 5472"/>
              <a:gd name="T19" fmla="*/ 2147483646 h 952"/>
              <a:gd name="T20" fmla="*/ 2147483646 w 5472"/>
              <a:gd name="T21" fmla="*/ 2147483646 h 952"/>
              <a:gd name="T22" fmla="*/ 2147483646 w 5472"/>
              <a:gd name="T23" fmla="*/ 2147483646 h 952"/>
              <a:gd name="T24" fmla="*/ 2147483646 w 5472"/>
              <a:gd name="T25" fmla="*/ 2147483646 h 952"/>
              <a:gd name="T26" fmla="*/ 2147483646 w 5472"/>
              <a:gd name="T27" fmla="*/ 2147483646 h 952"/>
              <a:gd name="T28" fmla="*/ 2147483646 w 5472"/>
              <a:gd name="T29" fmla="*/ 2147483646 h 952"/>
              <a:gd name="T30" fmla="*/ 2147483646 w 5472"/>
              <a:gd name="T31" fmla="*/ 2147483646 h 952"/>
              <a:gd name="T32" fmla="*/ 2147483646 w 5472"/>
              <a:gd name="T33" fmla="*/ 2147483646 h 952"/>
              <a:gd name="T34" fmla="*/ 2147483646 w 5472"/>
              <a:gd name="T35" fmla="*/ 2147483646 h 952"/>
              <a:gd name="T36" fmla="*/ 2147483646 w 5472"/>
              <a:gd name="T37" fmla="*/ 2147483646 h 952"/>
              <a:gd name="T38" fmla="*/ 2147483646 w 5472"/>
              <a:gd name="T39" fmla="*/ 2147483646 h 952"/>
              <a:gd name="T40" fmla="*/ 2147483646 w 5472"/>
              <a:gd name="T41" fmla="*/ 2147483646 h 952"/>
              <a:gd name="T42" fmla="*/ 2147483646 w 5472"/>
              <a:gd name="T43" fmla="*/ 2147483646 h 952"/>
              <a:gd name="T44" fmla="*/ 2147483646 w 5472"/>
              <a:gd name="T45" fmla="*/ 2147483646 h 952"/>
              <a:gd name="T46" fmla="*/ 2147483646 w 5472"/>
              <a:gd name="T47" fmla="*/ 2147483646 h 952"/>
              <a:gd name="T48" fmla="*/ 2147483646 w 5472"/>
              <a:gd name="T49" fmla="*/ 2147483646 h 952"/>
              <a:gd name="T50" fmla="*/ 2147483646 w 5472"/>
              <a:gd name="T51" fmla="*/ 2147483646 h 952"/>
              <a:gd name="T52" fmla="*/ 2147483646 w 5472"/>
              <a:gd name="T53" fmla="*/ 2147483646 h 952"/>
              <a:gd name="T54" fmla="*/ 2147483646 w 5472"/>
              <a:gd name="T55" fmla="*/ 2147483646 h 952"/>
              <a:gd name="T56" fmla="*/ 2147483646 w 5472"/>
              <a:gd name="T57" fmla="*/ 2147483646 h 952"/>
              <a:gd name="T58" fmla="*/ 2147483646 w 5472"/>
              <a:gd name="T59" fmla="*/ 2147483646 h 952"/>
              <a:gd name="T60" fmla="*/ 2147483646 w 5472"/>
              <a:gd name="T61" fmla="*/ 2147483646 h 952"/>
              <a:gd name="T62" fmla="*/ 2147483646 w 5472"/>
              <a:gd name="T63" fmla="*/ 2147483646 h 952"/>
              <a:gd name="T64" fmla="*/ 2147483646 w 5472"/>
              <a:gd name="T65" fmla="*/ 2147483646 h 952"/>
              <a:gd name="T66" fmla="*/ 2147483646 w 5472"/>
              <a:gd name="T67" fmla="*/ 2147483646 h 952"/>
              <a:gd name="T68" fmla="*/ 2147483646 w 5472"/>
              <a:gd name="T69" fmla="*/ 2147483646 h 952"/>
              <a:gd name="T70" fmla="*/ 2147483646 w 5472"/>
              <a:gd name="T71" fmla="*/ 2147483646 h 952"/>
              <a:gd name="T72" fmla="*/ 2147483646 w 5472"/>
              <a:gd name="T73" fmla="*/ 2147483646 h 952"/>
              <a:gd name="T74" fmla="*/ 2147483646 w 5472"/>
              <a:gd name="T75" fmla="*/ 2147483646 h 952"/>
              <a:gd name="T76" fmla="*/ 2147483646 w 5472"/>
              <a:gd name="T77" fmla="*/ 2147483646 h 952"/>
              <a:gd name="T78" fmla="*/ 2147483646 w 5472"/>
              <a:gd name="T79" fmla="*/ 2147483646 h 952"/>
              <a:gd name="T80" fmla="*/ 2147483646 w 5472"/>
              <a:gd name="T81" fmla="*/ 2147483646 h 952"/>
              <a:gd name="T82" fmla="*/ 2147483646 w 5472"/>
              <a:gd name="T83" fmla="*/ 0 h 952"/>
              <a:gd name="T84" fmla="*/ 2147483646 w 5472"/>
              <a:gd name="T85" fmla="*/ 2147483646 h 952"/>
              <a:gd name="T86" fmla="*/ 2147483646 w 5472"/>
              <a:gd name="T87" fmla="*/ 2147483646 h 952"/>
              <a:gd name="T88" fmla="*/ 2147483646 w 5472"/>
              <a:gd name="T89" fmla="*/ 2147483646 h 952"/>
              <a:gd name="T90" fmla="*/ 2147483646 w 5472"/>
              <a:gd name="T91" fmla="*/ 2147483646 h 952"/>
              <a:gd name="T92" fmla="*/ 2147483646 w 5472"/>
              <a:gd name="T93" fmla="*/ 2147483646 h 952"/>
              <a:gd name="T94" fmla="*/ 2147483646 w 5472"/>
              <a:gd name="T95" fmla="*/ 2147483646 h 952"/>
              <a:gd name="T96" fmla="*/ 2147483646 w 5472"/>
              <a:gd name="T97" fmla="*/ 2147483646 h 952"/>
              <a:gd name="T98" fmla="*/ 2147483646 w 5472"/>
              <a:gd name="T99" fmla="*/ 2147483646 h 952"/>
              <a:gd name="T100" fmla="*/ 2147483646 w 5472"/>
              <a:gd name="T101" fmla="*/ 2147483646 h 952"/>
              <a:gd name="T102" fmla="*/ 2147483646 w 5472"/>
              <a:gd name="T103" fmla="*/ 2147483646 h 952"/>
              <a:gd name="T104" fmla="*/ 2147483646 w 5472"/>
              <a:gd name="T105" fmla="*/ 2147483646 h 952"/>
              <a:gd name="T106" fmla="*/ 2147483646 w 5472"/>
              <a:gd name="T107" fmla="*/ 2147483646 h 952"/>
              <a:gd name="T108" fmla="*/ 2147483646 w 5472"/>
              <a:gd name="T109" fmla="*/ 0 h 952"/>
              <a:gd name="T110" fmla="*/ 2147483646 w 5472"/>
              <a:gd name="T111" fmla="*/ 2147483646 h 952"/>
              <a:gd name="T112" fmla="*/ 2147483646 w 5472"/>
              <a:gd name="T113" fmla="*/ 2147483646 h 952"/>
              <a:gd name="T114" fmla="*/ 2147483646 w 5472"/>
              <a:gd name="T115" fmla="*/ 2147483646 h 952"/>
              <a:gd name="T116" fmla="*/ 2147483646 w 5472"/>
              <a:gd name="T117" fmla="*/ 2147483646 h 952"/>
              <a:gd name="T118" fmla="*/ 2147483646 w 5472"/>
              <a:gd name="T119" fmla="*/ 2147483646 h 952"/>
              <a:gd name="T120" fmla="*/ 2147483646 w 5472"/>
              <a:gd name="T121" fmla="*/ 2147483646 h 952"/>
              <a:gd name="T122" fmla="*/ 2147483646 w 5472"/>
              <a:gd name="T123" fmla="*/ 2147483646 h 95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2" h="952">
                <a:moveTo>
                  <a:pt x="5454" y="922"/>
                </a:moveTo>
                <a:lnTo>
                  <a:pt x="5454" y="922"/>
                </a:lnTo>
                <a:lnTo>
                  <a:pt x="5452" y="902"/>
                </a:lnTo>
                <a:lnTo>
                  <a:pt x="5448" y="886"/>
                </a:lnTo>
                <a:lnTo>
                  <a:pt x="5440" y="872"/>
                </a:lnTo>
                <a:lnTo>
                  <a:pt x="5430" y="862"/>
                </a:lnTo>
                <a:lnTo>
                  <a:pt x="5418" y="854"/>
                </a:lnTo>
                <a:lnTo>
                  <a:pt x="5402" y="848"/>
                </a:lnTo>
                <a:lnTo>
                  <a:pt x="5384" y="844"/>
                </a:lnTo>
                <a:lnTo>
                  <a:pt x="5364" y="844"/>
                </a:lnTo>
                <a:lnTo>
                  <a:pt x="4946" y="844"/>
                </a:lnTo>
                <a:lnTo>
                  <a:pt x="4910" y="842"/>
                </a:lnTo>
                <a:lnTo>
                  <a:pt x="4878" y="838"/>
                </a:lnTo>
                <a:lnTo>
                  <a:pt x="4848" y="832"/>
                </a:lnTo>
                <a:lnTo>
                  <a:pt x="4820" y="824"/>
                </a:lnTo>
                <a:lnTo>
                  <a:pt x="4796" y="814"/>
                </a:lnTo>
                <a:lnTo>
                  <a:pt x="4774" y="800"/>
                </a:lnTo>
                <a:lnTo>
                  <a:pt x="4754" y="788"/>
                </a:lnTo>
                <a:lnTo>
                  <a:pt x="4738" y="772"/>
                </a:lnTo>
                <a:lnTo>
                  <a:pt x="4722" y="756"/>
                </a:lnTo>
                <a:lnTo>
                  <a:pt x="4710" y="740"/>
                </a:lnTo>
                <a:lnTo>
                  <a:pt x="4698" y="724"/>
                </a:lnTo>
                <a:lnTo>
                  <a:pt x="4690" y="706"/>
                </a:lnTo>
                <a:lnTo>
                  <a:pt x="4682" y="688"/>
                </a:lnTo>
                <a:lnTo>
                  <a:pt x="4676" y="672"/>
                </a:lnTo>
                <a:lnTo>
                  <a:pt x="4674" y="654"/>
                </a:lnTo>
                <a:lnTo>
                  <a:pt x="4670" y="638"/>
                </a:lnTo>
                <a:lnTo>
                  <a:pt x="5252" y="638"/>
                </a:lnTo>
                <a:lnTo>
                  <a:pt x="5282" y="636"/>
                </a:lnTo>
                <a:lnTo>
                  <a:pt x="5310" y="632"/>
                </a:lnTo>
                <a:lnTo>
                  <a:pt x="5336" y="626"/>
                </a:lnTo>
                <a:lnTo>
                  <a:pt x="5358" y="618"/>
                </a:lnTo>
                <a:lnTo>
                  <a:pt x="5378" y="608"/>
                </a:lnTo>
                <a:lnTo>
                  <a:pt x="5396" y="596"/>
                </a:lnTo>
                <a:lnTo>
                  <a:pt x="5412" y="582"/>
                </a:lnTo>
                <a:lnTo>
                  <a:pt x="5426" y="568"/>
                </a:lnTo>
                <a:lnTo>
                  <a:pt x="5438" y="552"/>
                </a:lnTo>
                <a:lnTo>
                  <a:pt x="5448" y="536"/>
                </a:lnTo>
                <a:lnTo>
                  <a:pt x="5456" y="518"/>
                </a:lnTo>
                <a:lnTo>
                  <a:pt x="5462" y="502"/>
                </a:lnTo>
                <a:lnTo>
                  <a:pt x="5466" y="486"/>
                </a:lnTo>
                <a:lnTo>
                  <a:pt x="5470" y="468"/>
                </a:lnTo>
                <a:lnTo>
                  <a:pt x="5472" y="452"/>
                </a:lnTo>
                <a:lnTo>
                  <a:pt x="5472" y="438"/>
                </a:lnTo>
                <a:lnTo>
                  <a:pt x="5472" y="422"/>
                </a:lnTo>
                <a:lnTo>
                  <a:pt x="5470" y="404"/>
                </a:lnTo>
                <a:lnTo>
                  <a:pt x="5466" y="388"/>
                </a:lnTo>
                <a:lnTo>
                  <a:pt x="5460" y="370"/>
                </a:lnTo>
                <a:lnTo>
                  <a:pt x="5454" y="354"/>
                </a:lnTo>
                <a:lnTo>
                  <a:pt x="5446" y="336"/>
                </a:lnTo>
                <a:lnTo>
                  <a:pt x="5436" y="320"/>
                </a:lnTo>
                <a:lnTo>
                  <a:pt x="5424" y="306"/>
                </a:lnTo>
                <a:lnTo>
                  <a:pt x="5410" y="292"/>
                </a:lnTo>
                <a:lnTo>
                  <a:pt x="5394" y="278"/>
                </a:lnTo>
                <a:lnTo>
                  <a:pt x="5376" y="266"/>
                </a:lnTo>
                <a:lnTo>
                  <a:pt x="5356" y="256"/>
                </a:lnTo>
                <a:lnTo>
                  <a:pt x="5334" y="248"/>
                </a:lnTo>
                <a:lnTo>
                  <a:pt x="5310" y="242"/>
                </a:lnTo>
                <a:lnTo>
                  <a:pt x="5282" y="238"/>
                </a:lnTo>
                <a:lnTo>
                  <a:pt x="5252" y="236"/>
                </a:lnTo>
                <a:lnTo>
                  <a:pt x="4938" y="236"/>
                </a:lnTo>
                <a:lnTo>
                  <a:pt x="4886" y="238"/>
                </a:lnTo>
                <a:lnTo>
                  <a:pt x="4840" y="246"/>
                </a:lnTo>
                <a:lnTo>
                  <a:pt x="4796" y="256"/>
                </a:lnTo>
                <a:lnTo>
                  <a:pt x="4758" y="270"/>
                </a:lnTo>
                <a:lnTo>
                  <a:pt x="4724" y="286"/>
                </a:lnTo>
                <a:lnTo>
                  <a:pt x="4692" y="306"/>
                </a:lnTo>
                <a:lnTo>
                  <a:pt x="4664" y="328"/>
                </a:lnTo>
                <a:lnTo>
                  <a:pt x="4640" y="354"/>
                </a:lnTo>
                <a:lnTo>
                  <a:pt x="4620" y="380"/>
                </a:lnTo>
                <a:lnTo>
                  <a:pt x="4602" y="408"/>
                </a:lnTo>
                <a:lnTo>
                  <a:pt x="4588" y="438"/>
                </a:lnTo>
                <a:lnTo>
                  <a:pt x="4578" y="468"/>
                </a:lnTo>
                <a:lnTo>
                  <a:pt x="4568" y="498"/>
                </a:lnTo>
                <a:lnTo>
                  <a:pt x="4562" y="528"/>
                </a:lnTo>
                <a:lnTo>
                  <a:pt x="4560" y="560"/>
                </a:lnTo>
                <a:lnTo>
                  <a:pt x="4558" y="590"/>
                </a:lnTo>
                <a:lnTo>
                  <a:pt x="4560" y="622"/>
                </a:lnTo>
                <a:lnTo>
                  <a:pt x="4564" y="654"/>
                </a:lnTo>
                <a:lnTo>
                  <a:pt x="4570" y="686"/>
                </a:lnTo>
                <a:lnTo>
                  <a:pt x="4578" y="718"/>
                </a:lnTo>
                <a:lnTo>
                  <a:pt x="4592" y="748"/>
                </a:lnTo>
                <a:lnTo>
                  <a:pt x="4606" y="778"/>
                </a:lnTo>
                <a:lnTo>
                  <a:pt x="4624" y="804"/>
                </a:lnTo>
                <a:lnTo>
                  <a:pt x="4646" y="830"/>
                </a:lnTo>
                <a:lnTo>
                  <a:pt x="4670" y="854"/>
                </a:lnTo>
                <a:lnTo>
                  <a:pt x="4698" y="876"/>
                </a:lnTo>
                <a:lnTo>
                  <a:pt x="4728" y="896"/>
                </a:lnTo>
                <a:lnTo>
                  <a:pt x="4764" y="912"/>
                </a:lnTo>
                <a:lnTo>
                  <a:pt x="4802" y="924"/>
                </a:lnTo>
                <a:lnTo>
                  <a:pt x="4842" y="934"/>
                </a:lnTo>
                <a:lnTo>
                  <a:pt x="4888" y="940"/>
                </a:lnTo>
                <a:lnTo>
                  <a:pt x="4938" y="942"/>
                </a:lnTo>
                <a:lnTo>
                  <a:pt x="5454" y="942"/>
                </a:lnTo>
                <a:lnTo>
                  <a:pt x="5454" y="922"/>
                </a:lnTo>
                <a:close/>
                <a:moveTo>
                  <a:pt x="4946" y="334"/>
                </a:moveTo>
                <a:lnTo>
                  <a:pt x="4946" y="334"/>
                </a:lnTo>
                <a:lnTo>
                  <a:pt x="5238" y="334"/>
                </a:lnTo>
                <a:lnTo>
                  <a:pt x="5256" y="336"/>
                </a:lnTo>
                <a:lnTo>
                  <a:pt x="5272" y="338"/>
                </a:lnTo>
                <a:lnTo>
                  <a:pt x="5286" y="340"/>
                </a:lnTo>
                <a:lnTo>
                  <a:pt x="5300" y="344"/>
                </a:lnTo>
                <a:lnTo>
                  <a:pt x="5312" y="350"/>
                </a:lnTo>
                <a:lnTo>
                  <a:pt x="5322" y="356"/>
                </a:lnTo>
                <a:lnTo>
                  <a:pt x="5330" y="364"/>
                </a:lnTo>
                <a:lnTo>
                  <a:pt x="5338" y="370"/>
                </a:lnTo>
                <a:lnTo>
                  <a:pt x="5350" y="388"/>
                </a:lnTo>
                <a:lnTo>
                  <a:pt x="5358" y="404"/>
                </a:lnTo>
                <a:lnTo>
                  <a:pt x="5362" y="422"/>
                </a:lnTo>
                <a:lnTo>
                  <a:pt x="5362" y="438"/>
                </a:lnTo>
                <a:lnTo>
                  <a:pt x="5362" y="452"/>
                </a:lnTo>
                <a:lnTo>
                  <a:pt x="5358" y="468"/>
                </a:lnTo>
                <a:lnTo>
                  <a:pt x="5350" y="486"/>
                </a:lnTo>
                <a:lnTo>
                  <a:pt x="5338" y="502"/>
                </a:lnTo>
                <a:lnTo>
                  <a:pt x="5332" y="510"/>
                </a:lnTo>
                <a:lnTo>
                  <a:pt x="5322" y="518"/>
                </a:lnTo>
                <a:lnTo>
                  <a:pt x="5312" y="524"/>
                </a:lnTo>
                <a:lnTo>
                  <a:pt x="5300" y="530"/>
                </a:lnTo>
                <a:lnTo>
                  <a:pt x="5288" y="534"/>
                </a:lnTo>
                <a:lnTo>
                  <a:pt x="5272" y="538"/>
                </a:lnTo>
                <a:lnTo>
                  <a:pt x="5256" y="540"/>
                </a:lnTo>
                <a:lnTo>
                  <a:pt x="5238" y="540"/>
                </a:lnTo>
                <a:lnTo>
                  <a:pt x="4670" y="540"/>
                </a:lnTo>
                <a:lnTo>
                  <a:pt x="4676" y="512"/>
                </a:lnTo>
                <a:lnTo>
                  <a:pt x="4680" y="496"/>
                </a:lnTo>
                <a:lnTo>
                  <a:pt x="4688" y="478"/>
                </a:lnTo>
                <a:lnTo>
                  <a:pt x="4696" y="462"/>
                </a:lnTo>
                <a:lnTo>
                  <a:pt x="4706" y="444"/>
                </a:lnTo>
                <a:lnTo>
                  <a:pt x="4718" y="428"/>
                </a:lnTo>
                <a:lnTo>
                  <a:pt x="4732" y="412"/>
                </a:lnTo>
                <a:lnTo>
                  <a:pt x="4750" y="396"/>
                </a:lnTo>
                <a:lnTo>
                  <a:pt x="4768" y="382"/>
                </a:lnTo>
                <a:lnTo>
                  <a:pt x="4790" y="368"/>
                </a:lnTo>
                <a:lnTo>
                  <a:pt x="4816" y="356"/>
                </a:lnTo>
                <a:lnTo>
                  <a:pt x="4844" y="348"/>
                </a:lnTo>
                <a:lnTo>
                  <a:pt x="4874" y="340"/>
                </a:lnTo>
                <a:lnTo>
                  <a:pt x="4908" y="336"/>
                </a:lnTo>
                <a:lnTo>
                  <a:pt x="4946" y="334"/>
                </a:lnTo>
                <a:close/>
                <a:moveTo>
                  <a:pt x="3760" y="898"/>
                </a:moveTo>
                <a:lnTo>
                  <a:pt x="3760" y="898"/>
                </a:lnTo>
                <a:lnTo>
                  <a:pt x="3740" y="924"/>
                </a:lnTo>
                <a:lnTo>
                  <a:pt x="3730" y="932"/>
                </a:lnTo>
                <a:lnTo>
                  <a:pt x="3720" y="940"/>
                </a:lnTo>
                <a:lnTo>
                  <a:pt x="3712" y="946"/>
                </a:lnTo>
                <a:lnTo>
                  <a:pt x="3702" y="950"/>
                </a:lnTo>
                <a:lnTo>
                  <a:pt x="3694" y="952"/>
                </a:lnTo>
                <a:lnTo>
                  <a:pt x="3684" y="952"/>
                </a:lnTo>
                <a:lnTo>
                  <a:pt x="3670" y="952"/>
                </a:lnTo>
                <a:lnTo>
                  <a:pt x="3660" y="948"/>
                </a:lnTo>
                <a:lnTo>
                  <a:pt x="3650" y="944"/>
                </a:lnTo>
                <a:lnTo>
                  <a:pt x="3642" y="938"/>
                </a:lnTo>
                <a:lnTo>
                  <a:pt x="3634" y="930"/>
                </a:lnTo>
                <a:lnTo>
                  <a:pt x="3624" y="920"/>
                </a:lnTo>
                <a:lnTo>
                  <a:pt x="3606" y="898"/>
                </a:lnTo>
                <a:lnTo>
                  <a:pt x="3124" y="236"/>
                </a:lnTo>
                <a:lnTo>
                  <a:pt x="3188" y="236"/>
                </a:lnTo>
                <a:lnTo>
                  <a:pt x="3212" y="238"/>
                </a:lnTo>
                <a:lnTo>
                  <a:pt x="3232" y="240"/>
                </a:lnTo>
                <a:lnTo>
                  <a:pt x="3250" y="246"/>
                </a:lnTo>
                <a:lnTo>
                  <a:pt x="3264" y="254"/>
                </a:lnTo>
                <a:lnTo>
                  <a:pt x="3276" y="264"/>
                </a:lnTo>
                <a:lnTo>
                  <a:pt x="3286" y="274"/>
                </a:lnTo>
                <a:lnTo>
                  <a:pt x="3308" y="302"/>
                </a:lnTo>
                <a:lnTo>
                  <a:pt x="3686" y="836"/>
                </a:lnTo>
                <a:lnTo>
                  <a:pt x="4066" y="300"/>
                </a:lnTo>
                <a:lnTo>
                  <a:pt x="4086" y="274"/>
                </a:lnTo>
                <a:lnTo>
                  <a:pt x="4098" y="262"/>
                </a:lnTo>
                <a:lnTo>
                  <a:pt x="4110" y="254"/>
                </a:lnTo>
                <a:lnTo>
                  <a:pt x="4124" y="246"/>
                </a:lnTo>
                <a:lnTo>
                  <a:pt x="4140" y="240"/>
                </a:lnTo>
                <a:lnTo>
                  <a:pt x="4160" y="238"/>
                </a:lnTo>
                <a:lnTo>
                  <a:pt x="4184" y="236"/>
                </a:lnTo>
                <a:lnTo>
                  <a:pt x="4242" y="236"/>
                </a:lnTo>
                <a:lnTo>
                  <a:pt x="3760" y="898"/>
                </a:lnTo>
                <a:close/>
                <a:moveTo>
                  <a:pt x="1002" y="942"/>
                </a:moveTo>
                <a:lnTo>
                  <a:pt x="1002" y="942"/>
                </a:lnTo>
                <a:lnTo>
                  <a:pt x="986" y="940"/>
                </a:lnTo>
                <a:lnTo>
                  <a:pt x="972" y="938"/>
                </a:lnTo>
                <a:lnTo>
                  <a:pt x="960" y="932"/>
                </a:lnTo>
                <a:lnTo>
                  <a:pt x="948" y="926"/>
                </a:lnTo>
                <a:lnTo>
                  <a:pt x="938" y="916"/>
                </a:lnTo>
                <a:lnTo>
                  <a:pt x="932" y="904"/>
                </a:lnTo>
                <a:lnTo>
                  <a:pt x="926" y="890"/>
                </a:lnTo>
                <a:lnTo>
                  <a:pt x="922" y="874"/>
                </a:lnTo>
                <a:lnTo>
                  <a:pt x="906" y="796"/>
                </a:lnTo>
                <a:lnTo>
                  <a:pt x="894" y="816"/>
                </a:lnTo>
                <a:lnTo>
                  <a:pt x="876" y="838"/>
                </a:lnTo>
                <a:lnTo>
                  <a:pt x="850" y="862"/>
                </a:lnTo>
                <a:lnTo>
                  <a:pt x="836" y="874"/>
                </a:lnTo>
                <a:lnTo>
                  <a:pt x="818" y="886"/>
                </a:lnTo>
                <a:lnTo>
                  <a:pt x="798" y="898"/>
                </a:lnTo>
                <a:lnTo>
                  <a:pt x="778" y="908"/>
                </a:lnTo>
                <a:lnTo>
                  <a:pt x="754" y="918"/>
                </a:lnTo>
                <a:lnTo>
                  <a:pt x="728" y="926"/>
                </a:lnTo>
                <a:lnTo>
                  <a:pt x="700" y="932"/>
                </a:lnTo>
                <a:lnTo>
                  <a:pt x="670" y="938"/>
                </a:lnTo>
                <a:lnTo>
                  <a:pt x="638" y="940"/>
                </a:lnTo>
                <a:lnTo>
                  <a:pt x="604" y="942"/>
                </a:lnTo>
                <a:lnTo>
                  <a:pt x="384" y="942"/>
                </a:lnTo>
                <a:lnTo>
                  <a:pt x="356" y="942"/>
                </a:lnTo>
                <a:lnTo>
                  <a:pt x="330" y="940"/>
                </a:lnTo>
                <a:lnTo>
                  <a:pt x="306" y="936"/>
                </a:lnTo>
                <a:lnTo>
                  <a:pt x="282" y="932"/>
                </a:lnTo>
                <a:lnTo>
                  <a:pt x="258" y="928"/>
                </a:lnTo>
                <a:lnTo>
                  <a:pt x="238" y="922"/>
                </a:lnTo>
                <a:lnTo>
                  <a:pt x="198" y="908"/>
                </a:lnTo>
                <a:lnTo>
                  <a:pt x="162" y="890"/>
                </a:lnTo>
                <a:lnTo>
                  <a:pt x="130" y="870"/>
                </a:lnTo>
                <a:lnTo>
                  <a:pt x="104" y="846"/>
                </a:lnTo>
                <a:lnTo>
                  <a:pt x="80" y="822"/>
                </a:lnTo>
                <a:lnTo>
                  <a:pt x="60" y="794"/>
                </a:lnTo>
                <a:lnTo>
                  <a:pt x="42" y="766"/>
                </a:lnTo>
                <a:lnTo>
                  <a:pt x="28" y="738"/>
                </a:lnTo>
                <a:lnTo>
                  <a:pt x="18" y="708"/>
                </a:lnTo>
                <a:lnTo>
                  <a:pt x="10" y="678"/>
                </a:lnTo>
                <a:lnTo>
                  <a:pt x="4" y="648"/>
                </a:lnTo>
                <a:lnTo>
                  <a:pt x="2" y="618"/>
                </a:lnTo>
                <a:lnTo>
                  <a:pt x="0" y="590"/>
                </a:lnTo>
                <a:lnTo>
                  <a:pt x="2" y="558"/>
                </a:lnTo>
                <a:lnTo>
                  <a:pt x="4" y="526"/>
                </a:lnTo>
                <a:lnTo>
                  <a:pt x="12" y="494"/>
                </a:lnTo>
                <a:lnTo>
                  <a:pt x="20" y="462"/>
                </a:lnTo>
                <a:lnTo>
                  <a:pt x="32" y="432"/>
                </a:lnTo>
                <a:lnTo>
                  <a:pt x="46" y="404"/>
                </a:lnTo>
                <a:lnTo>
                  <a:pt x="64" y="376"/>
                </a:lnTo>
                <a:lnTo>
                  <a:pt x="86" y="350"/>
                </a:lnTo>
                <a:lnTo>
                  <a:pt x="110" y="326"/>
                </a:lnTo>
                <a:lnTo>
                  <a:pt x="138" y="304"/>
                </a:lnTo>
                <a:lnTo>
                  <a:pt x="170" y="284"/>
                </a:lnTo>
                <a:lnTo>
                  <a:pt x="204" y="268"/>
                </a:lnTo>
                <a:lnTo>
                  <a:pt x="244" y="254"/>
                </a:lnTo>
                <a:lnTo>
                  <a:pt x="286" y="244"/>
                </a:lnTo>
                <a:lnTo>
                  <a:pt x="332" y="238"/>
                </a:lnTo>
                <a:lnTo>
                  <a:pt x="384" y="236"/>
                </a:lnTo>
                <a:lnTo>
                  <a:pt x="604" y="236"/>
                </a:lnTo>
                <a:lnTo>
                  <a:pt x="642" y="238"/>
                </a:lnTo>
                <a:lnTo>
                  <a:pt x="680" y="242"/>
                </a:lnTo>
                <a:lnTo>
                  <a:pt x="714" y="248"/>
                </a:lnTo>
                <a:lnTo>
                  <a:pt x="746" y="258"/>
                </a:lnTo>
                <a:lnTo>
                  <a:pt x="776" y="270"/>
                </a:lnTo>
                <a:lnTo>
                  <a:pt x="804" y="284"/>
                </a:lnTo>
                <a:lnTo>
                  <a:pt x="830" y="300"/>
                </a:lnTo>
                <a:lnTo>
                  <a:pt x="854" y="318"/>
                </a:lnTo>
                <a:lnTo>
                  <a:pt x="876" y="338"/>
                </a:lnTo>
                <a:lnTo>
                  <a:pt x="894" y="358"/>
                </a:lnTo>
                <a:lnTo>
                  <a:pt x="912" y="382"/>
                </a:lnTo>
                <a:lnTo>
                  <a:pt x="926" y="406"/>
                </a:lnTo>
                <a:lnTo>
                  <a:pt x="940" y="432"/>
                </a:lnTo>
                <a:lnTo>
                  <a:pt x="950" y="458"/>
                </a:lnTo>
                <a:lnTo>
                  <a:pt x="958" y="484"/>
                </a:lnTo>
                <a:lnTo>
                  <a:pt x="966" y="514"/>
                </a:lnTo>
                <a:lnTo>
                  <a:pt x="1046" y="942"/>
                </a:lnTo>
                <a:lnTo>
                  <a:pt x="1002" y="942"/>
                </a:lnTo>
                <a:close/>
                <a:moveTo>
                  <a:pt x="580" y="334"/>
                </a:moveTo>
                <a:lnTo>
                  <a:pt x="580" y="334"/>
                </a:lnTo>
                <a:lnTo>
                  <a:pt x="392" y="334"/>
                </a:lnTo>
                <a:lnTo>
                  <a:pt x="354" y="336"/>
                </a:lnTo>
                <a:lnTo>
                  <a:pt x="318" y="340"/>
                </a:lnTo>
                <a:lnTo>
                  <a:pt x="286" y="348"/>
                </a:lnTo>
                <a:lnTo>
                  <a:pt x="258" y="358"/>
                </a:lnTo>
                <a:lnTo>
                  <a:pt x="232" y="370"/>
                </a:lnTo>
                <a:lnTo>
                  <a:pt x="210" y="384"/>
                </a:lnTo>
                <a:lnTo>
                  <a:pt x="188" y="400"/>
                </a:lnTo>
                <a:lnTo>
                  <a:pt x="170" y="416"/>
                </a:lnTo>
                <a:lnTo>
                  <a:pt x="156" y="436"/>
                </a:lnTo>
                <a:lnTo>
                  <a:pt x="142" y="456"/>
                </a:lnTo>
                <a:lnTo>
                  <a:pt x="132" y="476"/>
                </a:lnTo>
                <a:lnTo>
                  <a:pt x="122" y="498"/>
                </a:lnTo>
                <a:lnTo>
                  <a:pt x="116" y="520"/>
                </a:lnTo>
                <a:lnTo>
                  <a:pt x="112" y="544"/>
                </a:lnTo>
                <a:lnTo>
                  <a:pt x="110" y="566"/>
                </a:lnTo>
                <a:lnTo>
                  <a:pt x="108" y="590"/>
                </a:lnTo>
                <a:lnTo>
                  <a:pt x="110" y="612"/>
                </a:lnTo>
                <a:lnTo>
                  <a:pt x="112" y="636"/>
                </a:lnTo>
                <a:lnTo>
                  <a:pt x="116" y="658"/>
                </a:lnTo>
                <a:lnTo>
                  <a:pt x="122" y="680"/>
                </a:lnTo>
                <a:lnTo>
                  <a:pt x="132" y="702"/>
                </a:lnTo>
                <a:lnTo>
                  <a:pt x="142" y="724"/>
                </a:lnTo>
                <a:lnTo>
                  <a:pt x="156" y="744"/>
                </a:lnTo>
                <a:lnTo>
                  <a:pt x="170" y="762"/>
                </a:lnTo>
                <a:lnTo>
                  <a:pt x="188" y="780"/>
                </a:lnTo>
                <a:lnTo>
                  <a:pt x="210" y="796"/>
                </a:lnTo>
                <a:lnTo>
                  <a:pt x="232" y="810"/>
                </a:lnTo>
                <a:lnTo>
                  <a:pt x="258" y="822"/>
                </a:lnTo>
                <a:lnTo>
                  <a:pt x="286" y="830"/>
                </a:lnTo>
                <a:lnTo>
                  <a:pt x="318" y="838"/>
                </a:lnTo>
                <a:lnTo>
                  <a:pt x="354" y="842"/>
                </a:lnTo>
                <a:lnTo>
                  <a:pt x="392" y="844"/>
                </a:lnTo>
                <a:lnTo>
                  <a:pt x="580" y="844"/>
                </a:lnTo>
                <a:lnTo>
                  <a:pt x="618" y="842"/>
                </a:lnTo>
                <a:lnTo>
                  <a:pt x="654" y="838"/>
                </a:lnTo>
                <a:lnTo>
                  <a:pt x="688" y="830"/>
                </a:lnTo>
                <a:lnTo>
                  <a:pt x="716" y="820"/>
                </a:lnTo>
                <a:lnTo>
                  <a:pt x="744" y="808"/>
                </a:lnTo>
                <a:lnTo>
                  <a:pt x="766" y="794"/>
                </a:lnTo>
                <a:lnTo>
                  <a:pt x="786" y="778"/>
                </a:lnTo>
                <a:lnTo>
                  <a:pt x="804" y="760"/>
                </a:lnTo>
                <a:lnTo>
                  <a:pt x="820" y="740"/>
                </a:lnTo>
                <a:lnTo>
                  <a:pt x="832" y="720"/>
                </a:lnTo>
                <a:lnTo>
                  <a:pt x="842" y="700"/>
                </a:lnTo>
                <a:lnTo>
                  <a:pt x="850" y="678"/>
                </a:lnTo>
                <a:lnTo>
                  <a:pt x="856" y="656"/>
                </a:lnTo>
                <a:lnTo>
                  <a:pt x="860" y="634"/>
                </a:lnTo>
                <a:lnTo>
                  <a:pt x="864" y="610"/>
                </a:lnTo>
                <a:lnTo>
                  <a:pt x="864" y="590"/>
                </a:lnTo>
                <a:lnTo>
                  <a:pt x="864" y="570"/>
                </a:lnTo>
                <a:lnTo>
                  <a:pt x="862" y="548"/>
                </a:lnTo>
                <a:lnTo>
                  <a:pt x="858" y="528"/>
                </a:lnTo>
                <a:lnTo>
                  <a:pt x="852" y="506"/>
                </a:lnTo>
                <a:lnTo>
                  <a:pt x="844" y="484"/>
                </a:lnTo>
                <a:lnTo>
                  <a:pt x="834" y="464"/>
                </a:lnTo>
                <a:lnTo>
                  <a:pt x="822" y="444"/>
                </a:lnTo>
                <a:lnTo>
                  <a:pt x="806" y="424"/>
                </a:lnTo>
                <a:lnTo>
                  <a:pt x="790" y="406"/>
                </a:lnTo>
                <a:lnTo>
                  <a:pt x="770" y="388"/>
                </a:lnTo>
                <a:lnTo>
                  <a:pt x="746" y="372"/>
                </a:lnTo>
                <a:lnTo>
                  <a:pt x="720" y="360"/>
                </a:lnTo>
                <a:lnTo>
                  <a:pt x="690" y="350"/>
                </a:lnTo>
                <a:lnTo>
                  <a:pt x="656" y="342"/>
                </a:lnTo>
                <a:lnTo>
                  <a:pt x="620" y="336"/>
                </a:lnTo>
                <a:lnTo>
                  <a:pt x="580" y="334"/>
                </a:lnTo>
                <a:close/>
                <a:moveTo>
                  <a:pt x="4384" y="156"/>
                </a:moveTo>
                <a:lnTo>
                  <a:pt x="4384" y="156"/>
                </a:lnTo>
                <a:lnTo>
                  <a:pt x="4394" y="154"/>
                </a:lnTo>
                <a:lnTo>
                  <a:pt x="4404" y="152"/>
                </a:lnTo>
                <a:lnTo>
                  <a:pt x="4414" y="148"/>
                </a:lnTo>
                <a:lnTo>
                  <a:pt x="4422" y="142"/>
                </a:lnTo>
                <a:lnTo>
                  <a:pt x="4430" y="134"/>
                </a:lnTo>
                <a:lnTo>
                  <a:pt x="4434" y="124"/>
                </a:lnTo>
                <a:lnTo>
                  <a:pt x="4438" y="112"/>
                </a:lnTo>
                <a:lnTo>
                  <a:pt x="4438" y="100"/>
                </a:lnTo>
                <a:lnTo>
                  <a:pt x="4438" y="76"/>
                </a:lnTo>
                <a:lnTo>
                  <a:pt x="4438" y="64"/>
                </a:lnTo>
                <a:lnTo>
                  <a:pt x="4434" y="52"/>
                </a:lnTo>
                <a:lnTo>
                  <a:pt x="4430" y="42"/>
                </a:lnTo>
                <a:lnTo>
                  <a:pt x="4422" y="34"/>
                </a:lnTo>
                <a:lnTo>
                  <a:pt x="4414" y="28"/>
                </a:lnTo>
                <a:lnTo>
                  <a:pt x="4404" y="24"/>
                </a:lnTo>
                <a:lnTo>
                  <a:pt x="4394" y="22"/>
                </a:lnTo>
                <a:lnTo>
                  <a:pt x="4384" y="20"/>
                </a:lnTo>
                <a:lnTo>
                  <a:pt x="4372" y="22"/>
                </a:lnTo>
                <a:lnTo>
                  <a:pt x="4362" y="24"/>
                </a:lnTo>
                <a:lnTo>
                  <a:pt x="4352" y="28"/>
                </a:lnTo>
                <a:lnTo>
                  <a:pt x="4344" y="34"/>
                </a:lnTo>
                <a:lnTo>
                  <a:pt x="4338" y="42"/>
                </a:lnTo>
                <a:lnTo>
                  <a:pt x="4332" y="52"/>
                </a:lnTo>
                <a:lnTo>
                  <a:pt x="4328" y="64"/>
                </a:lnTo>
                <a:lnTo>
                  <a:pt x="4328" y="76"/>
                </a:lnTo>
                <a:lnTo>
                  <a:pt x="4328" y="100"/>
                </a:lnTo>
                <a:lnTo>
                  <a:pt x="4328" y="112"/>
                </a:lnTo>
                <a:lnTo>
                  <a:pt x="4332" y="124"/>
                </a:lnTo>
                <a:lnTo>
                  <a:pt x="4336" y="134"/>
                </a:lnTo>
                <a:lnTo>
                  <a:pt x="4344" y="142"/>
                </a:lnTo>
                <a:lnTo>
                  <a:pt x="4352" y="148"/>
                </a:lnTo>
                <a:lnTo>
                  <a:pt x="4362" y="152"/>
                </a:lnTo>
                <a:lnTo>
                  <a:pt x="4372" y="154"/>
                </a:lnTo>
                <a:lnTo>
                  <a:pt x="4384" y="156"/>
                </a:lnTo>
                <a:close/>
                <a:moveTo>
                  <a:pt x="4328" y="236"/>
                </a:moveTo>
                <a:lnTo>
                  <a:pt x="4328" y="236"/>
                </a:lnTo>
                <a:lnTo>
                  <a:pt x="4354" y="236"/>
                </a:lnTo>
                <a:lnTo>
                  <a:pt x="4372" y="238"/>
                </a:lnTo>
                <a:lnTo>
                  <a:pt x="4388" y="242"/>
                </a:lnTo>
                <a:lnTo>
                  <a:pt x="4402" y="248"/>
                </a:lnTo>
                <a:lnTo>
                  <a:pt x="4414" y="256"/>
                </a:lnTo>
                <a:lnTo>
                  <a:pt x="4424" y="268"/>
                </a:lnTo>
                <a:lnTo>
                  <a:pt x="4432" y="284"/>
                </a:lnTo>
                <a:lnTo>
                  <a:pt x="4436" y="304"/>
                </a:lnTo>
                <a:lnTo>
                  <a:pt x="4438" y="328"/>
                </a:lnTo>
                <a:lnTo>
                  <a:pt x="4438" y="942"/>
                </a:lnTo>
                <a:lnTo>
                  <a:pt x="4410" y="942"/>
                </a:lnTo>
                <a:lnTo>
                  <a:pt x="4390" y="940"/>
                </a:lnTo>
                <a:lnTo>
                  <a:pt x="4374" y="936"/>
                </a:lnTo>
                <a:lnTo>
                  <a:pt x="4360" y="930"/>
                </a:lnTo>
                <a:lnTo>
                  <a:pt x="4348" y="920"/>
                </a:lnTo>
                <a:lnTo>
                  <a:pt x="4340" y="908"/>
                </a:lnTo>
                <a:lnTo>
                  <a:pt x="4334" y="892"/>
                </a:lnTo>
                <a:lnTo>
                  <a:pt x="4330" y="874"/>
                </a:lnTo>
                <a:lnTo>
                  <a:pt x="4328" y="852"/>
                </a:lnTo>
                <a:lnTo>
                  <a:pt x="4328" y="236"/>
                </a:lnTo>
                <a:close/>
                <a:moveTo>
                  <a:pt x="1210" y="328"/>
                </a:moveTo>
                <a:lnTo>
                  <a:pt x="1210" y="328"/>
                </a:lnTo>
                <a:lnTo>
                  <a:pt x="1230" y="312"/>
                </a:lnTo>
                <a:lnTo>
                  <a:pt x="1252" y="296"/>
                </a:lnTo>
                <a:lnTo>
                  <a:pt x="1280" y="280"/>
                </a:lnTo>
                <a:lnTo>
                  <a:pt x="1310" y="266"/>
                </a:lnTo>
                <a:lnTo>
                  <a:pt x="1344" y="254"/>
                </a:lnTo>
                <a:lnTo>
                  <a:pt x="1382" y="244"/>
                </a:lnTo>
                <a:lnTo>
                  <a:pt x="1424" y="238"/>
                </a:lnTo>
                <a:lnTo>
                  <a:pt x="1472" y="236"/>
                </a:lnTo>
                <a:lnTo>
                  <a:pt x="1692" y="236"/>
                </a:lnTo>
                <a:lnTo>
                  <a:pt x="1718" y="238"/>
                </a:lnTo>
                <a:lnTo>
                  <a:pt x="1744" y="238"/>
                </a:lnTo>
                <a:lnTo>
                  <a:pt x="1770" y="242"/>
                </a:lnTo>
                <a:lnTo>
                  <a:pt x="1794" y="246"/>
                </a:lnTo>
                <a:lnTo>
                  <a:pt x="1816" y="250"/>
                </a:lnTo>
                <a:lnTo>
                  <a:pt x="1838" y="256"/>
                </a:lnTo>
                <a:lnTo>
                  <a:pt x="1878" y="270"/>
                </a:lnTo>
                <a:lnTo>
                  <a:pt x="1912" y="288"/>
                </a:lnTo>
                <a:lnTo>
                  <a:pt x="1944" y="308"/>
                </a:lnTo>
                <a:lnTo>
                  <a:pt x="1972" y="332"/>
                </a:lnTo>
                <a:lnTo>
                  <a:pt x="1996" y="356"/>
                </a:lnTo>
                <a:lnTo>
                  <a:pt x="2016" y="384"/>
                </a:lnTo>
                <a:lnTo>
                  <a:pt x="2032" y="412"/>
                </a:lnTo>
                <a:lnTo>
                  <a:pt x="2046" y="440"/>
                </a:lnTo>
                <a:lnTo>
                  <a:pt x="2058" y="470"/>
                </a:lnTo>
                <a:lnTo>
                  <a:pt x="2066" y="500"/>
                </a:lnTo>
                <a:lnTo>
                  <a:pt x="2070" y="530"/>
                </a:lnTo>
                <a:lnTo>
                  <a:pt x="2074" y="560"/>
                </a:lnTo>
                <a:lnTo>
                  <a:pt x="2074" y="590"/>
                </a:lnTo>
                <a:lnTo>
                  <a:pt x="2074" y="620"/>
                </a:lnTo>
                <a:lnTo>
                  <a:pt x="2070" y="652"/>
                </a:lnTo>
                <a:lnTo>
                  <a:pt x="2064" y="684"/>
                </a:lnTo>
                <a:lnTo>
                  <a:pt x="2054" y="716"/>
                </a:lnTo>
                <a:lnTo>
                  <a:pt x="2042" y="746"/>
                </a:lnTo>
                <a:lnTo>
                  <a:pt x="2028" y="774"/>
                </a:lnTo>
                <a:lnTo>
                  <a:pt x="2010" y="802"/>
                </a:lnTo>
                <a:lnTo>
                  <a:pt x="1988" y="828"/>
                </a:lnTo>
                <a:lnTo>
                  <a:pt x="1964" y="852"/>
                </a:lnTo>
                <a:lnTo>
                  <a:pt x="1936" y="874"/>
                </a:lnTo>
                <a:lnTo>
                  <a:pt x="1906" y="894"/>
                </a:lnTo>
                <a:lnTo>
                  <a:pt x="1870" y="910"/>
                </a:lnTo>
                <a:lnTo>
                  <a:pt x="1832" y="924"/>
                </a:lnTo>
                <a:lnTo>
                  <a:pt x="1788" y="934"/>
                </a:lnTo>
                <a:lnTo>
                  <a:pt x="1742" y="940"/>
                </a:lnTo>
                <a:lnTo>
                  <a:pt x="1692" y="942"/>
                </a:lnTo>
                <a:lnTo>
                  <a:pt x="1472" y="942"/>
                </a:lnTo>
                <a:lnTo>
                  <a:pt x="1432" y="940"/>
                </a:lnTo>
                <a:lnTo>
                  <a:pt x="1394" y="936"/>
                </a:lnTo>
                <a:lnTo>
                  <a:pt x="1358" y="928"/>
                </a:lnTo>
                <a:lnTo>
                  <a:pt x="1324" y="916"/>
                </a:lnTo>
                <a:lnTo>
                  <a:pt x="1290" y="904"/>
                </a:lnTo>
                <a:lnTo>
                  <a:pt x="1260" y="886"/>
                </a:lnTo>
                <a:lnTo>
                  <a:pt x="1232" y="868"/>
                </a:lnTo>
                <a:lnTo>
                  <a:pt x="1206" y="846"/>
                </a:lnTo>
                <a:lnTo>
                  <a:pt x="1184" y="822"/>
                </a:lnTo>
                <a:lnTo>
                  <a:pt x="1162" y="796"/>
                </a:lnTo>
                <a:lnTo>
                  <a:pt x="1144" y="766"/>
                </a:lnTo>
                <a:lnTo>
                  <a:pt x="1130" y="734"/>
                </a:lnTo>
                <a:lnTo>
                  <a:pt x="1118" y="702"/>
                </a:lnTo>
                <a:lnTo>
                  <a:pt x="1110" y="666"/>
                </a:lnTo>
                <a:lnTo>
                  <a:pt x="1104" y="628"/>
                </a:lnTo>
                <a:lnTo>
                  <a:pt x="1102" y="590"/>
                </a:lnTo>
                <a:lnTo>
                  <a:pt x="1102" y="0"/>
                </a:lnTo>
                <a:lnTo>
                  <a:pt x="1136" y="0"/>
                </a:lnTo>
                <a:lnTo>
                  <a:pt x="1154" y="0"/>
                </a:lnTo>
                <a:lnTo>
                  <a:pt x="1168" y="4"/>
                </a:lnTo>
                <a:lnTo>
                  <a:pt x="1180" y="10"/>
                </a:lnTo>
                <a:lnTo>
                  <a:pt x="1192" y="18"/>
                </a:lnTo>
                <a:lnTo>
                  <a:pt x="1200" y="28"/>
                </a:lnTo>
                <a:lnTo>
                  <a:pt x="1206" y="40"/>
                </a:lnTo>
                <a:lnTo>
                  <a:pt x="1210" y="54"/>
                </a:lnTo>
                <a:lnTo>
                  <a:pt x="1210" y="70"/>
                </a:lnTo>
                <a:lnTo>
                  <a:pt x="1210" y="328"/>
                </a:lnTo>
                <a:close/>
                <a:moveTo>
                  <a:pt x="1496" y="844"/>
                </a:moveTo>
                <a:lnTo>
                  <a:pt x="1496" y="844"/>
                </a:lnTo>
                <a:lnTo>
                  <a:pt x="1684" y="844"/>
                </a:lnTo>
                <a:lnTo>
                  <a:pt x="1722" y="842"/>
                </a:lnTo>
                <a:lnTo>
                  <a:pt x="1756" y="838"/>
                </a:lnTo>
                <a:lnTo>
                  <a:pt x="1788" y="830"/>
                </a:lnTo>
                <a:lnTo>
                  <a:pt x="1816" y="820"/>
                </a:lnTo>
                <a:lnTo>
                  <a:pt x="1842" y="810"/>
                </a:lnTo>
                <a:lnTo>
                  <a:pt x="1866" y="796"/>
                </a:lnTo>
                <a:lnTo>
                  <a:pt x="1886" y="780"/>
                </a:lnTo>
                <a:lnTo>
                  <a:pt x="1904" y="762"/>
                </a:lnTo>
                <a:lnTo>
                  <a:pt x="1920" y="742"/>
                </a:lnTo>
                <a:lnTo>
                  <a:pt x="1932" y="722"/>
                </a:lnTo>
                <a:lnTo>
                  <a:pt x="1944" y="702"/>
                </a:lnTo>
                <a:lnTo>
                  <a:pt x="1952" y="680"/>
                </a:lnTo>
                <a:lnTo>
                  <a:pt x="1958" y="658"/>
                </a:lnTo>
                <a:lnTo>
                  <a:pt x="1964" y="634"/>
                </a:lnTo>
                <a:lnTo>
                  <a:pt x="1966" y="612"/>
                </a:lnTo>
                <a:lnTo>
                  <a:pt x="1966" y="590"/>
                </a:lnTo>
                <a:lnTo>
                  <a:pt x="1966" y="566"/>
                </a:lnTo>
                <a:lnTo>
                  <a:pt x="1964" y="544"/>
                </a:lnTo>
                <a:lnTo>
                  <a:pt x="1958" y="520"/>
                </a:lnTo>
                <a:lnTo>
                  <a:pt x="1952" y="498"/>
                </a:lnTo>
                <a:lnTo>
                  <a:pt x="1944" y="476"/>
                </a:lnTo>
                <a:lnTo>
                  <a:pt x="1932" y="456"/>
                </a:lnTo>
                <a:lnTo>
                  <a:pt x="1920" y="436"/>
                </a:lnTo>
                <a:lnTo>
                  <a:pt x="1904" y="416"/>
                </a:lnTo>
                <a:lnTo>
                  <a:pt x="1886" y="398"/>
                </a:lnTo>
                <a:lnTo>
                  <a:pt x="1866" y="382"/>
                </a:lnTo>
                <a:lnTo>
                  <a:pt x="1842" y="370"/>
                </a:lnTo>
                <a:lnTo>
                  <a:pt x="1816" y="358"/>
                </a:lnTo>
                <a:lnTo>
                  <a:pt x="1788" y="348"/>
                </a:lnTo>
                <a:lnTo>
                  <a:pt x="1756" y="340"/>
                </a:lnTo>
                <a:lnTo>
                  <a:pt x="1722" y="336"/>
                </a:lnTo>
                <a:lnTo>
                  <a:pt x="1684" y="334"/>
                </a:lnTo>
                <a:lnTo>
                  <a:pt x="1496" y="334"/>
                </a:lnTo>
                <a:lnTo>
                  <a:pt x="1456" y="336"/>
                </a:lnTo>
                <a:lnTo>
                  <a:pt x="1420" y="340"/>
                </a:lnTo>
                <a:lnTo>
                  <a:pt x="1388" y="348"/>
                </a:lnTo>
                <a:lnTo>
                  <a:pt x="1358" y="358"/>
                </a:lnTo>
                <a:lnTo>
                  <a:pt x="1332" y="370"/>
                </a:lnTo>
                <a:lnTo>
                  <a:pt x="1308" y="384"/>
                </a:lnTo>
                <a:lnTo>
                  <a:pt x="1288" y="402"/>
                </a:lnTo>
                <a:lnTo>
                  <a:pt x="1270" y="418"/>
                </a:lnTo>
                <a:lnTo>
                  <a:pt x="1256" y="438"/>
                </a:lnTo>
                <a:lnTo>
                  <a:pt x="1242" y="458"/>
                </a:lnTo>
                <a:lnTo>
                  <a:pt x="1232" y="480"/>
                </a:lnTo>
                <a:lnTo>
                  <a:pt x="1224" y="500"/>
                </a:lnTo>
                <a:lnTo>
                  <a:pt x="1218" y="524"/>
                </a:lnTo>
                <a:lnTo>
                  <a:pt x="1214" y="546"/>
                </a:lnTo>
                <a:lnTo>
                  <a:pt x="1212" y="568"/>
                </a:lnTo>
                <a:lnTo>
                  <a:pt x="1210" y="590"/>
                </a:lnTo>
                <a:lnTo>
                  <a:pt x="1212" y="608"/>
                </a:lnTo>
                <a:lnTo>
                  <a:pt x="1214" y="630"/>
                </a:lnTo>
                <a:lnTo>
                  <a:pt x="1218" y="650"/>
                </a:lnTo>
                <a:lnTo>
                  <a:pt x="1224" y="672"/>
                </a:lnTo>
                <a:lnTo>
                  <a:pt x="1232" y="694"/>
                </a:lnTo>
                <a:lnTo>
                  <a:pt x="1242" y="714"/>
                </a:lnTo>
                <a:lnTo>
                  <a:pt x="1254" y="736"/>
                </a:lnTo>
                <a:lnTo>
                  <a:pt x="1268" y="754"/>
                </a:lnTo>
                <a:lnTo>
                  <a:pt x="1286" y="774"/>
                </a:lnTo>
                <a:lnTo>
                  <a:pt x="1306" y="790"/>
                </a:lnTo>
                <a:lnTo>
                  <a:pt x="1328" y="806"/>
                </a:lnTo>
                <a:lnTo>
                  <a:pt x="1356" y="818"/>
                </a:lnTo>
                <a:lnTo>
                  <a:pt x="1384" y="830"/>
                </a:lnTo>
                <a:lnTo>
                  <a:pt x="1418" y="838"/>
                </a:lnTo>
                <a:lnTo>
                  <a:pt x="1456" y="842"/>
                </a:lnTo>
                <a:lnTo>
                  <a:pt x="1496" y="844"/>
                </a:lnTo>
                <a:close/>
                <a:moveTo>
                  <a:pt x="2294" y="328"/>
                </a:moveTo>
                <a:lnTo>
                  <a:pt x="2294" y="328"/>
                </a:lnTo>
                <a:lnTo>
                  <a:pt x="2312" y="312"/>
                </a:lnTo>
                <a:lnTo>
                  <a:pt x="2336" y="296"/>
                </a:lnTo>
                <a:lnTo>
                  <a:pt x="2362" y="280"/>
                </a:lnTo>
                <a:lnTo>
                  <a:pt x="2392" y="266"/>
                </a:lnTo>
                <a:lnTo>
                  <a:pt x="2426" y="254"/>
                </a:lnTo>
                <a:lnTo>
                  <a:pt x="2464" y="244"/>
                </a:lnTo>
                <a:lnTo>
                  <a:pt x="2506" y="238"/>
                </a:lnTo>
                <a:lnTo>
                  <a:pt x="2554" y="236"/>
                </a:lnTo>
                <a:lnTo>
                  <a:pt x="2774" y="236"/>
                </a:lnTo>
                <a:lnTo>
                  <a:pt x="2800" y="238"/>
                </a:lnTo>
                <a:lnTo>
                  <a:pt x="2828" y="238"/>
                </a:lnTo>
                <a:lnTo>
                  <a:pt x="2852" y="242"/>
                </a:lnTo>
                <a:lnTo>
                  <a:pt x="2876" y="246"/>
                </a:lnTo>
                <a:lnTo>
                  <a:pt x="2898" y="250"/>
                </a:lnTo>
                <a:lnTo>
                  <a:pt x="2920" y="256"/>
                </a:lnTo>
                <a:lnTo>
                  <a:pt x="2960" y="270"/>
                </a:lnTo>
                <a:lnTo>
                  <a:pt x="2996" y="288"/>
                </a:lnTo>
                <a:lnTo>
                  <a:pt x="3026" y="308"/>
                </a:lnTo>
                <a:lnTo>
                  <a:pt x="3054" y="332"/>
                </a:lnTo>
                <a:lnTo>
                  <a:pt x="3078" y="356"/>
                </a:lnTo>
                <a:lnTo>
                  <a:pt x="3098" y="384"/>
                </a:lnTo>
                <a:lnTo>
                  <a:pt x="3114" y="412"/>
                </a:lnTo>
                <a:lnTo>
                  <a:pt x="3128" y="440"/>
                </a:lnTo>
                <a:lnTo>
                  <a:pt x="3140" y="470"/>
                </a:lnTo>
                <a:lnTo>
                  <a:pt x="3148" y="500"/>
                </a:lnTo>
                <a:lnTo>
                  <a:pt x="3152" y="530"/>
                </a:lnTo>
                <a:lnTo>
                  <a:pt x="3156" y="560"/>
                </a:lnTo>
                <a:lnTo>
                  <a:pt x="3158" y="590"/>
                </a:lnTo>
                <a:lnTo>
                  <a:pt x="3156" y="620"/>
                </a:lnTo>
                <a:lnTo>
                  <a:pt x="3152" y="652"/>
                </a:lnTo>
                <a:lnTo>
                  <a:pt x="3146" y="684"/>
                </a:lnTo>
                <a:lnTo>
                  <a:pt x="3136" y="716"/>
                </a:lnTo>
                <a:lnTo>
                  <a:pt x="3126" y="746"/>
                </a:lnTo>
                <a:lnTo>
                  <a:pt x="3110" y="774"/>
                </a:lnTo>
                <a:lnTo>
                  <a:pt x="3092" y="802"/>
                </a:lnTo>
                <a:lnTo>
                  <a:pt x="3072" y="828"/>
                </a:lnTo>
                <a:lnTo>
                  <a:pt x="3046" y="852"/>
                </a:lnTo>
                <a:lnTo>
                  <a:pt x="3018" y="874"/>
                </a:lnTo>
                <a:lnTo>
                  <a:pt x="2988" y="894"/>
                </a:lnTo>
                <a:lnTo>
                  <a:pt x="2952" y="910"/>
                </a:lnTo>
                <a:lnTo>
                  <a:pt x="2914" y="924"/>
                </a:lnTo>
                <a:lnTo>
                  <a:pt x="2872" y="934"/>
                </a:lnTo>
                <a:lnTo>
                  <a:pt x="2824" y="940"/>
                </a:lnTo>
                <a:lnTo>
                  <a:pt x="2774" y="942"/>
                </a:lnTo>
                <a:lnTo>
                  <a:pt x="2554" y="942"/>
                </a:lnTo>
                <a:lnTo>
                  <a:pt x="2514" y="940"/>
                </a:lnTo>
                <a:lnTo>
                  <a:pt x="2476" y="936"/>
                </a:lnTo>
                <a:lnTo>
                  <a:pt x="2440" y="928"/>
                </a:lnTo>
                <a:lnTo>
                  <a:pt x="2406" y="916"/>
                </a:lnTo>
                <a:lnTo>
                  <a:pt x="2374" y="904"/>
                </a:lnTo>
                <a:lnTo>
                  <a:pt x="2342" y="886"/>
                </a:lnTo>
                <a:lnTo>
                  <a:pt x="2314" y="868"/>
                </a:lnTo>
                <a:lnTo>
                  <a:pt x="2288" y="846"/>
                </a:lnTo>
                <a:lnTo>
                  <a:pt x="2266" y="822"/>
                </a:lnTo>
                <a:lnTo>
                  <a:pt x="2246" y="796"/>
                </a:lnTo>
                <a:lnTo>
                  <a:pt x="2228" y="766"/>
                </a:lnTo>
                <a:lnTo>
                  <a:pt x="2212" y="734"/>
                </a:lnTo>
                <a:lnTo>
                  <a:pt x="2200" y="702"/>
                </a:lnTo>
                <a:lnTo>
                  <a:pt x="2192" y="666"/>
                </a:lnTo>
                <a:lnTo>
                  <a:pt x="2186" y="628"/>
                </a:lnTo>
                <a:lnTo>
                  <a:pt x="2184" y="590"/>
                </a:lnTo>
                <a:lnTo>
                  <a:pt x="2184" y="0"/>
                </a:lnTo>
                <a:lnTo>
                  <a:pt x="2218" y="0"/>
                </a:lnTo>
                <a:lnTo>
                  <a:pt x="2236" y="0"/>
                </a:lnTo>
                <a:lnTo>
                  <a:pt x="2250" y="4"/>
                </a:lnTo>
                <a:lnTo>
                  <a:pt x="2264" y="10"/>
                </a:lnTo>
                <a:lnTo>
                  <a:pt x="2274" y="18"/>
                </a:lnTo>
                <a:lnTo>
                  <a:pt x="2282" y="28"/>
                </a:lnTo>
                <a:lnTo>
                  <a:pt x="2288" y="40"/>
                </a:lnTo>
                <a:lnTo>
                  <a:pt x="2292" y="54"/>
                </a:lnTo>
                <a:lnTo>
                  <a:pt x="2294" y="70"/>
                </a:lnTo>
                <a:lnTo>
                  <a:pt x="2294" y="328"/>
                </a:lnTo>
                <a:close/>
                <a:moveTo>
                  <a:pt x="2578" y="844"/>
                </a:moveTo>
                <a:lnTo>
                  <a:pt x="2578" y="844"/>
                </a:lnTo>
                <a:lnTo>
                  <a:pt x="2766" y="844"/>
                </a:lnTo>
                <a:lnTo>
                  <a:pt x="2804" y="842"/>
                </a:lnTo>
                <a:lnTo>
                  <a:pt x="2838" y="838"/>
                </a:lnTo>
                <a:lnTo>
                  <a:pt x="2870" y="830"/>
                </a:lnTo>
                <a:lnTo>
                  <a:pt x="2900" y="820"/>
                </a:lnTo>
                <a:lnTo>
                  <a:pt x="2924" y="810"/>
                </a:lnTo>
                <a:lnTo>
                  <a:pt x="2948" y="796"/>
                </a:lnTo>
                <a:lnTo>
                  <a:pt x="2968" y="780"/>
                </a:lnTo>
                <a:lnTo>
                  <a:pt x="2986" y="762"/>
                </a:lnTo>
                <a:lnTo>
                  <a:pt x="3002" y="742"/>
                </a:lnTo>
                <a:lnTo>
                  <a:pt x="3014" y="722"/>
                </a:lnTo>
                <a:lnTo>
                  <a:pt x="3026" y="702"/>
                </a:lnTo>
                <a:lnTo>
                  <a:pt x="3034" y="680"/>
                </a:lnTo>
                <a:lnTo>
                  <a:pt x="3040" y="658"/>
                </a:lnTo>
                <a:lnTo>
                  <a:pt x="3046" y="634"/>
                </a:lnTo>
                <a:lnTo>
                  <a:pt x="3048" y="612"/>
                </a:lnTo>
                <a:lnTo>
                  <a:pt x="3048" y="590"/>
                </a:lnTo>
                <a:lnTo>
                  <a:pt x="3048" y="566"/>
                </a:lnTo>
                <a:lnTo>
                  <a:pt x="3046" y="544"/>
                </a:lnTo>
                <a:lnTo>
                  <a:pt x="3040" y="520"/>
                </a:lnTo>
                <a:lnTo>
                  <a:pt x="3034" y="498"/>
                </a:lnTo>
                <a:lnTo>
                  <a:pt x="3026" y="476"/>
                </a:lnTo>
                <a:lnTo>
                  <a:pt x="3014" y="456"/>
                </a:lnTo>
                <a:lnTo>
                  <a:pt x="3002" y="436"/>
                </a:lnTo>
                <a:lnTo>
                  <a:pt x="2986" y="416"/>
                </a:lnTo>
                <a:lnTo>
                  <a:pt x="2968" y="398"/>
                </a:lnTo>
                <a:lnTo>
                  <a:pt x="2948" y="382"/>
                </a:lnTo>
                <a:lnTo>
                  <a:pt x="2924" y="370"/>
                </a:lnTo>
                <a:lnTo>
                  <a:pt x="2900" y="358"/>
                </a:lnTo>
                <a:lnTo>
                  <a:pt x="2870" y="348"/>
                </a:lnTo>
                <a:lnTo>
                  <a:pt x="2838" y="340"/>
                </a:lnTo>
                <a:lnTo>
                  <a:pt x="2804" y="336"/>
                </a:lnTo>
                <a:lnTo>
                  <a:pt x="2766" y="334"/>
                </a:lnTo>
                <a:lnTo>
                  <a:pt x="2578" y="334"/>
                </a:lnTo>
                <a:lnTo>
                  <a:pt x="2538" y="336"/>
                </a:lnTo>
                <a:lnTo>
                  <a:pt x="2502" y="340"/>
                </a:lnTo>
                <a:lnTo>
                  <a:pt x="2470" y="348"/>
                </a:lnTo>
                <a:lnTo>
                  <a:pt x="2440" y="358"/>
                </a:lnTo>
                <a:lnTo>
                  <a:pt x="2414" y="370"/>
                </a:lnTo>
                <a:lnTo>
                  <a:pt x="2390" y="384"/>
                </a:lnTo>
                <a:lnTo>
                  <a:pt x="2370" y="402"/>
                </a:lnTo>
                <a:lnTo>
                  <a:pt x="2352" y="418"/>
                </a:lnTo>
                <a:lnTo>
                  <a:pt x="2338" y="438"/>
                </a:lnTo>
                <a:lnTo>
                  <a:pt x="2326" y="458"/>
                </a:lnTo>
                <a:lnTo>
                  <a:pt x="2314" y="480"/>
                </a:lnTo>
                <a:lnTo>
                  <a:pt x="2306" y="500"/>
                </a:lnTo>
                <a:lnTo>
                  <a:pt x="2300" y="524"/>
                </a:lnTo>
                <a:lnTo>
                  <a:pt x="2296" y="546"/>
                </a:lnTo>
                <a:lnTo>
                  <a:pt x="2294" y="568"/>
                </a:lnTo>
                <a:lnTo>
                  <a:pt x="2294" y="590"/>
                </a:lnTo>
                <a:lnTo>
                  <a:pt x="2294" y="608"/>
                </a:lnTo>
                <a:lnTo>
                  <a:pt x="2296" y="630"/>
                </a:lnTo>
                <a:lnTo>
                  <a:pt x="2300" y="650"/>
                </a:lnTo>
                <a:lnTo>
                  <a:pt x="2306" y="672"/>
                </a:lnTo>
                <a:lnTo>
                  <a:pt x="2314" y="694"/>
                </a:lnTo>
                <a:lnTo>
                  <a:pt x="2324" y="714"/>
                </a:lnTo>
                <a:lnTo>
                  <a:pt x="2336" y="736"/>
                </a:lnTo>
                <a:lnTo>
                  <a:pt x="2350" y="754"/>
                </a:lnTo>
                <a:lnTo>
                  <a:pt x="2368" y="774"/>
                </a:lnTo>
                <a:lnTo>
                  <a:pt x="2388" y="790"/>
                </a:lnTo>
                <a:lnTo>
                  <a:pt x="2412" y="806"/>
                </a:lnTo>
                <a:lnTo>
                  <a:pt x="2438" y="818"/>
                </a:lnTo>
                <a:lnTo>
                  <a:pt x="2468" y="830"/>
                </a:lnTo>
                <a:lnTo>
                  <a:pt x="2500" y="838"/>
                </a:lnTo>
                <a:lnTo>
                  <a:pt x="2538" y="842"/>
                </a:lnTo>
                <a:lnTo>
                  <a:pt x="2578" y="8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endParaRPr lang="en-GB" sz="1800" b="0" dirty="0">
              <a:solidFill>
                <a:srgbClr val="FFFFFF"/>
              </a:solidFill>
              <a:latin typeface="Calibri"/>
              <a:ea typeface="ＭＳ Ｐゴシック" panose="020B0600070205080204" pitchFamily="34" charset="-128"/>
              <a:cs typeface="+mn-cs"/>
            </a:endParaRPr>
          </a:p>
        </p:txBody>
      </p:sp>
      <p:sp>
        <p:nvSpPr>
          <p:cNvPr id="5" name="Freeform 9"/>
          <p:cNvSpPr>
            <a:spLocks/>
          </p:cNvSpPr>
          <p:nvPr/>
        </p:nvSpPr>
        <p:spPr bwMode="gray">
          <a:xfrm>
            <a:off x="5141717" y="1530352"/>
            <a:ext cx="141089" cy="3797300"/>
          </a:xfrm>
          <a:custGeom>
            <a:avLst/>
            <a:gdLst>
              <a:gd name="T0" fmla="*/ 0 w 94692"/>
              <a:gd name="T1" fmla="*/ 0 h 3865545"/>
              <a:gd name="T2" fmla="*/ 0 w 94692"/>
              <a:gd name="T3" fmla="*/ 0 h 3865545"/>
              <a:gd name="T4" fmla="*/ 25976676 w 94692"/>
              <a:gd name="T5" fmla="*/ 0 h 3865545"/>
              <a:gd name="T6" fmla="*/ 25976676 w 94692"/>
              <a:gd name="T7" fmla="*/ 2706831 h 3865545"/>
              <a:gd name="T8" fmla="*/ 0 w 94692"/>
              <a:gd name="T9" fmla="*/ 2706831 h 3865545"/>
              <a:gd name="T10" fmla="*/ 0 w 94692"/>
              <a:gd name="T11" fmla="*/ 2706831 h 38655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692" h="3865545">
                <a:moveTo>
                  <a:pt x="0" y="0"/>
                </a:moveTo>
                <a:lnTo>
                  <a:pt x="0" y="0"/>
                </a:lnTo>
                <a:lnTo>
                  <a:pt x="94692" y="0"/>
                </a:lnTo>
                <a:lnTo>
                  <a:pt x="94692" y="3865545"/>
                </a:lnTo>
                <a:lnTo>
                  <a:pt x="0" y="3865545"/>
                </a:lnTo>
              </a:path>
            </a:pathLst>
          </a:custGeom>
          <a:noFill/>
          <a:ln w="25400" cap="flat" cmpd="sng" algn="ctr">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pPr eaLnBrk="0" hangingPunct="0"/>
            <a:endParaRPr lang="en-GB" sz="1800" b="0" dirty="0">
              <a:solidFill>
                <a:srgbClr val="FFFFFF"/>
              </a:solidFill>
              <a:latin typeface="Calibri"/>
              <a:ea typeface="ＭＳ Ｐゴシック" panose="020B0600070205080204" pitchFamily="34" charset="-128"/>
              <a:cs typeface="+mn-cs"/>
            </a:endParaRPr>
          </a:p>
        </p:txBody>
      </p:sp>
      <p:sp>
        <p:nvSpPr>
          <p:cNvPr id="4115" name="Rectangle 19"/>
          <p:cNvSpPr>
            <a:spLocks noGrp="1" noChangeArrowheads="1"/>
          </p:cNvSpPr>
          <p:nvPr>
            <p:ph type="ctrTitle"/>
          </p:nvPr>
        </p:nvSpPr>
        <p:spPr>
          <a:xfrm>
            <a:off x="570649" y="1657885"/>
            <a:ext cx="4636493" cy="2220218"/>
          </a:xfrm>
        </p:spPr>
        <p:txBody>
          <a:bodyPr/>
          <a:lstStyle>
            <a:lvl1pPr>
              <a:lnSpc>
                <a:spcPct val="85000"/>
              </a:lnSpc>
              <a:defRPr sz="3200">
                <a:solidFill>
                  <a:schemeClr val="tx1"/>
                </a:solidFill>
              </a:defRPr>
            </a:lvl1pPr>
          </a:lstStyle>
          <a:p>
            <a:r>
              <a:rPr lang="en-US"/>
              <a:t>Click to edit Master title style</a:t>
            </a:r>
            <a:endParaRPr lang="en-US" dirty="0"/>
          </a:p>
        </p:txBody>
      </p:sp>
      <p:sp>
        <p:nvSpPr>
          <p:cNvPr id="4116" name="Rectangle 20"/>
          <p:cNvSpPr>
            <a:spLocks noGrp="1" noChangeArrowheads="1"/>
          </p:cNvSpPr>
          <p:nvPr>
            <p:ph type="subTitle" idx="1"/>
          </p:nvPr>
        </p:nvSpPr>
        <p:spPr>
          <a:xfrm>
            <a:off x="581466" y="4075358"/>
            <a:ext cx="4657482" cy="336223"/>
          </a:xfrm>
        </p:spPr>
        <p:txBody>
          <a:bodyPr/>
          <a:lstStyle>
            <a:lvl1pPr marL="0" indent="0">
              <a:lnSpc>
                <a:spcPct val="100000"/>
              </a:lnSpc>
              <a:spcAft>
                <a:spcPct val="0"/>
              </a:spcAft>
              <a:buFontTx/>
              <a:buNone/>
              <a:defRPr sz="1400">
                <a:solidFill>
                  <a:schemeClr val="accent5"/>
                </a:solidFill>
              </a:defRPr>
            </a:lvl1pPr>
          </a:lstStyle>
          <a:p>
            <a:r>
              <a:rPr lang="en-US"/>
              <a:t>Click to edit Master subtitle style</a:t>
            </a:r>
            <a:endParaRPr lang="en-US" dirty="0"/>
          </a:p>
        </p:txBody>
      </p:sp>
    </p:spTree>
    <p:extLst>
      <p:ext uri="{BB962C8B-B14F-4D97-AF65-F5344CB8AC3E}">
        <p14:creationId xmlns:p14="http://schemas.microsoft.com/office/powerpoint/2010/main" val="1779026648"/>
      </p:ext>
    </p:extLst>
  </p:cSld>
  <p:clrMapOvr>
    <a:overrideClrMapping bg1="dk1" tx1="lt1" bg2="dk2" tx2="lt2" accent1="accent1" accent2="accent2" accent3="accent3" accent4="accent4" accent5="accent5" accent6="accent6" hlink="hlink" folHlink="folHlink"/>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losing Slide">
    <p:bg bwMode="gray">
      <p:bgPr>
        <a:solidFill>
          <a:schemeClr val="bg1"/>
        </a:solidFill>
        <a:effectLst/>
      </p:bgPr>
    </p:bg>
    <p:spTree>
      <p:nvGrpSpPr>
        <p:cNvPr id="1" name=""/>
        <p:cNvGrpSpPr/>
        <p:nvPr/>
      </p:nvGrpSpPr>
      <p:grpSpPr>
        <a:xfrm>
          <a:off x="0" y="0"/>
          <a:ext cx="0" cy="0"/>
          <a:chOff x="0" y="0"/>
          <a:chExt cx="0" cy="0"/>
        </a:xfrm>
      </p:grpSpPr>
      <p:sp>
        <p:nvSpPr>
          <p:cNvPr id="2" name="Freeform 5"/>
          <p:cNvSpPr>
            <a:spLocks noEditPoints="1"/>
          </p:cNvSpPr>
          <p:nvPr/>
        </p:nvSpPr>
        <p:spPr bwMode="auto">
          <a:xfrm>
            <a:off x="2807498" y="2870200"/>
            <a:ext cx="4720233" cy="730250"/>
          </a:xfrm>
          <a:custGeom>
            <a:avLst/>
            <a:gdLst>
              <a:gd name="T0" fmla="*/ 2147483646 w 5472"/>
              <a:gd name="T1" fmla="*/ 2147483646 h 952"/>
              <a:gd name="T2" fmla="*/ 2147483646 w 5472"/>
              <a:gd name="T3" fmla="*/ 2147483646 h 952"/>
              <a:gd name="T4" fmla="*/ 2147483646 w 5472"/>
              <a:gd name="T5" fmla="*/ 2147483646 h 952"/>
              <a:gd name="T6" fmla="*/ 2147483646 w 5472"/>
              <a:gd name="T7" fmla="*/ 2147483646 h 952"/>
              <a:gd name="T8" fmla="*/ 2147483646 w 5472"/>
              <a:gd name="T9" fmla="*/ 2147483646 h 952"/>
              <a:gd name="T10" fmla="*/ 2147483646 w 5472"/>
              <a:gd name="T11" fmla="*/ 2147483646 h 952"/>
              <a:gd name="T12" fmla="*/ 2147483646 w 5472"/>
              <a:gd name="T13" fmla="*/ 2147483646 h 952"/>
              <a:gd name="T14" fmla="*/ 2147483646 w 5472"/>
              <a:gd name="T15" fmla="*/ 2147483646 h 952"/>
              <a:gd name="T16" fmla="*/ 2147483646 w 5472"/>
              <a:gd name="T17" fmla="*/ 2147483646 h 952"/>
              <a:gd name="T18" fmla="*/ 2147483646 w 5472"/>
              <a:gd name="T19" fmla="*/ 2147483646 h 952"/>
              <a:gd name="T20" fmla="*/ 2147483646 w 5472"/>
              <a:gd name="T21" fmla="*/ 2147483646 h 952"/>
              <a:gd name="T22" fmla="*/ 2147483646 w 5472"/>
              <a:gd name="T23" fmla="*/ 2147483646 h 952"/>
              <a:gd name="T24" fmla="*/ 2147483646 w 5472"/>
              <a:gd name="T25" fmla="*/ 2147483646 h 952"/>
              <a:gd name="T26" fmla="*/ 2147483646 w 5472"/>
              <a:gd name="T27" fmla="*/ 2147483646 h 952"/>
              <a:gd name="T28" fmla="*/ 2147483646 w 5472"/>
              <a:gd name="T29" fmla="*/ 2147483646 h 952"/>
              <a:gd name="T30" fmla="*/ 2147483646 w 5472"/>
              <a:gd name="T31" fmla="*/ 2147483646 h 952"/>
              <a:gd name="T32" fmla="*/ 2147483646 w 5472"/>
              <a:gd name="T33" fmla="*/ 2147483646 h 952"/>
              <a:gd name="T34" fmla="*/ 2147483646 w 5472"/>
              <a:gd name="T35" fmla="*/ 2147483646 h 952"/>
              <a:gd name="T36" fmla="*/ 2147483646 w 5472"/>
              <a:gd name="T37" fmla="*/ 2147483646 h 952"/>
              <a:gd name="T38" fmla="*/ 2147483646 w 5472"/>
              <a:gd name="T39" fmla="*/ 2147483646 h 952"/>
              <a:gd name="T40" fmla="*/ 2147483646 w 5472"/>
              <a:gd name="T41" fmla="*/ 2147483646 h 952"/>
              <a:gd name="T42" fmla="*/ 2147483646 w 5472"/>
              <a:gd name="T43" fmla="*/ 2147483646 h 952"/>
              <a:gd name="T44" fmla="*/ 2147483646 w 5472"/>
              <a:gd name="T45" fmla="*/ 2147483646 h 952"/>
              <a:gd name="T46" fmla="*/ 2147483646 w 5472"/>
              <a:gd name="T47" fmla="*/ 2147483646 h 952"/>
              <a:gd name="T48" fmla="*/ 2147483646 w 5472"/>
              <a:gd name="T49" fmla="*/ 2147483646 h 952"/>
              <a:gd name="T50" fmla="*/ 2147483646 w 5472"/>
              <a:gd name="T51" fmla="*/ 2147483646 h 952"/>
              <a:gd name="T52" fmla="*/ 2147483646 w 5472"/>
              <a:gd name="T53" fmla="*/ 2147483646 h 952"/>
              <a:gd name="T54" fmla="*/ 2147483646 w 5472"/>
              <a:gd name="T55" fmla="*/ 2147483646 h 952"/>
              <a:gd name="T56" fmla="*/ 2147483646 w 5472"/>
              <a:gd name="T57" fmla="*/ 2147483646 h 952"/>
              <a:gd name="T58" fmla="*/ 2147483646 w 5472"/>
              <a:gd name="T59" fmla="*/ 2147483646 h 952"/>
              <a:gd name="T60" fmla="*/ 2147483646 w 5472"/>
              <a:gd name="T61" fmla="*/ 2147483646 h 952"/>
              <a:gd name="T62" fmla="*/ 2147483646 w 5472"/>
              <a:gd name="T63" fmla="*/ 2147483646 h 952"/>
              <a:gd name="T64" fmla="*/ 2147483646 w 5472"/>
              <a:gd name="T65" fmla="*/ 2147483646 h 952"/>
              <a:gd name="T66" fmla="*/ 2147483646 w 5472"/>
              <a:gd name="T67" fmla="*/ 2147483646 h 952"/>
              <a:gd name="T68" fmla="*/ 2147483646 w 5472"/>
              <a:gd name="T69" fmla="*/ 2147483646 h 952"/>
              <a:gd name="T70" fmla="*/ 2147483646 w 5472"/>
              <a:gd name="T71" fmla="*/ 2147483646 h 952"/>
              <a:gd name="T72" fmla="*/ 2147483646 w 5472"/>
              <a:gd name="T73" fmla="*/ 2147483646 h 952"/>
              <a:gd name="T74" fmla="*/ 2147483646 w 5472"/>
              <a:gd name="T75" fmla="*/ 2147483646 h 952"/>
              <a:gd name="T76" fmla="*/ 2147483646 w 5472"/>
              <a:gd name="T77" fmla="*/ 2147483646 h 952"/>
              <a:gd name="T78" fmla="*/ 2147483646 w 5472"/>
              <a:gd name="T79" fmla="*/ 2147483646 h 952"/>
              <a:gd name="T80" fmla="*/ 2147483646 w 5472"/>
              <a:gd name="T81" fmla="*/ 2147483646 h 952"/>
              <a:gd name="T82" fmla="*/ 2147483646 w 5472"/>
              <a:gd name="T83" fmla="*/ 0 h 952"/>
              <a:gd name="T84" fmla="*/ 2147483646 w 5472"/>
              <a:gd name="T85" fmla="*/ 2147483646 h 952"/>
              <a:gd name="T86" fmla="*/ 2147483646 w 5472"/>
              <a:gd name="T87" fmla="*/ 2147483646 h 952"/>
              <a:gd name="T88" fmla="*/ 2147483646 w 5472"/>
              <a:gd name="T89" fmla="*/ 2147483646 h 952"/>
              <a:gd name="T90" fmla="*/ 2147483646 w 5472"/>
              <a:gd name="T91" fmla="*/ 2147483646 h 952"/>
              <a:gd name="T92" fmla="*/ 2147483646 w 5472"/>
              <a:gd name="T93" fmla="*/ 2147483646 h 952"/>
              <a:gd name="T94" fmla="*/ 2147483646 w 5472"/>
              <a:gd name="T95" fmla="*/ 2147483646 h 952"/>
              <a:gd name="T96" fmla="*/ 2147483646 w 5472"/>
              <a:gd name="T97" fmla="*/ 2147483646 h 952"/>
              <a:gd name="T98" fmla="*/ 2147483646 w 5472"/>
              <a:gd name="T99" fmla="*/ 2147483646 h 952"/>
              <a:gd name="T100" fmla="*/ 2147483646 w 5472"/>
              <a:gd name="T101" fmla="*/ 2147483646 h 952"/>
              <a:gd name="T102" fmla="*/ 2147483646 w 5472"/>
              <a:gd name="T103" fmla="*/ 2147483646 h 952"/>
              <a:gd name="T104" fmla="*/ 2147483646 w 5472"/>
              <a:gd name="T105" fmla="*/ 2147483646 h 952"/>
              <a:gd name="T106" fmla="*/ 2147483646 w 5472"/>
              <a:gd name="T107" fmla="*/ 2147483646 h 952"/>
              <a:gd name="T108" fmla="*/ 2147483646 w 5472"/>
              <a:gd name="T109" fmla="*/ 0 h 952"/>
              <a:gd name="T110" fmla="*/ 2147483646 w 5472"/>
              <a:gd name="T111" fmla="*/ 2147483646 h 952"/>
              <a:gd name="T112" fmla="*/ 2147483646 w 5472"/>
              <a:gd name="T113" fmla="*/ 2147483646 h 952"/>
              <a:gd name="T114" fmla="*/ 2147483646 w 5472"/>
              <a:gd name="T115" fmla="*/ 2147483646 h 952"/>
              <a:gd name="T116" fmla="*/ 2147483646 w 5472"/>
              <a:gd name="T117" fmla="*/ 2147483646 h 952"/>
              <a:gd name="T118" fmla="*/ 2147483646 w 5472"/>
              <a:gd name="T119" fmla="*/ 2147483646 h 952"/>
              <a:gd name="T120" fmla="*/ 2147483646 w 5472"/>
              <a:gd name="T121" fmla="*/ 2147483646 h 952"/>
              <a:gd name="T122" fmla="*/ 2147483646 w 5472"/>
              <a:gd name="T123" fmla="*/ 2147483646 h 95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2" h="952">
                <a:moveTo>
                  <a:pt x="5454" y="922"/>
                </a:moveTo>
                <a:lnTo>
                  <a:pt x="5454" y="922"/>
                </a:lnTo>
                <a:lnTo>
                  <a:pt x="5452" y="902"/>
                </a:lnTo>
                <a:lnTo>
                  <a:pt x="5448" y="886"/>
                </a:lnTo>
                <a:lnTo>
                  <a:pt x="5440" y="872"/>
                </a:lnTo>
                <a:lnTo>
                  <a:pt x="5430" y="862"/>
                </a:lnTo>
                <a:lnTo>
                  <a:pt x="5418" y="854"/>
                </a:lnTo>
                <a:lnTo>
                  <a:pt x="5402" y="848"/>
                </a:lnTo>
                <a:lnTo>
                  <a:pt x="5384" y="844"/>
                </a:lnTo>
                <a:lnTo>
                  <a:pt x="5364" y="844"/>
                </a:lnTo>
                <a:lnTo>
                  <a:pt x="4946" y="844"/>
                </a:lnTo>
                <a:lnTo>
                  <a:pt x="4910" y="842"/>
                </a:lnTo>
                <a:lnTo>
                  <a:pt x="4878" y="838"/>
                </a:lnTo>
                <a:lnTo>
                  <a:pt x="4848" y="832"/>
                </a:lnTo>
                <a:lnTo>
                  <a:pt x="4820" y="824"/>
                </a:lnTo>
                <a:lnTo>
                  <a:pt x="4796" y="814"/>
                </a:lnTo>
                <a:lnTo>
                  <a:pt x="4774" y="800"/>
                </a:lnTo>
                <a:lnTo>
                  <a:pt x="4754" y="788"/>
                </a:lnTo>
                <a:lnTo>
                  <a:pt x="4738" y="772"/>
                </a:lnTo>
                <a:lnTo>
                  <a:pt x="4722" y="756"/>
                </a:lnTo>
                <a:lnTo>
                  <a:pt x="4710" y="740"/>
                </a:lnTo>
                <a:lnTo>
                  <a:pt x="4698" y="724"/>
                </a:lnTo>
                <a:lnTo>
                  <a:pt x="4690" y="706"/>
                </a:lnTo>
                <a:lnTo>
                  <a:pt x="4682" y="688"/>
                </a:lnTo>
                <a:lnTo>
                  <a:pt x="4676" y="672"/>
                </a:lnTo>
                <a:lnTo>
                  <a:pt x="4674" y="654"/>
                </a:lnTo>
                <a:lnTo>
                  <a:pt x="4670" y="638"/>
                </a:lnTo>
                <a:lnTo>
                  <a:pt x="5252" y="638"/>
                </a:lnTo>
                <a:lnTo>
                  <a:pt x="5282" y="636"/>
                </a:lnTo>
                <a:lnTo>
                  <a:pt x="5310" y="632"/>
                </a:lnTo>
                <a:lnTo>
                  <a:pt x="5336" y="626"/>
                </a:lnTo>
                <a:lnTo>
                  <a:pt x="5358" y="618"/>
                </a:lnTo>
                <a:lnTo>
                  <a:pt x="5378" y="608"/>
                </a:lnTo>
                <a:lnTo>
                  <a:pt x="5396" y="596"/>
                </a:lnTo>
                <a:lnTo>
                  <a:pt x="5412" y="582"/>
                </a:lnTo>
                <a:lnTo>
                  <a:pt x="5426" y="568"/>
                </a:lnTo>
                <a:lnTo>
                  <a:pt x="5438" y="552"/>
                </a:lnTo>
                <a:lnTo>
                  <a:pt x="5448" y="536"/>
                </a:lnTo>
                <a:lnTo>
                  <a:pt x="5456" y="518"/>
                </a:lnTo>
                <a:lnTo>
                  <a:pt x="5462" y="502"/>
                </a:lnTo>
                <a:lnTo>
                  <a:pt x="5466" y="486"/>
                </a:lnTo>
                <a:lnTo>
                  <a:pt x="5470" y="468"/>
                </a:lnTo>
                <a:lnTo>
                  <a:pt x="5472" y="452"/>
                </a:lnTo>
                <a:lnTo>
                  <a:pt x="5472" y="438"/>
                </a:lnTo>
                <a:lnTo>
                  <a:pt x="5472" y="422"/>
                </a:lnTo>
                <a:lnTo>
                  <a:pt x="5470" y="404"/>
                </a:lnTo>
                <a:lnTo>
                  <a:pt x="5466" y="388"/>
                </a:lnTo>
                <a:lnTo>
                  <a:pt x="5460" y="370"/>
                </a:lnTo>
                <a:lnTo>
                  <a:pt x="5454" y="354"/>
                </a:lnTo>
                <a:lnTo>
                  <a:pt x="5446" y="336"/>
                </a:lnTo>
                <a:lnTo>
                  <a:pt x="5436" y="320"/>
                </a:lnTo>
                <a:lnTo>
                  <a:pt x="5424" y="306"/>
                </a:lnTo>
                <a:lnTo>
                  <a:pt x="5410" y="292"/>
                </a:lnTo>
                <a:lnTo>
                  <a:pt x="5394" y="278"/>
                </a:lnTo>
                <a:lnTo>
                  <a:pt x="5376" y="266"/>
                </a:lnTo>
                <a:lnTo>
                  <a:pt x="5356" y="256"/>
                </a:lnTo>
                <a:lnTo>
                  <a:pt x="5334" y="248"/>
                </a:lnTo>
                <a:lnTo>
                  <a:pt x="5310" y="242"/>
                </a:lnTo>
                <a:lnTo>
                  <a:pt x="5282" y="238"/>
                </a:lnTo>
                <a:lnTo>
                  <a:pt x="5252" y="236"/>
                </a:lnTo>
                <a:lnTo>
                  <a:pt x="4938" y="236"/>
                </a:lnTo>
                <a:lnTo>
                  <a:pt x="4886" y="238"/>
                </a:lnTo>
                <a:lnTo>
                  <a:pt x="4840" y="246"/>
                </a:lnTo>
                <a:lnTo>
                  <a:pt x="4796" y="256"/>
                </a:lnTo>
                <a:lnTo>
                  <a:pt x="4758" y="270"/>
                </a:lnTo>
                <a:lnTo>
                  <a:pt x="4724" y="286"/>
                </a:lnTo>
                <a:lnTo>
                  <a:pt x="4692" y="306"/>
                </a:lnTo>
                <a:lnTo>
                  <a:pt x="4664" y="328"/>
                </a:lnTo>
                <a:lnTo>
                  <a:pt x="4640" y="354"/>
                </a:lnTo>
                <a:lnTo>
                  <a:pt x="4620" y="380"/>
                </a:lnTo>
                <a:lnTo>
                  <a:pt x="4602" y="408"/>
                </a:lnTo>
                <a:lnTo>
                  <a:pt x="4588" y="438"/>
                </a:lnTo>
                <a:lnTo>
                  <a:pt x="4578" y="468"/>
                </a:lnTo>
                <a:lnTo>
                  <a:pt x="4568" y="498"/>
                </a:lnTo>
                <a:lnTo>
                  <a:pt x="4562" y="528"/>
                </a:lnTo>
                <a:lnTo>
                  <a:pt x="4560" y="560"/>
                </a:lnTo>
                <a:lnTo>
                  <a:pt x="4558" y="590"/>
                </a:lnTo>
                <a:lnTo>
                  <a:pt x="4560" y="622"/>
                </a:lnTo>
                <a:lnTo>
                  <a:pt x="4564" y="654"/>
                </a:lnTo>
                <a:lnTo>
                  <a:pt x="4570" y="686"/>
                </a:lnTo>
                <a:lnTo>
                  <a:pt x="4578" y="718"/>
                </a:lnTo>
                <a:lnTo>
                  <a:pt x="4592" y="748"/>
                </a:lnTo>
                <a:lnTo>
                  <a:pt x="4606" y="778"/>
                </a:lnTo>
                <a:lnTo>
                  <a:pt x="4624" y="804"/>
                </a:lnTo>
                <a:lnTo>
                  <a:pt x="4646" y="830"/>
                </a:lnTo>
                <a:lnTo>
                  <a:pt x="4670" y="854"/>
                </a:lnTo>
                <a:lnTo>
                  <a:pt x="4698" y="876"/>
                </a:lnTo>
                <a:lnTo>
                  <a:pt x="4728" y="896"/>
                </a:lnTo>
                <a:lnTo>
                  <a:pt x="4764" y="912"/>
                </a:lnTo>
                <a:lnTo>
                  <a:pt x="4802" y="924"/>
                </a:lnTo>
                <a:lnTo>
                  <a:pt x="4842" y="934"/>
                </a:lnTo>
                <a:lnTo>
                  <a:pt x="4888" y="940"/>
                </a:lnTo>
                <a:lnTo>
                  <a:pt x="4938" y="942"/>
                </a:lnTo>
                <a:lnTo>
                  <a:pt x="5454" y="942"/>
                </a:lnTo>
                <a:lnTo>
                  <a:pt x="5454" y="922"/>
                </a:lnTo>
                <a:close/>
                <a:moveTo>
                  <a:pt x="4946" y="334"/>
                </a:moveTo>
                <a:lnTo>
                  <a:pt x="4946" y="334"/>
                </a:lnTo>
                <a:lnTo>
                  <a:pt x="5238" y="334"/>
                </a:lnTo>
                <a:lnTo>
                  <a:pt x="5256" y="336"/>
                </a:lnTo>
                <a:lnTo>
                  <a:pt x="5272" y="338"/>
                </a:lnTo>
                <a:lnTo>
                  <a:pt x="5286" y="340"/>
                </a:lnTo>
                <a:lnTo>
                  <a:pt x="5300" y="344"/>
                </a:lnTo>
                <a:lnTo>
                  <a:pt x="5312" y="350"/>
                </a:lnTo>
                <a:lnTo>
                  <a:pt x="5322" y="356"/>
                </a:lnTo>
                <a:lnTo>
                  <a:pt x="5330" y="364"/>
                </a:lnTo>
                <a:lnTo>
                  <a:pt x="5338" y="370"/>
                </a:lnTo>
                <a:lnTo>
                  <a:pt x="5350" y="388"/>
                </a:lnTo>
                <a:lnTo>
                  <a:pt x="5358" y="404"/>
                </a:lnTo>
                <a:lnTo>
                  <a:pt x="5362" y="422"/>
                </a:lnTo>
                <a:lnTo>
                  <a:pt x="5362" y="438"/>
                </a:lnTo>
                <a:lnTo>
                  <a:pt x="5362" y="452"/>
                </a:lnTo>
                <a:lnTo>
                  <a:pt x="5358" y="468"/>
                </a:lnTo>
                <a:lnTo>
                  <a:pt x="5350" y="486"/>
                </a:lnTo>
                <a:lnTo>
                  <a:pt x="5338" y="502"/>
                </a:lnTo>
                <a:lnTo>
                  <a:pt x="5332" y="510"/>
                </a:lnTo>
                <a:lnTo>
                  <a:pt x="5322" y="518"/>
                </a:lnTo>
                <a:lnTo>
                  <a:pt x="5312" y="524"/>
                </a:lnTo>
                <a:lnTo>
                  <a:pt x="5300" y="530"/>
                </a:lnTo>
                <a:lnTo>
                  <a:pt x="5288" y="534"/>
                </a:lnTo>
                <a:lnTo>
                  <a:pt x="5272" y="538"/>
                </a:lnTo>
                <a:lnTo>
                  <a:pt x="5256" y="540"/>
                </a:lnTo>
                <a:lnTo>
                  <a:pt x="5238" y="540"/>
                </a:lnTo>
                <a:lnTo>
                  <a:pt x="4670" y="540"/>
                </a:lnTo>
                <a:lnTo>
                  <a:pt x="4676" y="512"/>
                </a:lnTo>
                <a:lnTo>
                  <a:pt x="4680" y="496"/>
                </a:lnTo>
                <a:lnTo>
                  <a:pt x="4688" y="478"/>
                </a:lnTo>
                <a:lnTo>
                  <a:pt x="4696" y="462"/>
                </a:lnTo>
                <a:lnTo>
                  <a:pt x="4706" y="444"/>
                </a:lnTo>
                <a:lnTo>
                  <a:pt x="4718" y="428"/>
                </a:lnTo>
                <a:lnTo>
                  <a:pt x="4732" y="412"/>
                </a:lnTo>
                <a:lnTo>
                  <a:pt x="4750" y="396"/>
                </a:lnTo>
                <a:lnTo>
                  <a:pt x="4768" y="382"/>
                </a:lnTo>
                <a:lnTo>
                  <a:pt x="4790" y="368"/>
                </a:lnTo>
                <a:lnTo>
                  <a:pt x="4816" y="356"/>
                </a:lnTo>
                <a:lnTo>
                  <a:pt x="4844" y="348"/>
                </a:lnTo>
                <a:lnTo>
                  <a:pt x="4874" y="340"/>
                </a:lnTo>
                <a:lnTo>
                  <a:pt x="4908" y="336"/>
                </a:lnTo>
                <a:lnTo>
                  <a:pt x="4946" y="334"/>
                </a:lnTo>
                <a:close/>
                <a:moveTo>
                  <a:pt x="3760" y="898"/>
                </a:moveTo>
                <a:lnTo>
                  <a:pt x="3760" y="898"/>
                </a:lnTo>
                <a:lnTo>
                  <a:pt x="3740" y="924"/>
                </a:lnTo>
                <a:lnTo>
                  <a:pt x="3730" y="932"/>
                </a:lnTo>
                <a:lnTo>
                  <a:pt x="3720" y="940"/>
                </a:lnTo>
                <a:lnTo>
                  <a:pt x="3712" y="946"/>
                </a:lnTo>
                <a:lnTo>
                  <a:pt x="3702" y="950"/>
                </a:lnTo>
                <a:lnTo>
                  <a:pt x="3694" y="952"/>
                </a:lnTo>
                <a:lnTo>
                  <a:pt x="3684" y="952"/>
                </a:lnTo>
                <a:lnTo>
                  <a:pt x="3670" y="952"/>
                </a:lnTo>
                <a:lnTo>
                  <a:pt x="3660" y="948"/>
                </a:lnTo>
                <a:lnTo>
                  <a:pt x="3650" y="944"/>
                </a:lnTo>
                <a:lnTo>
                  <a:pt x="3642" y="938"/>
                </a:lnTo>
                <a:lnTo>
                  <a:pt x="3634" y="930"/>
                </a:lnTo>
                <a:lnTo>
                  <a:pt x="3624" y="920"/>
                </a:lnTo>
                <a:lnTo>
                  <a:pt x="3606" y="898"/>
                </a:lnTo>
                <a:lnTo>
                  <a:pt x="3124" y="236"/>
                </a:lnTo>
                <a:lnTo>
                  <a:pt x="3188" y="236"/>
                </a:lnTo>
                <a:lnTo>
                  <a:pt x="3212" y="238"/>
                </a:lnTo>
                <a:lnTo>
                  <a:pt x="3232" y="240"/>
                </a:lnTo>
                <a:lnTo>
                  <a:pt x="3250" y="246"/>
                </a:lnTo>
                <a:lnTo>
                  <a:pt x="3264" y="254"/>
                </a:lnTo>
                <a:lnTo>
                  <a:pt x="3276" y="264"/>
                </a:lnTo>
                <a:lnTo>
                  <a:pt x="3286" y="274"/>
                </a:lnTo>
                <a:lnTo>
                  <a:pt x="3308" y="302"/>
                </a:lnTo>
                <a:lnTo>
                  <a:pt x="3686" y="836"/>
                </a:lnTo>
                <a:lnTo>
                  <a:pt x="4066" y="300"/>
                </a:lnTo>
                <a:lnTo>
                  <a:pt x="4086" y="274"/>
                </a:lnTo>
                <a:lnTo>
                  <a:pt x="4098" y="262"/>
                </a:lnTo>
                <a:lnTo>
                  <a:pt x="4110" y="254"/>
                </a:lnTo>
                <a:lnTo>
                  <a:pt x="4124" y="246"/>
                </a:lnTo>
                <a:lnTo>
                  <a:pt x="4140" y="240"/>
                </a:lnTo>
                <a:lnTo>
                  <a:pt x="4160" y="238"/>
                </a:lnTo>
                <a:lnTo>
                  <a:pt x="4184" y="236"/>
                </a:lnTo>
                <a:lnTo>
                  <a:pt x="4242" y="236"/>
                </a:lnTo>
                <a:lnTo>
                  <a:pt x="3760" y="898"/>
                </a:lnTo>
                <a:close/>
                <a:moveTo>
                  <a:pt x="1002" y="942"/>
                </a:moveTo>
                <a:lnTo>
                  <a:pt x="1002" y="942"/>
                </a:lnTo>
                <a:lnTo>
                  <a:pt x="986" y="940"/>
                </a:lnTo>
                <a:lnTo>
                  <a:pt x="972" y="938"/>
                </a:lnTo>
                <a:lnTo>
                  <a:pt x="960" y="932"/>
                </a:lnTo>
                <a:lnTo>
                  <a:pt x="948" y="926"/>
                </a:lnTo>
                <a:lnTo>
                  <a:pt x="938" y="916"/>
                </a:lnTo>
                <a:lnTo>
                  <a:pt x="932" y="904"/>
                </a:lnTo>
                <a:lnTo>
                  <a:pt x="926" y="890"/>
                </a:lnTo>
                <a:lnTo>
                  <a:pt x="922" y="874"/>
                </a:lnTo>
                <a:lnTo>
                  <a:pt x="906" y="796"/>
                </a:lnTo>
                <a:lnTo>
                  <a:pt x="894" y="816"/>
                </a:lnTo>
                <a:lnTo>
                  <a:pt x="876" y="838"/>
                </a:lnTo>
                <a:lnTo>
                  <a:pt x="850" y="862"/>
                </a:lnTo>
                <a:lnTo>
                  <a:pt x="836" y="874"/>
                </a:lnTo>
                <a:lnTo>
                  <a:pt x="818" y="886"/>
                </a:lnTo>
                <a:lnTo>
                  <a:pt x="798" y="898"/>
                </a:lnTo>
                <a:lnTo>
                  <a:pt x="778" y="908"/>
                </a:lnTo>
                <a:lnTo>
                  <a:pt x="754" y="918"/>
                </a:lnTo>
                <a:lnTo>
                  <a:pt x="728" y="926"/>
                </a:lnTo>
                <a:lnTo>
                  <a:pt x="700" y="932"/>
                </a:lnTo>
                <a:lnTo>
                  <a:pt x="670" y="938"/>
                </a:lnTo>
                <a:lnTo>
                  <a:pt x="638" y="940"/>
                </a:lnTo>
                <a:lnTo>
                  <a:pt x="604" y="942"/>
                </a:lnTo>
                <a:lnTo>
                  <a:pt x="384" y="942"/>
                </a:lnTo>
                <a:lnTo>
                  <a:pt x="356" y="942"/>
                </a:lnTo>
                <a:lnTo>
                  <a:pt x="330" y="940"/>
                </a:lnTo>
                <a:lnTo>
                  <a:pt x="306" y="936"/>
                </a:lnTo>
                <a:lnTo>
                  <a:pt x="282" y="932"/>
                </a:lnTo>
                <a:lnTo>
                  <a:pt x="258" y="928"/>
                </a:lnTo>
                <a:lnTo>
                  <a:pt x="238" y="922"/>
                </a:lnTo>
                <a:lnTo>
                  <a:pt x="198" y="908"/>
                </a:lnTo>
                <a:lnTo>
                  <a:pt x="162" y="890"/>
                </a:lnTo>
                <a:lnTo>
                  <a:pt x="130" y="870"/>
                </a:lnTo>
                <a:lnTo>
                  <a:pt x="104" y="846"/>
                </a:lnTo>
                <a:lnTo>
                  <a:pt x="80" y="822"/>
                </a:lnTo>
                <a:lnTo>
                  <a:pt x="60" y="794"/>
                </a:lnTo>
                <a:lnTo>
                  <a:pt x="42" y="766"/>
                </a:lnTo>
                <a:lnTo>
                  <a:pt x="28" y="738"/>
                </a:lnTo>
                <a:lnTo>
                  <a:pt x="18" y="708"/>
                </a:lnTo>
                <a:lnTo>
                  <a:pt x="10" y="678"/>
                </a:lnTo>
                <a:lnTo>
                  <a:pt x="4" y="648"/>
                </a:lnTo>
                <a:lnTo>
                  <a:pt x="2" y="618"/>
                </a:lnTo>
                <a:lnTo>
                  <a:pt x="0" y="590"/>
                </a:lnTo>
                <a:lnTo>
                  <a:pt x="2" y="558"/>
                </a:lnTo>
                <a:lnTo>
                  <a:pt x="4" y="526"/>
                </a:lnTo>
                <a:lnTo>
                  <a:pt x="12" y="494"/>
                </a:lnTo>
                <a:lnTo>
                  <a:pt x="20" y="462"/>
                </a:lnTo>
                <a:lnTo>
                  <a:pt x="32" y="432"/>
                </a:lnTo>
                <a:lnTo>
                  <a:pt x="46" y="404"/>
                </a:lnTo>
                <a:lnTo>
                  <a:pt x="64" y="376"/>
                </a:lnTo>
                <a:lnTo>
                  <a:pt x="86" y="350"/>
                </a:lnTo>
                <a:lnTo>
                  <a:pt x="110" y="326"/>
                </a:lnTo>
                <a:lnTo>
                  <a:pt x="138" y="304"/>
                </a:lnTo>
                <a:lnTo>
                  <a:pt x="170" y="284"/>
                </a:lnTo>
                <a:lnTo>
                  <a:pt x="204" y="268"/>
                </a:lnTo>
                <a:lnTo>
                  <a:pt x="244" y="254"/>
                </a:lnTo>
                <a:lnTo>
                  <a:pt x="286" y="244"/>
                </a:lnTo>
                <a:lnTo>
                  <a:pt x="332" y="238"/>
                </a:lnTo>
                <a:lnTo>
                  <a:pt x="384" y="236"/>
                </a:lnTo>
                <a:lnTo>
                  <a:pt x="604" y="236"/>
                </a:lnTo>
                <a:lnTo>
                  <a:pt x="642" y="238"/>
                </a:lnTo>
                <a:lnTo>
                  <a:pt x="680" y="242"/>
                </a:lnTo>
                <a:lnTo>
                  <a:pt x="714" y="248"/>
                </a:lnTo>
                <a:lnTo>
                  <a:pt x="746" y="258"/>
                </a:lnTo>
                <a:lnTo>
                  <a:pt x="776" y="270"/>
                </a:lnTo>
                <a:lnTo>
                  <a:pt x="804" y="284"/>
                </a:lnTo>
                <a:lnTo>
                  <a:pt x="830" y="300"/>
                </a:lnTo>
                <a:lnTo>
                  <a:pt x="854" y="318"/>
                </a:lnTo>
                <a:lnTo>
                  <a:pt x="876" y="338"/>
                </a:lnTo>
                <a:lnTo>
                  <a:pt x="894" y="358"/>
                </a:lnTo>
                <a:lnTo>
                  <a:pt x="912" y="382"/>
                </a:lnTo>
                <a:lnTo>
                  <a:pt x="926" y="406"/>
                </a:lnTo>
                <a:lnTo>
                  <a:pt x="940" y="432"/>
                </a:lnTo>
                <a:lnTo>
                  <a:pt x="950" y="458"/>
                </a:lnTo>
                <a:lnTo>
                  <a:pt x="958" y="484"/>
                </a:lnTo>
                <a:lnTo>
                  <a:pt x="966" y="514"/>
                </a:lnTo>
                <a:lnTo>
                  <a:pt x="1046" y="942"/>
                </a:lnTo>
                <a:lnTo>
                  <a:pt x="1002" y="942"/>
                </a:lnTo>
                <a:close/>
                <a:moveTo>
                  <a:pt x="580" y="334"/>
                </a:moveTo>
                <a:lnTo>
                  <a:pt x="580" y="334"/>
                </a:lnTo>
                <a:lnTo>
                  <a:pt x="392" y="334"/>
                </a:lnTo>
                <a:lnTo>
                  <a:pt x="354" y="336"/>
                </a:lnTo>
                <a:lnTo>
                  <a:pt x="318" y="340"/>
                </a:lnTo>
                <a:lnTo>
                  <a:pt x="286" y="348"/>
                </a:lnTo>
                <a:lnTo>
                  <a:pt x="258" y="358"/>
                </a:lnTo>
                <a:lnTo>
                  <a:pt x="232" y="370"/>
                </a:lnTo>
                <a:lnTo>
                  <a:pt x="210" y="384"/>
                </a:lnTo>
                <a:lnTo>
                  <a:pt x="188" y="400"/>
                </a:lnTo>
                <a:lnTo>
                  <a:pt x="170" y="416"/>
                </a:lnTo>
                <a:lnTo>
                  <a:pt x="156" y="436"/>
                </a:lnTo>
                <a:lnTo>
                  <a:pt x="142" y="456"/>
                </a:lnTo>
                <a:lnTo>
                  <a:pt x="132" y="476"/>
                </a:lnTo>
                <a:lnTo>
                  <a:pt x="122" y="498"/>
                </a:lnTo>
                <a:lnTo>
                  <a:pt x="116" y="520"/>
                </a:lnTo>
                <a:lnTo>
                  <a:pt x="112" y="544"/>
                </a:lnTo>
                <a:lnTo>
                  <a:pt x="110" y="566"/>
                </a:lnTo>
                <a:lnTo>
                  <a:pt x="108" y="590"/>
                </a:lnTo>
                <a:lnTo>
                  <a:pt x="110" y="612"/>
                </a:lnTo>
                <a:lnTo>
                  <a:pt x="112" y="636"/>
                </a:lnTo>
                <a:lnTo>
                  <a:pt x="116" y="658"/>
                </a:lnTo>
                <a:lnTo>
                  <a:pt x="122" y="680"/>
                </a:lnTo>
                <a:lnTo>
                  <a:pt x="132" y="702"/>
                </a:lnTo>
                <a:lnTo>
                  <a:pt x="142" y="724"/>
                </a:lnTo>
                <a:lnTo>
                  <a:pt x="156" y="744"/>
                </a:lnTo>
                <a:lnTo>
                  <a:pt x="170" y="762"/>
                </a:lnTo>
                <a:lnTo>
                  <a:pt x="188" y="780"/>
                </a:lnTo>
                <a:lnTo>
                  <a:pt x="210" y="796"/>
                </a:lnTo>
                <a:lnTo>
                  <a:pt x="232" y="810"/>
                </a:lnTo>
                <a:lnTo>
                  <a:pt x="258" y="822"/>
                </a:lnTo>
                <a:lnTo>
                  <a:pt x="286" y="830"/>
                </a:lnTo>
                <a:lnTo>
                  <a:pt x="318" y="838"/>
                </a:lnTo>
                <a:lnTo>
                  <a:pt x="354" y="842"/>
                </a:lnTo>
                <a:lnTo>
                  <a:pt x="392" y="844"/>
                </a:lnTo>
                <a:lnTo>
                  <a:pt x="580" y="844"/>
                </a:lnTo>
                <a:lnTo>
                  <a:pt x="618" y="842"/>
                </a:lnTo>
                <a:lnTo>
                  <a:pt x="654" y="838"/>
                </a:lnTo>
                <a:lnTo>
                  <a:pt x="688" y="830"/>
                </a:lnTo>
                <a:lnTo>
                  <a:pt x="716" y="820"/>
                </a:lnTo>
                <a:lnTo>
                  <a:pt x="744" y="808"/>
                </a:lnTo>
                <a:lnTo>
                  <a:pt x="766" y="794"/>
                </a:lnTo>
                <a:lnTo>
                  <a:pt x="786" y="778"/>
                </a:lnTo>
                <a:lnTo>
                  <a:pt x="804" y="760"/>
                </a:lnTo>
                <a:lnTo>
                  <a:pt x="820" y="740"/>
                </a:lnTo>
                <a:lnTo>
                  <a:pt x="832" y="720"/>
                </a:lnTo>
                <a:lnTo>
                  <a:pt x="842" y="700"/>
                </a:lnTo>
                <a:lnTo>
                  <a:pt x="850" y="678"/>
                </a:lnTo>
                <a:lnTo>
                  <a:pt x="856" y="656"/>
                </a:lnTo>
                <a:lnTo>
                  <a:pt x="860" y="634"/>
                </a:lnTo>
                <a:lnTo>
                  <a:pt x="864" y="610"/>
                </a:lnTo>
                <a:lnTo>
                  <a:pt x="864" y="590"/>
                </a:lnTo>
                <a:lnTo>
                  <a:pt x="864" y="570"/>
                </a:lnTo>
                <a:lnTo>
                  <a:pt x="862" y="548"/>
                </a:lnTo>
                <a:lnTo>
                  <a:pt x="858" y="528"/>
                </a:lnTo>
                <a:lnTo>
                  <a:pt x="852" y="506"/>
                </a:lnTo>
                <a:lnTo>
                  <a:pt x="844" y="484"/>
                </a:lnTo>
                <a:lnTo>
                  <a:pt x="834" y="464"/>
                </a:lnTo>
                <a:lnTo>
                  <a:pt x="822" y="444"/>
                </a:lnTo>
                <a:lnTo>
                  <a:pt x="806" y="424"/>
                </a:lnTo>
                <a:lnTo>
                  <a:pt x="790" y="406"/>
                </a:lnTo>
                <a:lnTo>
                  <a:pt x="770" y="388"/>
                </a:lnTo>
                <a:lnTo>
                  <a:pt x="746" y="372"/>
                </a:lnTo>
                <a:lnTo>
                  <a:pt x="720" y="360"/>
                </a:lnTo>
                <a:lnTo>
                  <a:pt x="690" y="350"/>
                </a:lnTo>
                <a:lnTo>
                  <a:pt x="656" y="342"/>
                </a:lnTo>
                <a:lnTo>
                  <a:pt x="620" y="336"/>
                </a:lnTo>
                <a:lnTo>
                  <a:pt x="580" y="334"/>
                </a:lnTo>
                <a:close/>
                <a:moveTo>
                  <a:pt x="4384" y="156"/>
                </a:moveTo>
                <a:lnTo>
                  <a:pt x="4384" y="156"/>
                </a:lnTo>
                <a:lnTo>
                  <a:pt x="4394" y="154"/>
                </a:lnTo>
                <a:lnTo>
                  <a:pt x="4404" y="152"/>
                </a:lnTo>
                <a:lnTo>
                  <a:pt x="4414" y="148"/>
                </a:lnTo>
                <a:lnTo>
                  <a:pt x="4422" y="142"/>
                </a:lnTo>
                <a:lnTo>
                  <a:pt x="4430" y="134"/>
                </a:lnTo>
                <a:lnTo>
                  <a:pt x="4434" y="124"/>
                </a:lnTo>
                <a:lnTo>
                  <a:pt x="4438" y="112"/>
                </a:lnTo>
                <a:lnTo>
                  <a:pt x="4438" y="100"/>
                </a:lnTo>
                <a:lnTo>
                  <a:pt x="4438" y="76"/>
                </a:lnTo>
                <a:lnTo>
                  <a:pt x="4438" y="64"/>
                </a:lnTo>
                <a:lnTo>
                  <a:pt x="4434" y="52"/>
                </a:lnTo>
                <a:lnTo>
                  <a:pt x="4430" y="42"/>
                </a:lnTo>
                <a:lnTo>
                  <a:pt x="4422" y="34"/>
                </a:lnTo>
                <a:lnTo>
                  <a:pt x="4414" y="28"/>
                </a:lnTo>
                <a:lnTo>
                  <a:pt x="4404" y="24"/>
                </a:lnTo>
                <a:lnTo>
                  <a:pt x="4394" y="22"/>
                </a:lnTo>
                <a:lnTo>
                  <a:pt x="4384" y="20"/>
                </a:lnTo>
                <a:lnTo>
                  <a:pt x="4372" y="22"/>
                </a:lnTo>
                <a:lnTo>
                  <a:pt x="4362" y="24"/>
                </a:lnTo>
                <a:lnTo>
                  <a:pt x="4352" y="28"/>
                </a:lnTo>
                <a:lnTo>
                  <a:pt x="4344" y="34"/>
                </a:lnTo>
                <a:lnTo>
                  <a:pt x="4338" y="42"/>
                </a:lnTo>
                <a:lnTo>
                  <a:pt x="4332" y="52"/>
                </a:lnTo>
                <a:lnTo>
                  <a:pt x="4328" y="64"/>
                </a:lnTo>
                <a:lnTo>
                  <a:pt x="4328" y="76"/>
                </a:lnTo>
                <a:lnTo>
                  <a:pt x="4328" y="100"/>
                </a:lnTo>
                <a:lnTo>
                  <a:pt x="4328" y="112"/>
                </a:lnTo>
                <a:lnTo>
                  <a:pt x="4332" y="124"/>
                </a:lnTo>
                <a:lnTo>
                  <a:pt x="4336" y="134"/>
                </a:lnTo>
                <a:lnTo>
                  <a:pt x="4344" y="142"/>
                </a:lnTo>
                <a:lnTo>
                  <a:pt x="4352" y="148"/>
                </a:lnTo>
                <a:lnTo>
                  <a:pt x="4362" y="152"/>
                </a:lnTo>
                <a:lnTo>
                  <a:pt x="4372" y="154"/>
                </a:lnTo>
                <a:lnTo>
                  <a:pt x="4384" y="156"/>
                </a:lnTo>
                <a:close/>
                <a:moveTo>
                  <a:pt x="4328" y="236"/>
                </a:moveTo>
                <a:lnTo>
                  <a:pt x="4328" y="236"/>
                </a:lnTo>
                <a:lnTo>
                  <a:pt x="4354" y="236"/>
                </a:lnTo>
                <a:lnTo>
                  <a:pt x="4372" y="238"/>
                </a:lnTo>
                <a:lnTo>
                  <a:pt x="4388" y="242"/>
                </a:lnTo>
                <a:lnTo>
                  <a:pt x="4402" y="248"/>
                </a:lnTo>
                <a:lnTo>
                  <a:pt x="4414" y="256"/>
                </a:lnTo>
                <a:lnTo>
                  <a:pt x="4424" y="268"/>
                </a:lnTo>
                <a:lnTo>
                  <a:pt x="4432" y="284"/>
                </a:lnTo>
                <a:lnTo>
                  <a:pt x="4436" y="304"/>
                </a:lnTo>
                <a:lnTo>
                  <a:pt x="4438" y="328"/>
                </a:lnTo>
                <a:lnTo>
                  <a:pt x="4438" y="942"/>
                </a:lnTo>
                <a:lnTo>
                  <a:pt x="4410" y="942"/>
                </a:lnTo>
                <a:lnTo>
                  <a:pt x="4390" y="940"/>
                </a:lnTo>
                <a:lnTo>
                  <a:pt x="4374" y="936"/>
                </a:lnTo>
                <a:lnTo>
                  <a:pt x="4360" y="930"/>
                </a:lnTo>
                <a:lnTo>
                  <a:pt x="4348" y="920"/>
                </a:lnTo>
                <a:lnTo>
                  <a:pt x="4340" y="908"/>
                </a:lnTo>
                <a:lnTo>
                  <a:pt x="4334" y="892"/>
                </a:lnTo>
                <a:lnTo>
                  <a:pt x="4330" y="874"/>
                </a:lnTo>
                <a:lnTo>
                  <a:pt x="4328" y="852"/>
                </a:lnTo>
                <a:lnTo>
                  <a:pt x="4328" y="236"/>
                </a:lnTo>
                <a:close/>
                <a:moveTo>
                  <a:pt x="1210" y="328"/>
                </a:moveTo>
                <a:lnTo>
                  <a:pt x="1210" y="328"/>
                </a:lnTo>
                <a:lnTo>
                  <a:pt x="1230" y="312"/>
                </a:lnTo>
                <a:lnTo>
                  <a:pt x="1252" y="296"/>
                </a:lnTo>
                <a:lnTo>
                  <a:pt x="1280" y="280"/>
                </a:lnTo>
                <a:lnTo>
                  <a:pt x="1310" y="266"/>
                </a:lnTo>
                <a:lnTo>
                  <a:pt x="1344" y="254"/>
                </a:lnTo>
                <a:lnTo>
                  <a:pt x="1382" y="244"/>
                </a:lnTo>
                <a:lnTo>
                  <a:pt x="1424" y="238"/>
                </a:lnTo>
                <a:lnTo>
                  <a:pt x="1472" y="236"/>
                </a:lnTo>
                <a:lnTo>
                  <a:pt x="1692" y="236"/>
                </a:lnTo>
                <a:lnTo>
                  <a:pt x="1718" y="238"/>
                </a:lnTo>
                <a:lnTo>
                  <a:pt x="1744" y="238"/>
                </a:lnTo>
                <a:lnTo>
                  <a:pt x="1770" y="242"/>
                </a:lnTo>
                <a:lnTo>
                  <a:pt x="1794" y="246"/>
                </a:lnTo>
                <a:lnTo>
                  <a:pt x="1816" y="250"/>
                </a:lnTo>
                <a:lnTo>
                  <a:pt x="1838" y="256"/>
                </a:lnTo>
                <a:lnTo>
                  <a:pt x="1878" y="270"/>
                </a:lnTo>
                <a:lnTo>
                  <a:pt x="1912" y="288"/>
                </a:lnTo>
                <a:lnTo>
                  <a:pt x="1944" y="308"/>
                </a:lnTo>
                <a:lnTo>
                  <a:pt x="1972" y="332"/>
                </a:lnTo>
                <a:lnTo>
                  <a:pt x="1996" y="356"/>
                </a:lnTo>
                <a:lnTo>
                  <a:pt x="2016" y="384"/>
                </a:lnTo>
                <a:lnTo>
                  <a:pt x="2032" y="412"/>
                </a:lnTo>
                <a:lnTo>
                  <a:pt x="2046" y="440"/>
                </a:lnTo>
                <a:lnTo>
                  <a:pt x="2058" y="470"/>
                </a:lnTo>
                <a:lnTo>
                  <a:pt x="2066" y="500"/>
                </a:lnTo>
                <a:lnTo>
                  <a:pt x="2070" y="530"/>
                </a:lnTo>
                <a:lnTo>
                  <a:pt x="2074" y="560"/>
                </a:lnTo>
                <a:lnTo>
                  <a:pt x="2074" y="590"/>
                </a:lnTo>
                <a:lnTo>
                  <a:pt x="2074" y="620"/>
                </a:lnTo>
                <a:lnTo>
                  <a:pt x="2070" y="652"/>
                </a:lnTo>
                <a:lnTo>
                  <a:pt x="2064" y="684"/>
                </a:lnTo>
                <a:lnTo>
                  <a:pt x="2054" y="716"/>
                </a:lnTo>
                <a:lnTo>
                  <a:pt x="2042" y="746"/>
                </a:lnTo>
                <a:lnTo>
                  <a:pt x="2028" y="774"/>
                </a:lnTo>
                <a:lnTo>
                  <a:pt x="2010" y="802"/>
                </a:lnTo>
                <a:lnTo>
                  <a:pt x="1988" y="828"/>
                </a:lnTo>
                <a:lnTo>
                  <a:pt x="1964" y="852"/>
                </a:lnTo>
                <a:lnTo>
                  <a:pt x="1936" y="874"/>
                </a:lnTo>
                <a:lnTo>
                  <a:pt x="1906" y="894"/>
                </a:lnTo>
                <a:lnTo>
                  <a:pt x="1870" y="910"/>
                </a:lnTo>
                <a:lnTo>
                  <a:pt x="1832" y="924"/>
                </a:lnTo>
                <a:lnTo>
                  <a:pt x="1788" y="934"/>
                </a:lnTo>
                <a:lnTo>
                  <a:pt x="1742" y="940"/>
                </a:lnTo>
                <a:lnTo>
                  <a:pt x="1692" y="942"/>
                </a:lnTo>
                <a:lnTo>
                  <a:pt x="1472" y="942"/>
                </a:lnTo>
                <a:lnTo>
                  <a:pt x="1432" y="940"/>
                </a:lnTo>
                <a:lnTo>
                  <a:pt x="1394" y="936"/>
                </a:lnTo>
                <a:lnTo>
                  <a:pt x="1358" y="928"/>
                </a:lnTo>
                <a:lnTo>
                  <a:pt x="1324" y="916"/>
                </a:lnTo>
                <a:lnTo>
                  <a:pt x="1290" y="904"/>
                </a:lnTo>
                <a:lnTo>
                  <a:pt x="1260" y="886"/>
                </a:lnTo>
                <a:lnTo>
                  <a:pt x="1232" y="868"/>
                </a:lnTo>
                <a:lnTo>
                  <a:pt x="1206" y="846"/>
                </a:lnTo>
                <a:lnTo>
                  <a:pt x="1184" y="822"/>
                </a:lnTo>
                <a:lnTo>
                  <a:pt x="1162" y="796"/>
                </a:lnTo>
                <a:lnTo>
                  <a:pt x="1144" y="766"/>
                </a:lnTo>
                <a:lnTo>
                  <a:pt x="1130" y="734"/>
                </a:lnTo>
                <a:lnTo>
                  <a:pt x="1118" y="702"/>
                </a:lnTo>
                <a:lnTo>
                  <a:pt x="1110" y="666"/>
                </a:lnTo>
                <a:lnTo>
                  <a:pt x="1104" y="628"/>
                </a:lnTo>
                <a:lnTo>
                  <a:pt x="1102" y="590"/>
                </a:lnTo>
                <a:lnTo>
                  <a:pt x="1102" y="0"/>
                </a:lnTo>
                <a:lnTo>
                  <a:pt x="1136" y="0"/>
                </a:lnTo>
                <a:lnTo>
                  <a:pt x="1154" y="0"/>
                </a:lnTo>
                <a:lnTo>
                  <a:pt x="1168" y="4"/>
                </a:lnTo>
                <a:lnTo>
                  <a:pt x="1180" y="10"/>
                </a:lnTo>
                <a:lnTo>
                  <a:pt x="1192" y="18"/>
                </a:lnTo>
                <a:lnTo>
                  <a:pt x="1200" y="28"/>
                </a:lnTo>
                <a:lnTo>
                  <a:pt x="1206" y="40"/>
                </a:lnTo>
                <a:lnTo>
                  <a:pt x="1210" y="54"/>
                </a:lnTo>
                <a:lnTo>
                  <a:pt x="1210" y="70"/>
                </a:lnTo>
                <a:lnTo>
                  <a:pt x="1210" y="328"/>
                </a:lnTo>
                <a:close/>
                <a:moveTo>
                  <a:pt x="1496" y="844"/>
                </a:moveTo>
                <a:lnTo>
                  <a:pt x="1496" y="844"/>
                </a:lnTo>
                <a:lnTo>
                  <a:pt x="1684" y="844"/>
                </a:lnTo>
                <a:lnTo>
                  <a:pt x="1722" y="842"/>
                </a:lnTo>
                <a:lnTo>
                  <a:pt x="1756" y="838"/>
                </a:lnTo>
                <a:lnTo>
                  <a:pt x="1788" y="830"/>
                </a:lnTo>
                <a:lnTo>
                  <a:pt x="1816" y="820"/>
                </a:lnTo>
                <a:lnTo>
                  <a:pt x="1842" y="810"/>
                </a:lnTo>
                <a:lnTo>
                  <a:pt x="1866" y="796"/>
                </a:lnTo>
                <a:lnTo>
                  <a:pt x="1886" y="780"/>
                </a:lnTo>
                <a:lnTo>
                  <a:pt x="1904" y="762"/>
                </a:lnTo>
                <a:lnTo>
                  <a:pt x="1920" y="742"/>
                </a:lnTo>
                <a:lnTo>
                  <a:pt x="1932" y="722"/>
                </a:lnTo>
                <a:lnTo>
                  <a:pt x="1944" y="702"/>
                </a:lnTo>
                <a:lnTo>
                  <a:pt x="1952" y="680"/>
                </a:lnTo>
                <a:lnTo>
                  <a:pt x="1958" y="658"/>
                </a:lnTo>
                <a:lnTo>
                  <a:pt x="1964" y="634"/>
                </a:lnTo>
                <a:lnTo>
                  <a:pt x="1966" y="612"/>
                </a:lnTo>
                <a:lnTo>
                  <a:pt x="1966" y="590"/>
                </a:lnTo>
                <a:lnTo>
                  <a:pt x="1966" y="566"/>
                </a:lnTo>
                <a:lnTo>
                  <a:pt x="1964" y="544"/>
                </a:lnTo>
                <a:lnTo>
                  <a:pt x="1958" y="520"/>
                </a:lnTo>
                <a:lnTo>
                  <a:pt x="1952" y="498"/>
                </a:lnTo>
                <a:lnTo>
                  <a:pt x="1944" y="476"/>
                </a:lnTo>
                <a:lnTo>
                  <a:pt x="1932" y="456"/>
                </a:lnTo>
                <a:lnTo>
                  <a:pt x="1920" y="436"/>
                </a:lnTo>
                <a:lnTo>
                  <a:pt x="1904" y="416"/>
                </a:lnTo>
                <a:lnTo>
                  <a:pt x="1886" y="398"/>
                </a:lnTo>
                <a:lnTo>
                  <a:pt x="1866" y="382"/>
                </a:lnTo>
                <a:lnTo>
                  <a:pt x="1842" y="370"/>
                </a:lnTo>
                <a:lnTo>
                  <a:pt x="1816" y="358"/>
                </a:lnTo>
                <a:lnTo>
                  <a:pt x="1788" y="348"/>
                </a:lnTo>
                <a:lnTo>
                  <a:pt x="1756" y="340"/>
                </a:lnTo>
                <a:lnTo>
                  <a:pt x="1722" y="336"/>
                </a:lnTo>
                <a:lnTo>
                  <a:pt x="1684" y="334"/>
                </a:lnTo>
                <a:lnTo>
                  <a:pt x="1496" y="334"/>
                </a:lnTo>
                <a:lnTo>
                  <a:pt x="1456" y="336"/>
                </a:lnTo>
                <a:lnTo>
                  <a:pt x="1420" y="340"/>
                </a:lnTo>
                <a:lnTo>
                  <a:pt x="1388" y="348"/>
                </a:lnTo>
                <a:lnTo>
                  <a:pt x="1358" y="358"/>
                </a:lnTo>
                <a:lnTo>
                  <a:pt x="1332" y="370"/>
                </a:lnTo>
                <a:lnTo>
                  <a:pt x="1308" y="384"/>
                </a:lnTo>
                <a:lnTo>
                  <a:pt x="1288" y="402"/>
                </a:lnTo>
                <a:lnTo>
                  <a:pt x="1270" y="418"/>
                </a:lnTo>
                <a:lnTo>
                  <a:pt x="1256" y="438"/>
                </a:lnTo>
                <a:lnTo>
                  <a:pt x="1242" y="458"/>
                </a:lnTo>
                <a:lnTo>
                  <a:pt x="1232" y="480"/>
                </a:lnTo>
                <a:lnTo>
                  <a:pt x="1224" y="500"/>
                </a:lnTo>
                <a:lnTo>
                  <a:pt x="1218" y="524"/>
                </a:lnTo>
                <a:lnTo>
                  <a:pt x="1214" y="546"/>
                </a:lnTo>
                <a:lnTo>
                  <a:pt x="1212" y="568"/>
                </a:lnTo>
                <a:lnTo>
                  <a:pt x="1210" y="590"/>
                </a:lnTo>
                <a:lnTo>
                  <a:pt x="1212" y="608"/>
                </a:lnTo>
                <a:lnTo>
                  <a:pt x="1214" y="630"/>
                </a:lnTo>
                <a:lnTo>
                  <a:pt x="1218" y="650"/>
                </a:lnTo>
                <a:lnTo>
                  <a:pt x="1224" y="672"/>
                </a:lnTo>
                <a:lnTo>
                  <a:pt x="1232" y="694"/>
                </a:lnTo>
                <a:lnTo>
                  <a:pt x="1242" y="714"/>
                </a:lnTo>
                <a:lnTo>
                  <a:pt x="1254" y="736"/>
                </a:lnTo>
                <a:lnTo>
                  <a:pt x="1268" y="754"/>
                </a:lnTo>
                <a:lnTo>
                  <a:pt x="1286" y="774"/>
                </a:lnTo>
                <a:lnTo>
                  <a:pt x="1306" y="790"/>
                </a:lnTo>
                <a:lnTo>
                  <a:pt x="1328" y="806"/>
                </a:lnTo>
                <a:lnTo>
                  <a:pt x="1356" y="818"/>
                </a:lnTo>
                <a:lnTo>
                  <a:pt x="1384" y="830"/>
                </a:lnTo>
                <a:lnTo>
                  <a:pt x="1418" y="838"/>
                </a:lnTo>
                <a:lnTo>
                  <a:pt x="1456" y="842"/>
                </a:lnTo>
                <a:lnTo>
                  <a:pt x="1496" y="844"/>
                </a:lnTo>
                <a:close/>
                <a:moveTo>
                  <a:pt x="2294" y="328"/>
                </a:moveTo>
                <a:lnTo>
                  <a:pt x="2294" y="328"/>
                </a:lnTo>
                <a:lnTo>
                  <a:pt x="2312" y="312"/>
                </a:lnTo>
                <a:lnTo>
                  <a:pt x="2336" y="296"/>
                </a:lnTo>
                <a:lnTo>
                  <a:pt x="2362" y="280"/>
                </a:lnTo>
                <a:lnTo>
                  <a:pt x="2392" y="266"/>
                </a:lnTo>
                <a:lnTo>
                  <a:pt x="2426" y="254"/>
                </a:lnTo>
                <a:lnTo>
                  <a:pt x="2464" y="244"/>
                </a:lnTo>
                <a:lnTo>
                  <a:pt x="2506" y="238"/>
                </a:lnTo>
                <a:lnTo>
                  <a:pt x="2554" y="236"/>
                </a:lnTo>
                <a:lnTo>
                  <a:pt x="2774" y="236"/>
                </a:lnTo>
                <a:lnTo>
                  <a:pt x="2800" y="238"/>
                </a:lnTo>
                <a:lnTo>
                  <a:pt x="2828" y="238"/>
                </a:lnTo>
                <a:lnTo>
                  <a:pt x="2852" y="242"/>
                </a:lnTo>
                <a:lnTo>
                  <a:pt x="2876" y="246"/>
                </a:lnTo>
                <a:lnTo>
                  <a:pt x="2898" y="250"/>
                </a:lnTo>
                <a:lnTo>
                  <a:pt x="2920" y="256"/>
                </a:lnTo>
                <a:lnTo>
                  <a:pt x="2960" y="270"/>
                </a:lnTo>
                <a:lnTo>
                  <a:pt x="2996" y="288"/>
                </a:lnTo>
                <a:lnTo>
                  <a:pt x="3026" y="308"/>
                </a:lnTo>
                <a:lnTo>
                  <a:pt x="3054" y="332"/>
                </a:lnTo>
                <a:lnTo>
                  <a:pt x="3078" y="356"/>
                </a:lnTo>
                <a:lnTo>
                  <a:pt x="3098" y="384"/>
                </a:lnTo>
                <a:lnTo>
                  <a:pt x="3114" y="412"/>
                </a:lnTo>
                <a:lnTo>
                  <a:pt x="3128" y="440"/>
                </a:lnTo>
                <a:lnTo>
                  <a:pt x="3140" y="470"/>
                </a:lnTo>
                <a:lnTo>
                  <a:pt x="3148" y="500"/>
                </a:lnTo>
                <a:lnTo>
                  <a:pt x="3152" y="530"/>
                </a:lnTo>
                <a:lnTo>
                  <a:pt x="3156" y="560"/>
                </a:lnTo>
                <a:lnTo>
                  <a:pt x="3158" y="590"/>
                </a:lnTo>
                <a:lnTo>
                  <a:pt x="3156" y="620"/>
                </a:lnTo>
                <a:lnTo>
                  <a:pt x="3152" y="652"/>
                </a:lnTo>
                <a:lnTo>
                  <a:pt x="3146" y="684"/>
                </a:lnTo>
                <a:lnTo>
                  <a:pt x="3136" y="716"/>
                </a:lnTo>
                <a:lnTo>
                  <a:pt x="3126" y="746"/>
                </a:lnTo>
                <a:lnTo>
                  <a:pt x="3110" y="774"/>
                </a:lnTo>
                <a:lnTo>
                  <a:pt x="3092" y="802"/>
                </a:lnTo>
                <a:lnTo>
                  <a:pt x="3072" y="828"/>
                </a:lnTo>
                <a:lnTo>
                  <a:pt x="3046" y="852"/>
                </a:lnTo>
                <a:lnTo>
                  <a:pt x="3018" y="874"/>
                </a:lnTo>
                <a:lnTo>
                  <a:pt x="2988" y="894"/>
                </a:lnTo>
                <a:lnTo>
                  <a:pt x="2952" y="910"/>
                </a:lnTo>
                <a:lnTo>
                  <a:pt x="2914" y="924"/>
                </a:lnTo>
                <a:lnTo>
                  <a:pt x="2872" y="934"/>
                </a:lnTo>
                <a:lnTo>
                  <a:pt x="2824" y="940"/>
                </a:lnTo>
                <a:lnTo>
                  <a:pt x="2774" y="942"/>
                </a:lnTo>
                <a:lnTo>
                  <a:pt x="2554" y="942"/>
                </a:lnTo>
                <a:lnTo>
                  <a:pt x="2514" y="940"/>
                </a:lnTo>
                <a:lnTo>
                  <a:pt x="2476" y="936"/>
                </a:lnTo>
                <a:lnTo>
                  <a:pt x="2440" y="928"/>
                </a:lnTo>
                <a:lnTo>
                  <a:pt x="2406" y="916"/>
                </a:lnTo>
                <a:lnTo>
                  <a:pt x="2374" y="904"/>
                </a:lnTo>
                <a:lnTo>
                  <a:pt x="2342" y="886"/>
                </a:lnTo>
                <a:lnTo>
                  <a:pt x="2314" y="868"/>
                </a:lnTo>
                <a:lnTo>
                  <a:pt x="2288" y="846"/>
                </a:lnTo>
                <a:lnTo>
                  <a:pt x="2266" y="822"/>
                </a:lnTo>
                <a:lnTo>
                  <a:pt x="2246" y="796"/>
                </a:lnTo>
                <a:lnTo>
                  <a:pt x="2228" y="766"/>
                </a:lnTo>
                <a:lnTo>
                  <a:pt x="2212" y="734"/>
                </a:lnTo>
                <a:lnTo>
                  <a:pt x="2200" y="702"/>
                </a:lnTo>
                <a:lnTo>
                  <a:pt x="2192" y="666"/>
                </a:lnTo>
                <a:lnTo>
                  <a:pt x="2186" y="628"/>
                </a:lnTo>
                <a:lnTo>
                  <a:pt x="2184" y="590"/>
                </a:lnTo>
                <a:lnTo>
                  <a:pt x="2184" y="0"/>
                </a:lnTo>
                <a:lnTo>
                  <a:pt x="2218" y="0"/>
                </a:lnTo>
                <a:lnTo>
                  <a:pt x="2236" y="0"/>
                </a:lnTo>
                <a:lnTo>
                  <a:pt x="2250" y="4"/>
                </a:lnTo>
                <a:lnTo>
                  <a:pt x="2264" y="10"/>
                </a:lnTo>
                <a:lnTo>
                  <a:pt x="2274" y="18"/>
                </a:lnTo>
                <a:lnTo>
                  <a:pt x="2282" y="28"/>
                </a:lnTo>
                <a:lnTo>
                  <a:pt x="2288" y="40"/>
                </a:lnTo>
                <a:lnTo>
                  <a:pt x="2292" y="54"/>
                </a:lnTo>
                <a:lnTo>
                  <a:pt x="2294" y="70"/>
                </a:lnTo>
                <a:lnTo>
                  <a:pt x="2294" y="328"/>
                </a:lnTo>
                <a:close/>
                <a:moveTo>
                  <a:pt x="2578" y="844"/>
                </a:moveTo>
                <a:lnTo>
                  <a:pt x="2578" y="844"/>
                </a:lnTo>
                <a:lnTo>
                  <a:pt x="2766" y="844"/>
                </a:lnTo>
                <a:lnTo>
                  <a:pt x="2804" y="842"/>
                </a:lnTo>
                <a:lnTo>
                  <a:pt x="2838" y="838"/>
                </a:lnTo>
                <a:lnTo>
                  <a:pt x="2870" y="830"/>
                </a:lnTo>
                <a:lnTo>
                  <a:pt x="2900" y="820"/>
                </a:lnTo>
                <a:lnTo>
                  <a:pt x="2924" y="810"/>
                </a:lnTo>
                <a:lnTo>
                  <a:pt x="2948" y="796"/>
                </a:lnTo>
                <a:lnTo>
                  <a:pt x="2968" y="780"/>
                </a:lnTo>
                <a:lnTo>
                  <a:pt x="2986" y="762"/>
                </a:lnTo>
                <a:lnTo>
                  <a:pt x="3002" y="742"/>
                </a:lnTo>
                <a:lnTo>
                  <a:pt x="3014" y="722"/>
                </a:lnTo>
                <a:lnTo>
                  <a:pt x="3026" y="702"/>
                </a:lnTo>
                <a:lnTo>
                  <a:pt x="3034" y="680"/>
                </a:lnTo>
                <a:lnTo>
                  <a:pt x="3040" y="658"/>
                </a:lnTo>
                <a:lnTo>
                  <a:pt x="3046" y="634"/>
                </a:lnTo>
                <a:lnTo>
                  <a:pt x="3048" y="612"/>
                </a:lnTo>
                <a:lnTo>
                  <a:pt x="3048" y="590"/>
                </a:lnTo>
                <a:lnTo>
                  <a:pt x="3048" y="566"/>
                </a:lnTo>
                <a:lnTo>
                  <a:pt x="3046" y="544"/>
                </a:lnTo>
                <a:lnTo>
                  <a:pt x="3040" y="520"/>
                </a:lnTo>
                <a:lnTo>
                  <a:pt x="3034" y="498"/>
                </a:lnTo>
                <a:lnTo>
                  <a:pt x="3026" y="476"/>
                </a:lnTo>
                <a:lnTo>
                  <a:pt x="3014" y="456"/>
                </a:lnTo>
                <a:lnTo>
                  <a:pt x="3002" y="436"/>
                </a:lnTo>
                <a:lnTo>
                  <a:pt x="2986" y="416"/>
                </a:lnTo>
                <a:lnTo>
                  <a:pt x="2968" y="398"/>
                </a:lnTo>
                <a:lnTo>
                  <a:pt x="2948" y="382"/>
                </a:lnTo>
                <a:lnTo>
                  <a:pt x="2924" y="370"/>
                </a:lnTo>
                <a:lnTo>
                  <a:pt x="2900" y="358"/>
                </a:lnTo>
                <a:lnTo>
                  <a:pt x="2870" y="348"/>
                </a:lnTo>
                <a:lnTo>
                  <a:pt x="2838" y="340"/>
                </a:lnTo>
                <a:lnTo>
                  <a:pt x="2804" y="336"/>
                </a:lnTo>
                <a:lnTo>
                  <a:pt x="2766" y="334"/>
                </a:lnTo>
                <a:lnTo>
                  <a:pt x="2578" y="334"/>
                </a:lnTo>
                <a:lnTo>
                  <a:pt x="2538" y="336"/>
                </a:lnTo>
                <a:lnTo>
                  <a:pt x="2502" y="340"/>
                </a:lnTo>
                <a:lnTo>
                  <a:pt x="2470" y="348"/>
                </a:lnTo>
                <a:lnTo>
                  <a:pt x="2440" y="358"/>
                </a:lnTo>
                <a:lnTo>
                  <a:pt x="2414" y="370"/>
                </a:lnTo>
                <a:lnTo>
                  <a:pt x="2390" y="384"/>
                </a:lnTo>
                <a:lnTo>
                  <a:pt x="2370" y="402"/>
                </a:lnTo>
                <a:lnTo>
                  <a:pt x="2352" y="418"/>
                </a:lnTo>
                <a:lnTo>
                  <a:pt x="2338" y="438"/>
                </a:lnTo>
                <a:lnTo>
                  <a:pt x="2326" y="458"/>
                </a:lnTo>
                <a:lnTo>
                  <a:pt x="2314" y="480"/>
                </a:lnTo>
                <a:lnTo>
                  <a:pt x="2306" y="500"/>
                </a:lnTo>
                <a:lnTo>
                  <a:pt x="2300" y="524"/>
                </a:lnTo>
                <a:lnTo>
                  <a:pt x="2296" y="546"/>
                </a:lnTo>
                <a:lnTo>
                  <a:pt x="2294" y="568"/>
                </a:lnTo>
                <a:lnTo>
                  <a:pt x="2294" y="590"/>
                </a:lnTo>
                <a:lnTo>
                  <a:pt x="2294" y="608"/>
                </a:lnTo>
                <a:lnTo>
                  <a:pt x="2296" y="630"/>
                </a:lnTo>
                <a:lnTo>
                  <a:pt x="2300" y="650"/>
                </a:lnTo>
                <a:lnTo>
                  <a:pt x="2306" y="672"/>
                </a:lnTo>
                <a:lnTo>
                  <a:pt x="2314" y="694"/>
                </a:lnTo>
                <a:lnTo>
                  <a:pt x="2324" y="714"/>
                </a:lnTo>
                <a:lnTo>
                  <a:pt x="2336" y="736"/>
                </a:lnTo>
                <a:lnTo>
                  <a:pt x="2350" y="754"/>
                </a:lnTo>
                <a:lnTo>
                  <a:pt x="2368" y="774"/>
                </a:lnTo>
                <a:lnTo>
                  <a:pt x="2388" y="790"/>
                </a:lnTo>
                <a:lnTo>
                  <a:pt x="2412" y="806"/>
                </a:lnTo>
                <a:lnTo>
                  <a:pt x="2438" y="818"/>
                </a:lnTo>
                <a:lnTo>
                  <a:pt x="2468" y="830"/>
                </a:lnTo>
                <a:lnTo>
                  <a:pt x="2500" y="838"/>
                </a:lnTo>
                <a:lnTo>
                  <a:pt x="2538" y="842"/>
                </a:lnTo>
                <a:lnTo>
                  <a:pt x="2578" y="84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endParaRPr lang="en-GB" sz="1800" b="0" dirty="0">
              <a:solidFill>
                <a:srgbClr val="FFFFFF"/>
              </a:solidFill>
              <a:latin typeface="Calibri"/>
              <a:ea typeface="ＭＳ Ｐゴシック" panose="020B0600070205080204" pitchFamily="34" charset="-128"/>
              <a:cs typeface="+mn-cs"/>
            </a:endParaRPr>
          </a:p>
        </p:txBody>
      </p:sp>
    </p:spTree>
    <p:extLst>
      <p:ext uri="{BB962C8B-B14F-4D97-AF65-F5344CB8AC3E}">
        <p14:creationId xmlns:p14="http://schemas.microsoft.com/office/powerpoint/2010/main" val="1974413231"/>
      </p:ext>
    </p:extLst>
  </p:cSld>
  <p:clrMapOvr>
    <a:overrideClrMapping bg1="dk1" tx1="lt1" bg2="dk2" tx2="lt2" accent1="accent1" accent2="accent2" accent3="accent3" accent4="accent4" accent5="accent5" accent6="accent6" hlink="hlink" folHlink="folHlink"/>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Content Placeholder 4"/>
          <p:cNvSpPr>
            <a:spLocks noGrp="1"/>
          </p:cNvSpPr>
          <p:nvPr>
            <p:ph sz="quarter" idx="10"/>
          </p:nvPr>
        </p:nvSpPr>
        <p:spPr>
          <a:xfrm>
            <a:off x="492925" y="1111250"/>
            <a:ext cx="9326166" cy="5105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54621813"/>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5" name="Content Placeholder 4"/>
          <p:cNvSpPr>
            <a:spLocks noGrp="1"/>
          </p:cNvSpPr>
          <p:nvPr>
            <p:ph sz="quarter" idx="10"/>
          </p:nvPr>
        </p:nvSpPr>
        <p:spPr>
          <a:xfrm>
            <a:off x="8244390" y="6372324"/>
            <a:ext cx="1569339" cy="153888"/>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6" name="Content Placeholder 4"/>
          <p:cNvSpPr>
            <a:spLocks noGrp="1"/>
          </p:cNvSpPr>
          <p:nvPr>
            <p:ph sz="quarter" idx="11"/>
          </p:nvPr>
        </p:nvSpPr>
        <p:spPr>
          <a:xfrm>
            <a:off x="466131" y="6372324"/>
            <a:ext cx="1569340" cy="153888"/>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7" name="Content Placeholder 4"/>
          <p:cNvSpPr>
            <a:spLocks noGrp="1"/>
          </p:cNvSpPr>
          <p:nvPr>
            <p:ph sz="quarter" idx="12"/>
          </p:nvPr>
        </p:nvSpPr>
        <p:spPr>
          <a:xfrm>
            <a:off x="492925" y="1111250"/>
            <a:ext cx="9326166" cy="5105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9553781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492920"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quarter" idx="11"/>
          </p:nvPr>
        </p:nvSpPr>
        <p:spPr>
          <a:xfrm>
            <a:off x="5259585"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80613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Content Placeholder 4"/>
          <p:cNvSpPr>
            <a:spLocks noGrp="1"/>
          </p:cNvSpPr>
          <p:nvPr>
            <p:ph sz="quarter" idx="11"/>
          </p:nvPr>
        </p:nvSpPr>
        <p:spPr>
          <a:xfrm>
            <a:off x="8244390" y="6372324"/>
            <a:ext cx="1569339" cy="153888"/>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11" name="Content Placeholder 4"/>
          <p:cNvSpPr>
            <a:spLocks noGrp="1"/>
          </p:cNvSpPr>
          <p:nvPr>
            <p:ph sz="quarter" idx="12"/>
          </p:nvPr>
        </p:nvSpPr>
        <p:spPr>
          <a:xfrm>
            <a:off x="466131" y="6372324"/>
            <a:ext cx="1569340" cy="153888"/>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7" name="Content Placeholder 3"/>
          <p:cNvSpPr>
            <a:spLocks noGrp="1"/>
          </p:cNvSpPr>
          <p:nvPr>
            <p:ph sz="quarter" idx="10"/>
          </p:nvPr>
        </p:nvSpPr>
        <p:spPr>
          <a:xfrm>
            <a:off x="492920"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3"/>
          <p:cNvSpPr>
            <a:spLocks noGrp="1"/>
          </p:cNvSpPr>
          <p:nvPr>
            <p:ph sz="quarter" idx="13"/>
          </p:nvPr>
        </p:nvSpPr>
        <p:spPr>
          <a:xfrm>
            <a:off x="5259585"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28091306"/>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ef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p:cNvSpPr>
            <a:spLocks noGrp="1"/>
          </p:cNvSpPr>
          <p:nvPr>
            <p:ph sz="quarter" idx="10"/>
          </p:nvPr>
        </p:nvSpPr>
        <p:spPr>
          <a:xfrm>
            <a:off x="492920"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79470696"/>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eft Content (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Content Placeholder 4"/>
          <p:cNvSpPr>
            <a:spLocks noGrp="1"/>
          </p:cNvSpPr>
          <p:nvPr>
            <p:ph sz="quarter" idx="11"/>
          </p:nvPr>
        </p:nvSpPr>
        <p:spPr>
          <a:xfrm>
            <a:off x="8244390" y="6372324"/>
            <a:ext cx="1569339" cy="153888"/>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6" name="Content Placeholder 4"/>
          <p:cNvSpPr>
            <a:spLocks noGrp="1"/>
          </p:cNvSpPr>
          <p:nvPr>
            <p:ph sz="quarter" idx="12"/>
          </p:nvPr>
        </p:nvSpPr>
        <p:spPr>
          <a:xfrm>
            <a:off x="466131" y="6372324"/>
            <a:ext cx="1569340" cy="153888"/>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7" name="Content Placeholder 3"/>
          <p:cNvSpPr>
            <a:spLocks noGrp="1"/>
          </p:cNvSpPr>
          <p:nvPr>
            <p:ph sz="quarter" idx="10"/>
          </p:nvPr>
        </p:nvSpPr>
        <p:spPr>
          <a:xfrm>
            <a:off x="492920"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053342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igh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Content Placeholder 3"/>
          <p:cNvSpPr>
            <a:spLocks noGrp="1"/>
          </p:cNvSpPr>
          <p:nvPr>
            <p:ph sz="quarter" idx="11"/>
          </p:nvPr>
        </p:nvSpPr>
        <p:spPr>
          <a:xfrm>
            <a:off x="5259585"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3632279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ight Content (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5" name="Content Placeholder 4"/>
          <p:cNvSpPr>
            <a:spLocks noGrp="1"/>
          </p:cNvSpPr>
          <p:nvPr>
            <p:ph sz="quarter" idx="11"/>
          </p:nvPr>
        </p:nvSpPr>
        <p:spPr>
          <a:xfrm>
            <a:off x="8244390" y="6372324"/>
            <a:ext cx="1569339" cy="153888"/>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6" name="Content Placeholder 4"/>
          <p:cNvSpPr>
            <a:spLocks noGrp="1"/>
          </p:cNvSpPr>
          <p:nvPr>
            <p:ph sz="quarter" idx="12"/>
          </p:nvPr>
        </p:nvSpPr>
        <p:spPr>
          <a:xfrm>
            <a:off x="466131" y="6372324"/>
            <a:ext cx="1569340" cy="153888"/>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9" name="Content Placeholder 3"/>
          <p:cNvSpPr>
            <a:spLocks noGrp="1"/>
          </p:cNvSpPr>
          <p:nvPr>
            <p:ph sz="quarter" idx="13"/>
          </p:nvPr>
        </p:nvSpPr>
        <p:spPr>
          <a:xfrm>
            <a:off x="5259585" y="1111250"/>
            <a:ext cx="4559499" cy="5105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0782630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812800" y="4406900"/>
            <a:ext cx="8743950" cy="1362075"/>
          </a:xfrm>
        </p:spPr>
        <p:txBody>
          <a:bodyPr anchor="t"/>
          <a:lstStyle>
            <a:lvl1pPr algn="l">
              <a:defRPr sz="4000" b="1" cap="all"/>
            </a:lvl1pPr>
          </a:lstStyle>
          <a:p>
            <a:r>
              <a:rPr lang="el-GR"/>
              <a:t>Kλικ για επεξεργασία του τίτλου</a:t>
            </a:r>
          </a:p>
        </p:txBody>
      </p:sp>
      <p:sp>
        <p:nvSpPr>
          <p:cNvPr id="3" name="2 - Θέση κειμένου"/>
          <p:cNvSpPr>
            <a:spLocks noGrp="1"/>
          </p:cNvSpPr>
          <p:nvPr>
            <p:ph type="body" idx="1"/>
          </p:nvPr>
        </p:nvSpPr>
        <p:spPr>
          <a:xfrm>
            <a:off x="812800" y="2906713"/>
            <a:ext cx="874395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a:t>Kλικ για επεξεργασία των στυλ του υποδείγματος</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7383AF3-A8E0-473C-8AAF-7BEC0F69859E}" type="slidenum">
              <a:rPr lang="el-GR"/>
              <a:pPr>
                <a:defRPr/>
              </a:pPr>
              <a:t>‹#›</a:t>
            </a:fld>
            <a:endParaRPr lang="el-GR"/>
          </a:p>
        </p:txBody>
      </p:sp>
    </p:spTree>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8575003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4"/>
          <p:cNvSpPr>
            <a:spLocks noGrp="1"/>
          </p:cNvSpPr>
          <p:nvPr>
            <p:ph sz="quarter" idx="11"/>
          </p:nvPr>
        </p:nvSpPr>
        <p:spPr>
          <a:xfrm>
            <a:off x="8244390" y="6372324"/>
            <a:ext cx="1569339" cy="153888"/>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4" name="Content Placeholder 4"/>
          <p:cNvSpPr>
            <a:spLocks noGrp="1"/>
          </p:cNvSpPr>
          <p:nvPr>
            <p:ph sz="quarter" idx="12"/>
          </p:nvPr>
        </p:nvSpPr>
        <p:spPr>
          <a:xfrm>
            <a:off x="466131" y="6372324"/>
            <a:ext cx="1569340" cy="153888"/>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Tree>
    <p:extLst>
      <p:ext uri="{BB962C8B-B14F-4D97-AF65-F5344CB8AC3E}">
        <p14:creationId xmlns:p14="http://schemas.microsoft.com/office/powerpoint/2010/main" val="2637125933"/>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1829674"/>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a:t>Click to edit Master title style</a:t>
            </a:r>
            <a:endParaRPr lang="en-GB" dirty="0"/>
          </a:p>
        </p:txBody>
      </p:sp>
      <p:sp>
        <p:nvSpPr>
          <p:cNvPr id="6" name="Text Placeholder 7"/>
          <p:cNvSpPr>
            <a:spLocks noGrp="1"/>
          </p:cNvSpPr>
          <p:nvPr>
            <p:ph type="body" sz="quarter" idx="11"/>
          </p:nvPr>
        </p:nvSpPr>
        <p:spPr>
          <a:xfrm>
            <a:off x="453627" y="6382048"/>
            <a:ext cx="1840568" cy="138499"/>
          </a:xfrm>
        </p:spPr>
        <p:txBody>
          <a:bodyPr wrap="none" lIns="0" tIns="0" rIns="0" bIns="0" anchor="b">
            <a:spAutoFit/>
          </a:bodyPr>
          <a:lstStyle>
            <a:lvl1pPr>
              <a:lnSpc>
                <a:spcPct val="90000"/>
              </a:lnSpc>
              <a:spcBef>
                <a:spcPts val="0"/>
              </a:spcBef>
              <a:spcAft>
                <a:spcPts val="0"/>
              </a:spcAft>
              <a:defRPr sz="1000"/>
            </a:lvl1pPr>
          </a:lstStyle>
          <a:p>
            <a:pPr lvl="0"/>
            <a:r>
              <a:rPr lang="en-US" dirty="0"/>
              <a:t>Click to edit Master text styles</a:t>
            </a:r>
          </a:p>
        </p:txBody>
      </p:sp>
      <p:sp>
        <p:nvSpPr>
          <p:cNvPr id="7" name="Text Placeholder 7"/>
          <p:cNvSpPr>
            <a:spLocks noGrp="1"/>
          </p:cNvSpPr>
          <p:nvPr>
            <p:ph type="body" sz="quarter" idx="12"/>
          </p:nvPr>
        </p:nvSpPr>
        <p:spPr>
          <a:xfrm>
            <a:off x="7987448" y="6382048"/>
            <a:ext cx="1840568" cy="138499"/>
          </a:xfrm>
        </p:spPr>
        <p:txBody>
          <a:bodyPr wrap="none" lIns="0" tIns="0" rIns="0" bIns="0" anchor="b">
            <a:spAutoFit/>
          </a:bodyPr>
          <a:lstStyle>
            <a:lvl1pPr algn="r">
              <a:lnSpc>
                <a:spcPct val="90000"/>
              </a:lnSpc>
              <a:spcBef>
                <a:spcPts val="0"/>
              </a:spcBef>
              <a:spcAft>
                <a:spcPts val="0"/>
              </a:spcAft>
              <a:defRPr sz="1000"/>
            </a:lvl1pPr>
          </a:lstStyle>
          <a:p>
            <a:pPr lvl="0"/>
            <a:r>
              <a:rPr lang="en-US" dirty="0"/>
              <a:t>Click to edit Master text styles</a:t>
            </a:r>
          </a:p>
        </p:txBody>
      </p:sp>
    </p:spTree>
    <p:extLst>
      <p:ext uri="{BB962C8B-B14F-4D97-AF65-F5344CB8AC3E}">
        <p14:creationId xmlns:p14="http://schemas.microsoft.com/office/powerpoint/2010/main" val="12618573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52069DC3-A737-4CB0-AF56-8023E042E68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56894" y="3662363"/>
            <a:ext cx="512742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54"/>
          <p:cNvSpPr>
            <a:spLocks noGrp="1" noChangeArrowheads="1"/>
          </p:cNvSpPr>
          <p:nvPr>
            <p:ph type="subTitle" idx="1"/>
          </p:nvPr>
        </p:nvSpPr>
        <p:spPr>
          <a:xfrm>
            <a:off x="514350" y="4041651"/>
            <a:ext cx="4371975" cy="1120775"/>
          </a:xfrm>
        </p:spPr>
        <p:txBody>
          <a:bodyPr/>
          <a:lstStyle>
            <a:lvl1pPr marL="0" indent="0">
              <a:lnSpc>
                <a:spcPct val="100000"/>
              </a:lnSpc>
              <a:buFont typeface="Wingdings" pitchFamily="2" charset="2"/>
              <a:buNone/>
              <a:defRPr sz="1688"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0287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25"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2058" y="1620838"/>
            <a:ext cx="10305758"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2058" y="3662363"/>
            <a:ext cx="10305758"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514351" y="1600200"/>
            <a:ext cx="9504760" cy="2057400"/>
          </a:xfrm>
          <a:prstGeom prst="rect">
            <a:avLst/>
          </a:prstGeom>
        </p:spPr>
        <p:txBody>
          <a:bodyPr/>
          <a:lstStyle>
            <a:lvl1pPr>
              <a:defRPr sz="3291">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0287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25"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2058" y="1620838"/>
            <a:ext cx="10305758"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8" name="Picture 17">
            <a:extLst>
              <a:ext uri="{FF2B5EF4-FFF2-40B4-BE49-F238E27FC236}">
                <a16:creationId xmlns:a16="http://schemas.microsoft.com/office/drawing/2014/main" id="{DFB95A80-B595-483B-BBF5-74747F345AC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7638902" y="329016"/>
            <a:ext cx="2255639" cy="945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56062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484" y="238128"/>
            <a:ext cx="9173625"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510195" y="1513047"/>
            <a:ext cx="9177915"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82478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9EB91F2-D0BD-480B-AADA-78C2658541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57616" y="5345430"/>
            <a:ext cx="3229385" cy="1247410"/>
          </a:xfrm>
          <a:prstGeom prst="rect">
            <a:avLst/>
          </a:prstGeom>
        </p:spPr>
      </p:pic>
      <p:sp>
        <p:nvSpPr>
          <p:cNvPr id="5" name="Title 1"/>
          <p:cNvSpPr>
            <a:spLocks noGrp="1"/>
          </p:cNvSpPr>
          <p:nvPr>
            <p:ph type="title"/>
          </p:nvPr>
        </p:nvSpPr>
        <p:spPr>
          <a:xfrm>
            <a:off x="433985" y="330201"/>
            <a:ext cx="9487251" cy="5250792"/>
          </a:xfrm>
          <a:prstGeom prst="rect">
            <a:avLst/>
          </a:prstGeom>
        </p:spPr>
        <p:txBody>
          <a:bodyPr anchorCtr="1"/>
          <a:lstStyle>
            <a:lvl1pPr algn="ctr">
              <a:defRPr sz="3375"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0287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025" dirty="0"/>
          </a:p>
        </p:txBody>
      </p:sp>
      <p:cxnSp>
        <p:nvCxnSpPr>
          <p:cNvPr id="6" name="Straight Connector 5">
            <a:extLst>
              <a:ext uri="{FF2B5EF4-FFF2-40B4-BE49-F238E27FC236}">
                <a16:creationId xmlns:a16="http://schemas.microsoft.com/office/drawing/2014/main" id="{A890B2B0-5EA8-4F11-809B-189B7105E283}"/>
              </a:ext>
            </a:extLst>
          </p:cNvPr>
          <p:cNvCxnSpPr/>
          <p:nvPr userDrawn="1"/>
        </p:nvCxnSpPr>
        <p:spPr>
          <a:xfrm>
            <a:off x="1" y="6589713"/>
            <a:ext cx="10287000" cy="0"/>
          </a:xfrm>
          <a:prstGeom prst="line">
            <a:avLst/>
          </a:prstGeom>
          <a:ln w="19050">
            <a:solidFill>
              <a:srgbClr val="00853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3710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4485" y="238128"/>
            <a:ext cx="917362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507786" y="1510730"/>
            <a:ext cx="4479703" cy="4678738"/>
          </a:xfrm>
          <a:prstGeom prst="rect">
            <a:avLst/>
          </a:prstGeom>
        </p:spPr>
        <p:txBody>
          <a:bodyPr/>
          <a:lstStyle>
            <a:lvl1pPr>
              <a:defRPr sz="2363"/>
            </a:lvl1pPr>
            <a:lvl2pPr>
              <a:defRPr sz="2194"/>
            </a:lvl2pPr>
            <a:lvl3pPr>
              <a:defRPr sz="2025"/>
            </a:lvl3pPr>
            <a:lvl4pPr>
              <a:defRPr sz="1856"/>
            </a:lvl4pPr>
            <a:lvl5pPr>
              <a:defRPr sz="1688"/>
            </a:lvl5pPr>
            <a:lvl6pPr>
              <a:defRPr sz="1519"/>
            </a:lvl6pPr>
            <a:lvl7pPr>
              <a:defRPr sz="1519"/>
            </a:lvl7pPr>
            <a:lvl8pPr>
              <a:defRPr sz="1519"/>
            </a:lvl8pPr>
            <a:lvl9pPr>
              <a:defRPr sz="151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275660" y="1510730"/>
            <a:ext cx="4412450" cy="4679462"/>
          </a:xfrm>
          <a:prstGeom prst="rect">
            <a:avLst/>
          </a:prstGeom>
        </p:spPr>
        <p:txBody>
          <a:bodyPr/>
          <a:lstStyle>
            <a:lvl1pPr>
              <a:defRPr sz="2363"/>
            </a:lvl1pPr>
            <a:lvl2pPr>
              <a:defRPr sz="2194"/>
            </a:lvl2pPr>
            <a:lvl3pPr>
              <a:defRPr sz="2025"/>
            </a:lvl3pPr>
            <a:lvl4pPr>
              <a:defRPr sz="1856"/>
            </a:lvl4pPr>
            <a:lvl5pPr>
              <a:defRPr sz="1688"/>
            </a:lvl5pPr>
            <a:lvl6pPr>
              <a:defRPr sz="1519"/>
            </a:lvl6pPr>
            <a:lvl7pPr>
              <a:defRPr sz="1519"/>
            </a:lvl7pPr>
            <a:lvl8pPr>
              <a:defRPr sz="1519"/>
            </a:lvl8pPr>
            <a:lvl9pPr>
              <a:defRPr sz="151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99732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5275660" y="1510730"/>
            <a:ext cx="4412450" cy="4665746"/>
          </a:xfrm>
          <a:prstGeom prst="rect">
            <a:avLst/>
          </a:prstGeom>
        </p:spPr>
        <p:txBody>
          <a:bodyPr/>
          <a:lstStyle>
            <a:lvl1pPr>
              <a:defRPr sz="2363"/>
            </a:lvl1pPr>
            <a:lvl2pPr>
              <a:defRPr sz="2025"/>
            </a:lvl2pPr>
            <a:lvl3pPr>
              <a:defRPr sz="1856"/>
            </a:lvl3pPr>
            <a:lvl4pPr>
              <a:defRPr sz="1688"/>
            </a:lvl4pPr>
            <a:lvl5pPr>
              <a:defRPr sz="1519"/>
            </a:lvl5pPr>
            <a:lvl6pPr>
              <a:defRPr sz="1519"/>
            </a:lvl6pPr>
            <a:lvl7pPr>
              <a:defRPr sz="1519"/>
            </a:lvl7pPr>
            <a:lvl8pPr>
              <a:defRPr sz="1519"/>
            </a:lvl8pPr>
            <a:lvl9pPr>
              <a:defRPr sz="1519"/>
            </a:lvl9pPr>
          </a:lstStyle>
          <a:p>
            <a:pPr lvl="0"/>
            <a:r>
              <a:rPr lang="en-US"/>
              <a:t>Edit Master text styles</a:t>
            </a:r>
          </a:p>
        </p:txBody>
      </p:sp>
      <p:sp>
        <p:nvSpPr>
          <p:cNvPr id="10" name="Title 1"/>
          <p:cNvSpPr>
            <a:spLocks noGrp="1"/>
          </p:cNvSpPr>
          <p:nvPr>
            <p:ph type="title"/>
          </p:nvPr>
        </p:nvSpPr>
        <p:spPr>
          <a:xfrm>
            <a:off x="514484" y="238128"/>
            <a:ext cx="9173625"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507786" y="1510730"/>
            <a:ext cx="4479703" cy="4678738"/>
          </a:xfrm>
          <a:prstGeom prst="rect">
            <a:avLst/>
          </a:prstGeom>
        </p:spPr>
        <p:txBody>
          <a:bodyPr/>
          <a:lstStyle>
            <a:lvl1pPr>
              <a:defRPr sz="2363"/>
            </a:lvl1pPr>
            <a:lvl2pPr>
              <a:defRPr sz="2194"/>
            </a:lvl2pPr>
            <a:lvl3pPr>
              <a:defRPr sz="2025"/>
            </a:lvl3pPr>
            <a:lvl4pPr>
              <a:defRPr sz="1856"/>
            </a:lvl4pPr>
            <a:lvl5pPr>
              <a:defRPr sz="1688"/>
            </a:lvl5pPr>
            <a:lvl6pPr>
              <a:defRPr sz="1519"/>
            </a:lvl6pPr>
            <a:lvl7pPr>
              <a:defRPr sz="1519"/>
            </a:lvl7pPr>
            <a:lvl8pPr>
              <a:defRPr sz="1519"/>
            </a:lvl8pPr>
            <a:lvl9pPr>
              <a:defRPr sz="151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19985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4485" y="238128"/>
            <a:ext cx="940026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241172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771525"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5219700" y="1981200"/>
            <a:ext cx="4295775"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3219A8E-7A92-4ED6-A299-61AEA410DCFF}" type="slidenum">
              <a:rPr lang="el-GR"/>
              <a:pPr>
                <a:defRPr/>
              </a:pPr>
              <a:t>‹#›</a:t>
            </a:fld>
            <a:endParaRPr lang="el-GR"/>
          </a:p>
        </p:txBody>
      </p:sp>
    </p:spTree>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2363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A12D99C-CF53-4903-8E65-D5A1413FCF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54937" y="3355525"/>
            <a:ext cx="3229385" cy="1247410"/>
          </a:xfrm>
          <a:prstGeom prst="rect">
            <a:avLst/>
          </a:prstGeom>
        </p:spPr>
      </p:pic>
      <p:sp>
        <p:nvSpPr>
          <p:cNvPr id="2" name="Title 1"/>
          <p:cNvSpPr>
            <a:spLocks noGrp="1"/>
          </p:cNvSpPr>
          <p:nvPr>
            <p:ph type="title"/>
          </p:nvPr>
        </p:nvSpPr>
        <p:spPr>
          <a:xfrm>
            <a:off x="434096" y="239716"/>
            <a:ext cx="9487139" cy="1674813"/>
          </a:xfrm>
          <a:prstGeom prst="rect">
            <a:avLst/>
          </a:prstGeom>
        </p:spPr>
        <p:txBody>
          <a:bodyPr/>
          <a:lstStyle>
            <a:lvl1pPr algn="ctr">
              <a:defRPr sz="3291">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514484" y="1895478"/>
            <a:ext cx="9173625" cy="2605717"/>
          </a:xfrm>
          <a:prstGeom prst="rect">
            <a:avLst/>
          </a:prstGeom>
        </p:spPr>
        <p:txBody>
          <a:bodyPr/>
          <a:lstStyle>
            <a:lvl1pPr marL="0" indent="0">
              <a:buFontTx/>
              <a:buNone/>
              <a:defRPr sz="1688"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18757" y="4605619"/>
            <a:ext cx="10305757"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433984" y="4856675"/>
            <a:ext cx="9520833" cy="1155939"/>
          </a:xfrm>
          <a:prstGeom prst="rect">
            <a:avLst/>
          </a:prstGeom>
        </p:spPr>
        <p:txBody>
          <a:bodyPr/>
          <a:lstStyle>
            <a:lvl1pPr>
              <a:buFontTx/>
              <a:buNone/>
              <a:defRPr sz="2025" b="1">
                <a:solidFill>
                  <a:srgbClr val="00853F"/>
                </a:solidFill>
              </a:defRPr>
            </a:lvl1pPr>
            <a:lvl2pPr>
              <a:buFontTx/>
              <a:buNone/>
              <a:defRPr sz="2025"/>
            </a:lvl2pPr>
            <a:lvl3pPr>
              <a:buFontTx/>
              <a:buNone/>
              <a:defRPr sz="2025"/>
            </a:lvl3pPr>
            <a:lvl4pPr>
              <a:buFontTx/>
              <a:buNone/>
              <a:defRPr sz="2025"/>
            </a:lvl4pPr>
            <a:lvl5pPr>
              <a:buFontTx/>
              <a:buNone/>
              <a:defRPr sz="2025"/>
            </a:lvl5pPr>
          </a:lstStyle>
          <a:p>
            <a:pPr lvl="0"/>
            <a:r>
              <a:rPr lang="en-US" dirty="0"/>
              <a:t>Edit Master text styles</a:t>
            </a:r>
          </a:p>
        </p:txBody>
      </p:sp>
      <p:pic>
        <p:nvPicPr>
          <p:cNvPr id="15" name="Picture 9" descr="CCO_HEP_RGB.jpg">
            <a:extLst>
              <a:ext uri="{FF2B5EF4-FFF2-40B4-BE49-F238E27FC236}">
                <a16:creationId xmlns:a16="http://schemas.microsoft.com/office/drawing/2014/main" id="{B61C0BE3-2B0D-4468-B8B7-836BF79809C3}"/>
              </a:ext>
            </a:extLst>
          </p:cNvPr>
          <p:cNvPicPr>
            <a:picLocks noChangeAspect="1"/>
          </p:cNvPicPr>
          <p:nvPr userDrawn="1"/>
        </p:nvPicPr>
        <p:blipFill>
          <a:blip r:embed="rId3">
            <a:extLst>
              <a:ext uri="{28A0092B-C50C-407E-A947-70E740481C1C}">
                <a14:useLocalDpi xmlns:a14="http://schemas.microsoft.com/office/drawing/2010/main" val="0"/>
              </a:ext>
            </a:extLst>
          </a:blip>
          <a:srcRect t="48615"/>
          <a:stretch>
            <a:fillRect/>
          </a:stretch>
        </p:blipFill>
        <p:spPr bwMode="auto">
          <a:xfrm>
            <a:off x="6868716" y="5930901"/>
            <a:ext cx="3110210" cy="66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695023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Reference only">
    <p:spTree>
      <p:nvGrpSpPr>
        <p:cNvPr id="1" name=""/>
        <p:cNvGrpSpPr/>
        <p:nvPr/>
      </p:nvGrpSpPr>
      <p:grpSpPr>
        <a:xfrm>
          <a:off x="0" y="0"/>
          <a:ext cx="0" cy="0"/>
          <a:chOff x="0" y="0"/>
          <a:chExt cx="0" cy="0"/>
        </a:xfrm>
      </p:grpSpPr>
      <p:sp>
        <p:nvSpPr>
          <p:cNvPr id="3" name="TextBox 3"/>
          <p:cNvSpPr txBox="1"/>
          <p:nvPr userDrawn="1"/>
        </p:nvSpPr>
        <p:spPr>
          <a:xfrm>
            <a:off x="771526" y="6497643"/>
            <a:ext cx="7715250" cy="209160"/>
          </a:xfrm>
          <a:prstGeom prst="rect">
            <a:avLst/>
          </a:prstGeom>
          <a:noFill/>
        </p:spPr>
        <p:txBody>
          <a:bodyPr>
            <a:spAutoFit/>
          </a:bodyPr>
          <a:lstStyle/>
          <a:p>
            <a:pPr fontAlgn="base">
              <a:spcBef>
                <a:spcPct val="0"/>
              </a:spcBef>
              <a:spcAft>
                <a:spcPct val="0"/>
              </a:spcAft>
              <a:defRPr/>
            </a:pPr>
            <a:endParaRPr lang="en-US" sz="759" b="1" dirty="0">
              <a:solidFill>
                <a:srgbClr val="000000"/>
              </a:solidFill>
              <a:latin typeface="Calibri" panose="020F0502020204030204" pitchFamily="34" charset="0"/>
            </a:endParaRPr>
          </a:p>
        </p:txBody>
      </p:sp>
      <p:sp>
        <p:nvSpPr>
          <p:cNvPr id="2" name="Title 1"/>
          <p:cNvSpPr>
            <a:spLocks noGrp="1"/>
          </p:cNvSpPr>
          <p:nvPr>
            <p:ph type="title"/>
          </p:nvPr>
        </p:nvSpPr>
        <p:spPr>
          <a:xfrm>
            <a:off x="514350" y="161925"/>
            <a:ext cx="9267230" cy="1173734"/>
          </a:xfrm>
        </p:spPr>
        <p:txBody>
          <a:bodyPr>
            <a:normAutofit/>
          </a:bodyPr>
          <a:lstStyle>
            <a:lvl1pPr>
              <a:defRPr sz="2025"/>
            </a:lvl1pPr>
          </a:lstStyle>
          <a:p>
            <a:r>
              <a:rPr lang="en-US" dirty="0"/>
              <a:t>Click to edit Master title style</a:t>
            </a:r>
          </a:p>
        </p:txBody>
      </p:sp>
      <p:sp>
        <p:nvSpPr>
          <p:cNvPr id="4" name="Slide Number Placeholder 1"/>
          <p:cNvSpPr>
            <a:spLocks noGrp="1"/>
          </p:cNvSpPr>
          <p:nvPr>
            <p:ph type="sldNum" sz="quarter" idx="10"/>
          </p:nvPr>
        </p:nvSpPr>
        <p:spPr>
          <a:xfrm>
            <a:off x="7372351" y="6356355"/>
            <a:ext cx="2400300" cy="365125"/>
          </a:xfrm>
          <a:prstGeom prst="rect">
            <a:avLst/>
          </a:prstGeom>
        </p:spPr>
        <p:txBody>
          <a:bodyPr/>
          <a:lstStyle>
            <a:lvl1pPr algn="r" fontAlgn="auto">
              <a:spcBef>
                <a:spcPts val="0"/>
              </a:spcBef>
              <a:spcAft>
                <a:spcPts val="0"/>
              </a:spcAft>
              <a:defRPr sz="759" b="0" baseline="0">
                <a:solidFill>
                  <a:srgbClr val="000000">
                    <a:tint val="75000"/>
                  </a:srgbClr>
                </a:solidFill>
              </a:defRPr>
            </a:lvl1pPr>
          </a:lstStyle>
          <a:p>
            <a:pPr>
              <a:defRPr/>
            </a:pPr>
            <a:fld id="{4F1D4BA5-5302-4CB5-AC6D-38B3FFDBB930}" type="slidenum">
              <a:rPr lang="en-US" smtClean="0"/>
              <a:pPr>
                <a:defRPr/>
              </a:pPr>
              <a:t>‹#›</a:t>
            </a:fld>
            <a:endParaRPr lang="en-US" dirty="0"/>
          </a:p>
        </p:txBody>
      </p:sp>
      <p:sp>
        <p:nvSpPr>
          <p:cNvPr id="5" name="Text Placeholder 5"/>
          <p:cNvSpPr>
            <a:spLocks noGrp="1"/>
          </p:cNvSpPr>
          <p:nvPr>
            <p:ph type="body" sz="quarter" idx="11"/>
          </p:nvPr>
        </p:nvSpPr>
        <p:spPr>
          <a:xfrm>
            <a:off x="21438" y="6362700"/>
            <a:ext cx="7468785" cy="457200"/>
          </a:xfrm>
        </p:spPr>
        <p:txBody>
          <a:bodyPr anchor="b"/>
          <a:lstStyle>
            <a:lvl1pPr marL="0" indent="0">
              <a:spcBef>
                <a:spcPts val="0"/>
              </a:spcBef>
              <a:buNone/>
              <a:defRPr sz="759"/>
            </a:lvl1pPr>
          </a:lstStyle>
          <a:p>
            <a:pPr lvl="0"/>
            <a:r>
              <a:rPr lang="en-US" dirty="0"/>
              <a:t>Click to edit Master text styles</a:t>
            </a:r>
          </a:p>
        </p:txBody>
      </p:sp>
    </p:spTree>
    <p:extLst>
      <p:ext uri="{BB962C8B-B14F-4D97-AF65-F5344CB8AC3E}">
        <p14:creationId xmlns:p14="http://schemas.microsoft.com/office/powerpoint/2010/main" val="17215622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flipH="1">
            <a:off x="0" y="4495800"/>
            <a:ext cx="10287000" cy="2362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5" name="Rectangle 4"/>
          <p:cNvSpPr/>
          <p:nvPr/>
        </p:nvSpPr>
        <p:spPr>
          <a:xfrm flipH="1">
            <a:off x="1457325" y="4191000"/>
            <a:ext cx="8829675" cy="3048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6" name="Rectangle 5"/>
          <p:cNvSpPr/>
          <p:nvPr/>
        </p:nvSpPr>
        <p:spPr>
          <a:xfrm flipH="1">
            <a:off x="0" y="4191000"/>
            <a:ext cx="1419821" cy="30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2" name="Title 1"/>
          <p:cNvSpPr>
            <a:spLocks noGrp="1"/>
          </p:cNvSpPr>
          <p:nvPr>
            <p:ph type="ctrTitle"/>
          </p:nvPr>
        </p:nvSpPr>
        <p:spPr>
          <a:xfrm>
            <a:off x="1447616" y="1981200"/>
            <a:ext cx="7382060" cy="1905000"/>
          </a:xfrm>
        </p:spPr>
        <p:txBody>
          <a:bodyPr/>
          <a:lstStyle>
            <a:lvl1pPr>
              <a:defRPr sz="3200">
                <a:solidFill>
                  <a:schemeClr val="bg2">
                    <a:lumMod val="50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441253" y="4724400"/>
            <a:ext cx="7388423" cy="990600"/>
          </a:xfrm>
        </p:spPr>
        <p:txBody>
          <a:bodyPr/>
          <a:lstStyle>
            <a:lvl1pPr marL="0" indent="0" algn="l">
              <a:lnSpc>
                <a:spcPct val="90000"/>
              </a:lnSpc>
              <a:spcBef>
                <a:spcPts val="0"/>
              </a:spcBef>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432025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6"/>
          <p:cNvSpPr>
            <a:spLocks noGrp="1"/>
          </p:cNvSpPr>
          <p:nvPr>
            <p:ph type="dt" sz="half" idx="10"/>
          </p:nvPr>
        </p:nvSpPr>
        <p:spPr/>
        <p:txBody>
          <a:bodyPr/>
          <a:lstStyle>
            <a:lvl1pPr>
              <a:defRPr>
                <a:solidFill>
                  <a:prstClr val="black"/>
                </a:solidFill>
              </a:defRPr>
            </a:lvl1pPr>
          </a:lstStyle>
          <a:p>
            <a:pPr>
              <a:defRPr/>
            </a:pPr>
            <a:fld id="{803C76F9-943D-46A6-916B-805400714C93}" type="datetime1">
              <a:rPr lang="en-US"/>
              <a:pPr>
                <a:defRPr/>
              </a:pPr>
              <a:t>9/28/2023</a:t>
            </a:fld>
            <a:endParaRPr lang="en-US" dirty="0"/>
          </a:p>
        </p:txBody>
      </p:sp>
      <p:sp>
        <p:nvSpPr>
          <p:cNvPr id="5" name="Footer Placeholder 4"/>
          <p:cNvSpPr>
            <a:spLocks noGrp="1"/>
          </p:cNvSpPr>
          <p:nvPr>
            <p:ph type="ftr" sz="quarter" idx="11"/>
          </p:nvPr>
        </p:nvSpPr>
        <p:spPr/>
        <p:txBody>
          <a:bodyPr/>
          <a:lstStyle>
            <a:lvl1pPr algn="l">
              <a:defRPr sz="800">
                <a:solidFill>
                  <a:prstClr val="black"/>
                </a:solidFill>
              </a:defRPr>
            </a:lvl1pPr>
          </a:lstStyle>
          <a:p>
            <a:pPr>
              <a:defRPr/>
            </a:pPr>
            <a:r>
              <a:rPr lang="en-US"/>
              <a:t>Author’s Last Name, Conference Name, Year, Presentation #</a:t>
            </a:r>
            <a:endParaRPr lang="en-US" dirty="0"/>
          </a:p>
        </p:txBody>
      </p:sp>
    </p:spTree>
    <p:extLst>
      <p:ext uri="{BB962C8B-B14F-4D97-AF65-F5344CB8AC3E}">
        <p14:creationId xmlns:p14="http://schemas.microsoft.com/office/powerpoint/2010/main" val="2764424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tudy Name,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3"/>
          </p:nvPr>
        </p:nvSpPr>
        <p:spPr>
          <a:xfrm>
            <a:off x="514350" y="154546"/>
            <a:ext cx="9258300" cy="302654"/>
          </a:xfrm>
        </p:spPr>
        <p:txBody>
          <a:bodyPr anchor="b"/>
          <a:lstStyle>
            <a:lvl1pPr marL="0" indent="0">
              <a:spcBef>
                <a:spcPts val="0"/>
              </a:spcBef>
              <a:buNone/>
              <a:defRPr sz="16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5" name="Date Placeholder 6"/>
          <p:cNvSpPr>
            <a:spLocks noGrp="1"/>
          </p:cNvSpPr>
          <p:nvPr>
            <p:ph type="dt" sz="half" idx="14"/>
          </p:nvPr>
        </p:nvSpPr>
        <p:spPr/>
        <p:txBody>
          <a:bodyPr/>
          <a:lstStyle>
            <a:lvl1pPr>
              <a:defRPr>
                <a:solidFill>
                  <a:prstClr val="black"/>
                </a:solidFill>
              </a:defRPr>
            </a:lvl1pPr>
          </a:lstStyle>
          <a:p>
            <a:pPr>
              <a:defRPr/>
            </a:pPr>
            <a:fld id="{88C8E361-5C7E-47E4-A5A9-ED90CF731150}" type="datetime1">
              <a:rPr lang="en-US"/>
              <a:pPr>
                <a:defRPr/>
              </a:pPr>
              <a:t>9/28/2023</a:t>
            </a:fld>
            <a:endParaRPr lang="en-US" dirty="0"/>
          </a:p>
        </p:txBody>
      </p:sp>
      <p:sp>
        <p:nvSpPr>
          <p:cNvPr id="6" name="Footer Placeholder 7"/>
          <p:cNvSpPr>
            <a:spLocks noGrp="1"/>
          </p:cNvSpPr>
          <p:nvPr>
            <p:ph type="ftr" sz="quarter" idx="15"/>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7" name="Slide Number Placeholder 8"/>
          <p:cNvSpPr>
            <a:spLocks noGrp="1"/>
          </p:cNvSpPr>
          <p:nvPr>
            <p:ph type="sldNum" sz="quarter" idx="16"/>
          </p:nvPr>
        </p:nvSpPr>
        <p:spPr/>
        <p:txBody>
          <a:bodyPr/>
          <a:lstStyle>
            <a:lvl1pPr>
              <a:defRPr/>
            </a:lvl1pPr>
          </a:lstStyle>
          <a:p>
            <a:pPr>
              <a:defRPr/>
            </a:pPr>
            <a:fld id="{7BBFA0D7-4D95-4563-9DE5-D4B42410A86D}" type="slidenum">
              <a:rPr lang="en-US"/>
              <a:pPr>
                <a:defRPr/>
              </a:pPr>
              <a:t>‹#›</a:t>
            </a:fld>
            <a:endParaRPr lang="en-US"/>
          </a:p>
        </p:txBody>
      </p:sp>
    </p:spTree>
    <p:extLst>
      <p:ext uri="{BB962C8B-B14F-4D97-AF65-F5344CB8AC3E}">
        <p14:creationId xmlns:p14="http://schemas.microsoft.com/office/powerpoint/2010/main" val="3437311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4350" y="1828800"/>
            <a:ext cx="9258300"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514350" y="1371600"/>
            <a:ext cx="9258300" cy="304800"/>
          </a:xfrm>
        </p:spPr>
        <p:txBody>
          <a:bodyPr/>
          <a:lstStyle>
            <a:lvl1pPr marL="0" indent="0">
              <a:lnSpc>
                <a:spcPct val="90000"/>
              </a:lnSpc>
              <a:spcBef>
                <a:spcPts val="0"/>
              </a:spcBef>
              <a:buNone/>
              <a:defRPr sz="20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5" name="Date Placeholder 6"/>
          <p:cNvSpPr>
            <a:spLocks noGrp="1"/>
          </p:cNvSpPr>
          <p:nvPr>
            <p:ph type="dt" sz="half" idx="14"/>
          </p:nvPr>
        </p:nvSpPr>
        <p:spPr/>
        <p:txBody>
          <a:bodyPr/>
          <a:lstStyle>
            <a:lvl1pPr>
              <a:defRPr>
                <a:solidFill>
                  <a:prstClr val="black"/>
                </a:solidFill>
              </a:defRPr>
            </a:lvl1pPr>
          </a:lstStyle>
          <a:p>
            <a:pPr>
              <a:defRPr/>
            </a:pPr>
            <a:fld id="{C87FF330-3CE5-4C6C-94AD-F1535220CDC3}" type="datetime1">
              <a:rPr lang="en-US"/>
              <a:pPr>
                <a:defRPr/>
              </a:pPr>
              <a:t>9/28/2023</a:t>
            </a:fld>
            <a:endParaRPr lang="en-US" dirty="0"/>
          </a:p>
        </p:txBody>
      </p:sp>
      <p:sp>
        <p:nvSpPr>
          <p:cNvPr id="6" name="Footer Placeholder 7"/>
          <p:cNvSpPr>
            <a:spLocks noGrp="1"/>
          </p:cNvSpPr>
          <p:nvPr>
            <p:ph type="ftr" sz="quarter" idx="15"/>
          </p:nvPr>
        </p:nvSpPr>
        <p:spPr/>
        <p:txBody>
          <a:bodyPr/>
          <a:lstStyle>
            <a:lvl1pPr>
              <a:defRPr>
                <a:solidFill>
                  <a:prstClr val="black"/>
                </a:solidFill>
              </a:defRPr>
            </a:lvl1pPr>
          </a:lstStyle>
          <a:p>
            <a:pPr>
              <a:defRPr/>
            </a:pPr>
            <a:r>
              <a:rPr lang="en-US"/>
              <a:t>Author’s Last Name, Conference Name, Year, Presentation #</a:t>
            </a:r>
            <a:endParaRPr lang="en-US" dirty="0"/>
          </a:p>
        </p:txBody>
      </p:sp>
    </p:spTree>
    <p:extLst>
      <p:ext uri="{BB962C8B-B14F-4D97-AF65-F5344CB8AC3E}">
        <p14:creationId xmlns:p14="http://schemas.microsoft.com/office/powerpoint/2010/main" val="29050254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tudy Name, Title, Subtitle and Content">
    <p:spTree>
      <p:nvGrpSpPr>
        <p:cNvPr id="1" name=""/>
        <p:cNvGrpSpPr/>
        <p:nvPr/>
      </p:nvGrpSpPr>
      <p:grpSpPr>
        <a:xfrm>
          <a:off x="0" y="0"/>
          <a:ext cx="0" cy="0"/>
          <a:chOff x="0" y="0"/>
          <a:chExt cx="0" cy="0"/>
        </a:xfrm>
      </p:grpSpPr>
      <p:sp>
        <p:nvSpPr>
          <p:cNvPr id="12" name="Text Placeholder 4"/>
          <p:cNvSpPr>
            <a:spLocks noGrp="1"/>
          </p:cNvSpPr>
          <p:nvPr>
            <p:ph type="body" sz="quarter" idx="17"/>
          </p:nvPr>
        </p:nvSpPr>
        <p:spPr>
          <a:xfrm>
            <a:off x="514350" y="154546"/>
            <a:ext cx="9258300" cy="302654"/>
          </a:xfrm>
        </p:spPr>
        <p:txBody>
          <a:bodyPr anchor="b"/>
          <a:lstStyle>
            <a:lvl1pPr marL="0" indent="0">
              <a:spcBef>
                <a:spcPts val="0"/>
              </a:spcBef>
              <a:buNone/>
              <a:defRPr sz="16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4350" y="1828800"/>
            <a:ext cx="9258300"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514350" y="1371600"/>
            <a:ext cx="9258300" cy="304800"/>
          </a:xfrm>
        </p:spPr>
        <p:txBody>
          <a:bodyPr/>
          <a:lstStyle>
            <a:lvl1pPr marL="0" indent="0">
              <a:lnSpc>
                <a:spcPct val="90000"/>
              </a:lnSpc>
              <a:spcBef>
                <a:spcPts val="0"/>
              </a:spcBef>
              <a:buNone/>
              <a:defRPr sz="20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6" name="Date Placeholder 6"/>
          <p:cNvSpPr>
            <a:spLocks noGrp="1"/>
          </p:cNvSpPr>
          <p:nvPr>
            <p:ph type="dt" sz="half" idx="18"/>
          </p:nvPr>
        </p:nvSpPr>
        <p:spPr/>
        <p:txBody>
          <a:bodyPr/>
          <a:lstStyle>
            <a:lvl1pPr>
              <a:defRPr>
                <a:solidFill>
                  <a:prstClr val="black"/>
                </a:solidFill>
              </a:defRPr>
            </a:lvl1pPr>
          </a:lstStyle>
          <a:p>
            <a:pPr>
              <a:defRPr/>
            </a:pPr>
            <a:fld id="{E76B27D3-16AB-415F-9A78-F12BFD90219C}" type="datetime1">
              <a:rPr lang="en-US"/>
              <a:pPr>
                <a:defRPr/>
              </a:pPr>
              <a:t>9/28/2023</a:t>
            </a:fld>
            <a:endParaRPr lang="en-US" dirty="0"/>
          </a:p>
        </p:txBody>
      </p:sp>
      <p:sp>
        <p:nvSpPr>
          <p:cNvPr id="7" name="Footer Placeholder 7"/>
          <p:cNvSpPr>
            <a:spLocks noGrp="1"/>
          </p:cNvSpPr>
          <p:nvPr>
            <p:ph type="ftr" sz="quarter" idx="19"/>
          </p:nvPr>
        </p:nvSpPr>
        <p:spPr/>
        <p:txBody>
          <a:bodyPr/>
          <a:lstStyle>
            <a:lvl1pPr>
              <a:defRPr>
                <a:solidFill>
                  <a:prstClr val="black"/>
                </a:solidFill>
              </a:defRPr>
            </a:lvl1pPr>
          </a:lstStyle>
          <a:p>
            <a:pPr>
              <a:defRPr/>
            </a:pPr>
            <a:r>
              <a:rPr lang="en-US"/>
              <a:t>Author’s Last Name, Conference Name, Year, Presentation #</a:t>
            </a:r>
            <a:endParaRPr lang="en-US" dirty="0"/>
          </a:p>
        </p:txBody>
      </p:sp>
    </p:spTree>
    <p:extLst>
      <p:ext uri="{BB962C8B-B14F-4D97-AF65-F5344CB8AC3E}">
        <p14:creationId xmlns:p14="http://schemas.microsoft.com/office/powerpoint/2010/main" val="30088924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a:xfrm flipH="1">
            <a:off x="0" y="3878264"/>
            <a:ext cx="10287000" cy="2979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5" name="Rectangle 4"/>
          <p:cNvSpPr/>
          <p:nvPr/>
        </p:nvSpPr>
        <p:spPr>
          <a:xfrm flipH="1">
            <a:off x="1457325" y="3802063"/>
            <a:ext cx="8829675" cy="76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6" name="Rectangle 5"/>
          <p:cNvSpPr/>
          <p:nvPr/>
        </p:nvSpPr>
        <p:spPr>
          <a:xfrm flipH="1">
            <a:off x="0" y="3802063"/>
            <a:ext cx="1419821" cy="76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2" name="Title 1"/>
          <p:cNvSpPr>
            <a:spLocks noGrp="1"/>
          </p:cNvSpPr>
          <p:nvPr>
            <p:ph type="title"/>
          </p:nvPr>
        </p:nvSpPr>
        <p:spPr>
          <a:xfrm>
            <a:off x="1447616" y="2057400"/>
            <a:ext cx="7382060" cy="1371600"/>
          </a:xfrm>
        </p:spPr>
        <p:txBody>
          <a:bodyPr/>
          <a:lstStyle>
            <a:lvl1pPr algn="l">
              <a:defRPr sz="3200" b="0" cap="none" baseline="0">
                <a:solidFill>
                  <a:schemeClr val="bg2">
                    <a:lumMod val="50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41252" y="4106174"/>
            <a:ext cx="7388422" cy="990600"/>
          </a:xfrm>
        </p:spPr>
        <p:txBody>
          <a:bodyPr/>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a:t>Click to edit Master text styles</a:t>
            </a:r>
          </a:p>
        </p:txBody>
      </p:sp>
    </p:spTree>
    <p:extLst>
      <p:ext uri="{BB962C8B-B14F-4D97-AF65-F5344CB8AC3E}">
        <p14:creationId xmlns:p14="http://schemas.microsoft.com/office/powerpoint/2010/main" val="9322171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Section Header with #">
    <p:spTree>
      <p:nvGrpSpPr>
        <p:cNvPr id="1" name=""/>
        <p:cNvGrpSpPr/>
        <p:nvPr/>
      </p:nvGrpSpPr>
      <p:grpSpPr>
        <a:xfrm>
          <a:off x="0" y="0"/>
          <a:ext cx="0" cy="0"/>
          <a:chOff x="0" y="0"/>
          <a:chExt cx="0" cy="0"/>
        </a:xfrm>
      </p:grpSpPr>
      <p:sp>
        <p:nvSpPr>
          <p:cNvPr id="5" name="Rectangle 4"/>
          <p:cNvSpPr/>
          <p:nvPr/>
        </p:nvSpPr>
        <p:spPr>
          <a:xfrm flipH="1">
            <a:off x="0" y="3878264"/>
            <a:ext cx="10287000" cy="2979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6" name="Rectangle 5"/>
          <p:cNvSpPr/>
          <p:nvPr/>
        </p:nvSpPr>
        <p:spPr>
          <a:xfrm flipH="1">
            <a:off x="1457325" y="3802063"/>
            <a:ext cx="8829675" cy="762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7" name="Rectangle 6"/>
          <p:cNvSpPr/>
          <p:nvPr/>
        </p:nvSpPr>
        <p:spPr>
          <a:xfrm flipH="1">
            <a:off x="0" y="3802063"/>
            <a:ext cx="1419821" cy="76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2" name="Title 1"/>
          <p:cNvSpPr>
            <a:spLocks noGrp="1"/>
          </p:cNvSpPr>
          <p:nvPr>
            <p:ph type="title"/>
          </p:nvPr>
        </p:nvSpPr>
        <p:spPr>
          <a:xfrm>
            <a:off x="1447616" y="2514600"/>
            <a:ext cx="7382060" cy="914400"/>
          </a:xfrm>
        </p:spPr>
        <p:txBody>
          <a:bodyPr/>
          <a:lstStyle>
            <a:lvl1pPr algn="l">
              <a:defRPr sz="3200" b="0" cap="none" baseline="0">
                <a:solidFill>
                  <a:schemeClr val="bg2">
                    <a:lumMod val="50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441252" y="4106174"/>
            <a:ext cx="7388422" cy="990600"/>
          </a:xfrm>
        </p:spPr>
        <p:txBody>
          <a:bodyPr/>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a:t>Click to edit Master text styles</a:t>
            </a:r>
          </a:p>
        </p:txBody>
      </p:sp>
      <p:sp>
        <p:nvSpPr>
          <p:cNvPr id="9" name="Text Placeholder 4"/>
          <p:cNvSpPr>
            <a:spLocks noGrp="1"/>
          </p:cNvSpPr>
          <p:nvPr>
            <p:ph type="body" sz="quarter" idx="11"/>
          </p:nvPr>
        </p:nvSpPr>
        <p:spPr>
          <a:xfrm>
            <a:off x="1457325" y="1752600"/>
            <a:ext cx="7372350" cy="685800"/>
          </a:xfrm>
        </p:spPr>
        <p:txBody>
          <a:bodyPr anchor="b"/>
          <a:lstStyle>
            <a:lvl1pPr marL="0" indent="0">
              <a:spcBef>
                <a:spcPts val="0"/>
              </a:spcBef>
              <a:buNone/>
              <a:defRPr sz="1800">
                <a:solidFill>
                  <a:schemeClr val="tx2"/>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Tree>
    <p:extLst>
      <p:ext uri="{BB962C8B-B14F-4D97-AF65-F5344CB8AC3E}">
        <p14:creationId xmlns:p14="http://schemas.microsoft.com/office/powerpoint/2010/main" val="6593657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514350" y="274638"/>
            <a:ext cx="9258300" cy="1143000"/>
          </a:xfrm>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514350" y="1535113"/>
            <a:ext cx="454501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514350" y="2174875"/>
            <a:ext cx="454501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5226050" y="1535113"/>
            <a:ext cx="45466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5226050" y="2174875"/>
            <a:ext cx="4546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57E7FF20-C7E6-4B10-BA8C-25F46D971623}" type="slidenum">
              <a:rPr lang="el-GR"/>
              <a:pPr>
                <a:defRPr/>
              </a:pPr>
              <a:t>‹#›</a:t>
            </a:fld>
            <a:endParaRPr lang="el-GR"/>
          </a:p>
        </p:txBody>
      </p:sp>
    </p:spTree>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4350" y="1524000"/>
            <a:ext cx="4423410"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349240" y="1524000"/>
            <a:ext cx="4423410"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7"/>
          <p:cNvSpPr>
            <a:spLocks noGrp="1"/>
          </p:cNvSpPr>
          <p:nvPr>
            <p:ph type="dt" sz="half" idx="10"/>
          </p:nvPr>
        </p:nvSpPr>
        <p:spPr/>
        <p:txBody>
          <a:bodyPr/>
          <a:lstStyle>
            <a:lvl1pPr>
              <a:defRPr>
                <a:solidFill>
                  <a:prstClr val="black"/>
                </a:solidFill>
              </a:defRPr>
            </a:lvl1pPr>
          </a:lstStyle>
          <a:p>
            <a:pPr>
              <a:defRPr/>
            </a:pPr>
            <a:fld id="{018F46AC-1284-4C64-A236-D92053DABD71}" type="datetime1">
              <a:rPr lang="en-US"/>
              <a:pPr>
                <a:defRPr/>
              </a:pPr>
              <a:t>9/28/2023</a:t>
            </a:fld>
            <a:endParaRPr lang="en-US" dirty="0"/>
          </a:p>
        </p:txBody>
      </p:sp>
      <p:sp>
        <p:nvSpPr>
          <p:cNvPr id="6" name="Footer Placeholder 8"/>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7" name="Slide Number Placeholder 9"/>
          <p:cNvSpPr>
            <a:spLocks noGrp="1"/>
          </p:cNvSpPr>
          <p:nvPr>
            <p:ph type="sldNum" sz="quarter" idx="12"/>
          </p:nvPr>
        </p:nvSpPr>
        <p:spPr/>
        <p:txBody>
          <a:bodyPr/>
          <a:lstStyle>
            <a:lvl1pPr>
              <a:defRPr/>
            </a:lvl1pPr>
          </a:lstStyle>
          <a:p>
            <a:pPr>
              <a:defRPr/>
            </a:pPr>
            <a:fld id="{F0E4923A-C0C9-4FA4-B068-81E1571F7490}" type="slidenum">
              <a:rPr lang="en-US"/>
              <a:pPr>
                <a:defRPr/>
              </a:pPr>
              <a:t>‹#›</a:t>
            </a:fld>
            <a:endParaRPr lang="en-US"/>
          </a:p>
        </p:txBody>
      </p:sp>
    </p:spTree>
    <p:extLst>
      <p:ext uri="{BB962C8B-B14F-4D97-AF65-F5344CB8AC3E}">
        <p14:creationId xmlns:p14="http://schemas.microsoft.com/office/powerpoint/2010/main" val="37134924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4350" y="1524000"/>
            <a:ext cx="2931795" cy="4648200"/>
          </a:xfrm>
          <a:ln w="19050">
            <a:noFill/>
            <a:miter lim="800000"/>
          </a:ln>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p:cNvSpPr>
            <a:spLocks noGrp="1"/>
          </p:cNvSpPr>
          <p:nvPr>
            <p:ph sz="half" idx="15"/>
          </p:nvPr>
        </p:nvSpPr>
        <p:spPr>
          <a:xfrm>
            <a:off x="3677603" y="1524000"/>
            <a:ext cx="2931795" cy="4648200"/>
          </a:xfrm>
          <a:ln w="19050">
            <a:noFill/>
            <a:miter lim="800000"/>
          </a:ln>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p:cNvSpPr>
            <a:spLocks noGrp="1"/>
          </p:cNvSpPr>
          <p:nvPr>
            <p:ph sz="half" idx="17"/>
          </p:nvPr>
        </p:nvSpPr>
        <p:spPr>
          <a:xfrm>
            <a:off x="6840855" y="1524000"/>
            <a:ext cx="2931795" cy="4648200"/>
          </a:xfrm>
          <a:ln w="19050">
            <a:noFill/>
            <a:miter lim="800000"/>
          </a:ln>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Date Placeholder 7"/>
          <p:cNvSpPr>
            <a:spLocks noGrp="1"/>
          </p:cNvSpPr>
          <p:nvPr>
            <p:ph type="dt" sz="half" idx="18"/>
          </p:nvPr>
        </p:nvSpPr>
        <p:spPr/>
        <p:txBody>
          <a:bodyPr/>
          <a:lstStyle>
            <a:lvl1pPr>
              <a:defRPr>
                <a:solidFill>
                  <a:prstClr val="black"/>
                </a:solidFill>
              </a:defRPr>
            </a:lvl1pPr>
          </a:lstStyle>
          <a:p>
            <a:pPr>
              <a:defRPr/>
            </a:pPr>
            <a:fld id="{873D64D4-44E5-4CAA-B2F3-4CBF605ED41A}" type="datetime1">
              <a:rPr lang="en-US"/>
              <a:pPr>
                <a:defRPr/>
              </a:pPr>
              <a:t>9/28/2023</a:t>
            </a:fld>
            <a:endParaRPr lang="en-US" dirty="0"/>
          </a:p>
        </p:txBody>
      </p:sp>
      <p:sp>
        <p:nvSpPr>
          <p:cNvPr id="7" name="Footer Placeholder 8"/>
          <p:cNvSpPr>
            <a:spLocks noGrp="1"/>
          </p:cNvSpPr>
          <p:nvPr>
            <p:ph type="ftr" sz="quarter" idx="19"/>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8" name="Slide Number Placeholder 9"/>
          <p:cNvSpPr>
            <a:spLocks noGrp="1"/>
          </p:cNvSpPr>
          <p:nvPr>
            <p:ph type="sldNum" sz="quarter" idx="20"/>
          </p:nvPr>
        </p:nvSpPr>
        <p:spPr/>
        <p:txBody>
          <a:bodyPr/>
          <a:lstStyle>
            <a:lvl1pPr>
              <a:defRPr/>
            </a:lvl1pPr>
          </a:lstStyle>
          <a:p>
            <a:pPr>
              <a:defRPr/>
            </a:pPr>
            <a:fld id="{B45CA4B9-158E-4B18-B920-19096D2B43C8}" type="slidenum">
              <a:rPr lang="en-US"/>
              <a:pPr>
                <a:defRPr/>
              </a:pPr>
              <a:t>‹#›</a:t>
            </a:fld>
            <a:endParaRPr lang="en-US"/>
          </a:p>
        </p:txBody>
      </p:sp>
    </p:spTree>
    <p:extLst>
      <p:ext uri="{BB962C8B-B14F-4D97-AF65-F5344CB8AC3E}">
        <p14:creationId xmlns:p14="http://schemas.microsoft.com/office/powerpoint/2010/main" val="9815121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4350" y="1524000"/>
            <a:ext cx="4423410" cy="2209800"/>
          </a:xfrm>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349240" y="1524000"/>
            <a:ext cx="4423410" cy="2209800"/>
          </a:xfrm>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p:cNvSpPr>
            <a:spLocks noGrp="1"/>
          </p:cNvSpPr>
          <p:nvPr>
            <p:ph sz="half" idx="13"/>
          </p:nvPr>
        </p:nvSpPr>
        <p:spPr>
          <a:xfrm>
            <a:off x="514350" y="3962400"/>
            <a:ext cx="4423410" cy="2209800"/>
          </a:xfrm>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half" idx="14"/>
          </p:nvPr>
        </p:nvSpPr>
        <p:spPr>
          <a:xfrm>
            <a:off x="5349240" y="3962400"/>
            <a:ext cx="4423410" cy="2209800"/>
          </a:xfrm>
        </p:spPr>
        <p:txBody>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7"/>
          <p:cNvSpPr>
            <a:spLocks noGrp="1"/>
          </p:cNvSpPr>
          <p:nvPr>
            <p:ph type="dt" sz="half" idx="15"/>
          </p:nvPr>
        </p:nvSpPr>
        <p:spPr/>
        <p:txBody>
          <a:bodyPr/>
          <a:lstStyle>
            <a:lvl1pPr>
              <a:defRPr>
                <a:solidFill>
                  <a:prstClr val="black"/>
                </a:solidFill>
              </a:defRPr>
            </a:lvl1pPr>
          </a:lstStyle>
          <a:p>
            <a:pPr>
              <a:defRPr/>
            </a:pPr>
            <a:fld id="{F4F960C1-4DF6-4B0B-BC68-6A0C8F7D0A25}" type="datetime1">
              <a:rPr lang="en-US"/>
              <a:pPr>
                <a:defRPr/>
              </a:pPr>
              <a:t>9/28/2023</a:t>
            </a:fld>
            <a:endParaRPr lang="en-US" dirty="0"/>
          </a:p>
        </p:txBody>
      </p:sp>
      <p:sp>
        <p:nvSpPr>
          <p:cNvPr id="8" name="Footer Placeholder 8"/>
          <p:cNvSpPr>
            <a:spLocks noGrp="1"/>
          </p:cNvSpPr>
          <p:nvPr>
            <p:ph type="ftr" sz="quarter" idx="16"/>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9" name="Slide Number Placeholder 9"/>
          <p:cNvSpPr>
            <a:spLocks noGrp="1"/>
          </p:cNvSpPr>
          <p:nvPr>
            <p:ph type="sldNum" sz="quarter" idx="17"/>
          </p:nvPr>
        </p:nvSpPr>
        <p:spPr/>
        <p:txBody>
          <a:bodyPr/>
          <a:lstStyle>
            <a:lvl1pPr>
              <a:defRPr/>
            </a:lvl1pPr>
          </a:lstStyle>
          <a:p>
            <a:pPr>
              <a:defRPr/>
            </a:pPr>
            <a:fld id="{9E00FA73-F19E-429D-8035-126BAD460551}" type="slidenum">
              <a:rPr lang="en-US"/>
              <a:pPr>
                <a:defRPr/>
              </a:pPr>
              <a:t>‹#›</a:t>
            </a:fld>
            <a:endParaRPr lang="en-US"/>
          </a:p>
        </p:txBody>
      </p:sp>
    </p:spTree>
    <p:extLst>
      <p:ext uri="{BB962C8B-B14F-4D97-AF65-F5344CB8AC3E}">
        <p14:creationId xmlns:p14="http://schemas.microsoft.com/office/powerpoint/2010/main" val="15860530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14350" y="1524000"/>
            <a:ext cx="4423410" cy="609600"/>
          </a:xfrm>
        </p:spPr>
        <p:txBody>
          <a:bodyPr anchor="ctr"/>
          <a:lstStyle>
            <a:lvl1pPr marL="0" indent="0">
              <a:lnSpc>
                <a:spcPct val="90000"/>
              </a:lnSpc>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14350" y="2209800"/>
            <a:ext cx="4423410" cy="3962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349240" y="1524000"/>
            <a:ext cx="4423410" cy="609600"/>
          </a:xfrm>
        </p:spPr>
        <p:txBody>
          <a:bodyPr anchor="ctr"/>
          <a:lstStyle>
            <a:lvl1pPr marL="0" indent="0">
              <a:lnSpc>
                <a:spcPct val="90000"/>
              </a:lnSpc>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349240" y="2209800"/>
            <a:ext cx="4423410" cy="3962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9"/>
          <p:cNvSpPr>
            <a:spLocks noGrp="1"/>
          </p:cNvSpPr>
          <p:nvPr>
            <p:ph type="dt" sz="half" idx="10"/>
          </p:nvPr>
        </p:nvSpPr>
        <p:spPr/>
        <p:txBody>
          <a:bodyPr/>
          <a:lstStyle>
            <a:lvl1pPr>
              <a:defRPr>
                <a:solidFill>
                  <a:prstClr val="black"/>
                </a:solidFill>
              </a:defRPr>
            </a:lvl1pPr>
          </a:lstStyle>
          <a:p>
            <a:pPr>
              <a:defRPr/>
            </a:pPr>
            <a:fld id="{4C654BF9-E061-4993-B0B4-96D57970A8DC}" type="datetime1">
              <a:rPr lang="en-US"/>
              <a:pPr>
                <a:defRPr/>
              </a:pPr>
              <a:t>9/28/2023</a:t>
            </a:fld>
            <a:endParaRPr lang="en-US" dirty="0"/>
          </a:p>
        </p:txBody>
      </p:sp>
      <p:sp>
        <p:nvSpPr>
          <p:cNvPr id="8" name="Footer Placeholder 10"/>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9" name="Slide Number Placeholder 11"/>
          <p:cNvSpPr>
            <a:spLocks noGrp="1"/>
          </p:cNvSpPr>
          <p:nvPr>
            <p:ph type="sldNum" sz="quarter" idx="12"/>
          </p:nvPr>
        </p:nvSpPr>
        <p:spPr/>
        <p:txBody>
          <a:bodyPr/>
          <a:lstStyle>
            <a:lvl1pPr>
              <a:defRPr/>
            </a:lvl1pPr>
          </a:lstStyle>
          <a:p>
            <a:pPr>
              <a:defRPr/>
            </a:pPr>
            <a:fld id="{87245C88-EA08-4A28-A836-4043320722F0}" type="slidenum">
              <a:rPr lang="en-US"/>
              <a:pPr>
                <a:defRPr/>
              </a:pPr>
              <a:t>‹#›</a:t>
            </a:fld>
            <a:endParaRPr lang="en-US"/>
          </a:p>
        </p:txBody>
      </p:sp>
    </p:spTree>
    <p:extLst>
      <p:ext uri="{BB962C8B-B14F-4D97-AF65-F5344CB8AC3E}">
        <p14:creationId xmlns:p14="http://schemas.microsoft.com/office/powerpoint/2010/main" val="2622384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5"/>
          <p:cNvSpPr>
            <a:spLocks noGrp="1"/>
          </p:cNvSpPr>
          <p:nvPr>
            <p:ph type="dt" sz="half" idx="10"/>
          </p:nvPr>
        </p:nvSpPr>
        <p:spPr/>
        <p:txBody>
          <a:bodyPr/>
          <a:lstStyle>
            <a:lvl1pPr>
              <a:defRPr>
                <a:solidFill>
                  <a:prstClr val="black"/>
                </a:solidFill>
              </a:defRPr>
            </a:lvl1pPr>
          </a:lstStyle>
          <a:p>
            <a:pPr>
              <a:defRPr/>
            </a:pPr>
            <a:fld id="{0E543EE5-600E-4D8A-B144-C77E21D64C72}" type="datetime1">
              <a:rPr lang="en-US"/>
              <a:pPr>
                <a:defRPr/>
              </a:pPr>
              <a:t>9/28/2023</a:t>
            </a:fld>
            <a:endParaRPr lang="en-US" dirty="0"/>
          </a:p>
        </p:txBody>
      </p:sp>
      <p:sp>
        <p:nvSpPr>
          <p:cNvPr id="4" name="Footer Placeholder 6"/>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5" name="Slide Number Placeholder 7"/>
          <p:cNvSpPr>
            <a:spLocks noGrp="1"/>
          </p:cNvSpPr>
          <p:nvPr>
            <p:ph type="sldNum" sz="quarter" idx="12"/>
          </p:nvPr>
        </p:nvSpPr>
        <p:spPr/>
        <p:txBody>
          <a:bodyPr/>
          <a:lstStyle>
            <a:lvl1pPr>
              <a:defRPr/>
            </a:lvl1pPr>
          </a:lstStyle>
          <a:p>
            <a:pPr>
              <a:defRPr/>
            </a:pPr>
            <a:fld id="{32E27E93-2264-444D-BE06-A92348AE2E16}" type="slidenum">
              <a:rPr lang="en-US"/>
              <a:pPr>
                <a:defRPr/>
              </a:pPr>
              <a:t>‹#›</a:t>
            </a:fld>
            <a:endParaRPr lang="en-US"/>
          </a:p>
        </p:txBody>
      </p:sp>
    </p:spTree>
    <p:extLst>
      <p:ext uri="{BB962C8B-B14F-4D97-AF65-F5344CB8AC3E}">
        <p14:creationId xmlns:p14="http://schemas.microsoft.com/office/powerpoint/2010/main" val="25321273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8"/>
          <p:cNvSpPr>
            <a:spLocks noGrp="1"/>
          </p:cNvSpPr>
          <p:nvPr>
            <p:ph type="body" sz="quarter" idx="13"/>
          </p:nvPr>
        </p:nvSpPr>
        <p:spPr>
          <a:xfrm>
            <a:off x="514350" y="1371600"/>
            <a:ext cx="9258300" cy="304800"/>
          </a:xfrm>
        </p:spPr>
        <p:txBody>
          <a:bodyPr/>
          <a:lstStyle>
            <a:lvl1pPr marL="0" indent="0">
              <a:lnSpc>
                <a:spcPct val="90000"/>
              </a:lnSpc>
              <a:spcBef>
                <a:spcPts val="0"/>
              </a:spcBef>
              <a:buNone/>
              <a:defRPr sz="20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4" name="Date Placeholder 6"/>
          <p:cNvSpPr>
            <a:spLocks noGrp="1"/>
          </p:cNvSpPr>
          <p:nvPr>
            <p:ph type="dt" sz="half" idx="14"/>
          </p:nvPr>
        </p:nvSpPr>
        <p:spPr/>
        <p:txBody>
          <a:bodyPr/>
          <a:lstStyle>
            <a:lvl1pPr>
              <a:defRPr>
                <a:solidFill>
                  <a:prstClr val="black"/>
                </a:solidFill>
              </a:defRPr>
            </a:lvl1pPr>
          </a:lstStyle>
          <a:p>
            <a:pPr>
              <a:defRPr/>
            </a:pPr>
            <a:fld id="{FCF35843-3A41-49AA-8959-56EE1A31B5E2}" type="datetime1">
              <a:rPr lang="en-US"/>
              <a:pPr>
                <a:defRPr/>
              </a:pPr>
              <a:t>9/28/2023</a:t>
            </a:fld>
            <a:endParaRPr lang="en-US" dirty="0"/>
          </a:p>
        </p:txBody>
      </p:sp>
      <p:sp>
        <p:nvSpPr>
          <p:cNvPr id="5" name="Footer Placeholder 7"/>
          <p:cNvSpPr>
            <a:spLocks noGrp="1"/>
          </p:cNvSpPr>
          <p:nvPr>
            <p:ph type="ftr" sz="quarter" idx="15"/>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7" name="Slide Number Placeholder 8"/>
          <p:cNvSpPr>
            <a:spLocks noGrp="1"/>
          </p:cNvSpPr>
          <p:nvPr>
            <p:ph type="sldNum" sz="quarter" idx="16"/>
          </p:nvPr>
        </p:nvSpPr>
        <p:spPr/>
        <p:txBody>
          <a:bodyPr/>
          <a:lstStyle>
            <a:lvl1pPr>
              <a:defRPr/>
            </a:lvl1pPr>
          </a:lstStyle>
          <a:p>
            <a:pPr>
              <a:defRPr/>
            </a:pPr>
            <a:fld id="{B95C7D89-6EC7-4642-BDE2-8E621C28F5E6}" type="slidenum">
              <a:rPr lang="en-US"/>
              <a:pPr>
                <a:defRPr/>
              </a:pPr>
              <a:t>‹#›</a:t>
            </a:fld>
            <a:endParaRPr lang="en-US"/>
          </a:p>
        </p:txBody>
      </p:sp>
    </p:spTree>
    <p:extLst>
      <p:ext uri="{BB962C8B-B14F-4D97-AF65-F5344CB8AC3E}">
        <p14:creationId xmlns:p14="http://schemas.microsoft.com/office/powerpoint/2010/main" val="35792990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4"/>
          <p:cNvSpPr>
            <a:spLocks noGrp="1"/>
          </p:cNvSpPr>
          <p:nvPr>
            <p:ph type="dt" sz="half" idx="10"/>
          </p:nvPr>
        </p:nvSpPr>
        <p:spPr/>
        <p:txBody>
          <a:bodyPr/>
          <a:lstStyle>
            <a:lvl1pPr>
              <a:defRPr>
                <a:solidFill>
                  <a:prstClr val="black"/>
                </a:solidFill>
              </a:defRPr>
            </a:lvl1pPr>
          </a:lstStyle>
          <a:p>
            <a:pPr>
              <a:defRPr/>
            </a:pPr>
            <a:fld id="{13681877-BEF6-4945-A8E2-C7505FF67B52}" type="datetime1">
              <a:rPr lang="en-US"/>
              <a:pPr>
                <a:defRPr/>
              </a:pPr>
              <a:t>9/28/2023</a:t>
            </a:fld>
            <a:endParaRPr lang="en-US" dirty="0"/>
          </a:p>
        </p:txBody>
      </p:sp>
      <p:sp>
        <p:nvSpPr>
          <p:cNvPr id="3" name="Footer Placeholder 5"/>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4" name="Slide Number Placeholder 6"/>
          <p:cNvSpPr>
            <a:spLocks noGrp="1"/>
          </p:cNvSpPr>
          <p:nvPr>
            <p:ph type="sldNum" sz="quarter" idx="12"/>
          </p:nvPr>
        </p:nvSpPr>
        <p:spPr/>
        <p:txBody>
          <a:bodyPr/>
          <a:lstStyle>
            <a:lvl1pPr>
              <a:defRPr/>
            </a:lvl1pPr>
          </a:lstStyle>
          <a:p>
            <a:pPr>
              <a:defRPr/>
            </a:pPr>
            <a:fld id="{14D7C134-6B2F-4F3A-8891-AF118DD97B55}" type="slidenum">
              <a:rPr lang="en-US"/>
              <a:pPr>
                <a:defRPr/>
              </a:pPr>
              <a:t>‹#›</a:t>
            </a:fld>
            <a:endParaRPr lang="en-US"/>
          </a:p>
        </p:txBody>
      </p:sp>
    </p:spTree>
    <p:extLst>
      <p:ext uri="{BB962C8B-B14F-4D97-AF65-F5344CB8AC3E}">
        <p14:creationId xmlns:p14="http://schemas.microsoft.com/office/powerpoint/2010/main" val="5931152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2400" b="0"/>
            </a:lvl1pPr>
          </a:lstStyle>
          <a:p>
            <a:r>
              <a:rPr lang="en-US"/>
              <a:t>Click to edit Master title style</a:t>
            </a:r>
          </a:p>
        </p:txBody>
      </p:sp>
      <p:sp>
        <p:nvSpPr>
          <p:cNvPr id="3" name="Content Placeholder 2"/>
          <p:cNvSpPr>
            <a:spLocks noGrp="1"/>
          </p:cNvSpPr>
          <p:nvPr>
            <p:ph idx="1"/>
          </p:nvPr>
        </p:nvSpPr>
        <p:spPr>
          <a:xfrm>
            <a:off x="514350" y="1524001"/>
            <a:ext cx="6686550"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372350" y="1524000"/>
            <a:ext cx="2400300" cy="4648200"/>
          </a:xfrm>
        </p:spPr>
        <p:txBody>
          <a:bodyPr/>
          <a:lstStyle>
            <a:lvl1pPr marL="0" indent="0">
              <a:lnSpc>
                <a:spcPct val="90000"/>
              </a:lnSpc>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t>Click to edit Master text styles</a:t>
            </a:r>
          </a:p>
        </p:txBody>
      </p:sp>
      <p:sp>
        <p:nvSpPr>
          <p:cNvPr id="5" name="Date Placeholder 7"/>
          <p:cNvSpPr>
            <a:spLocks noGrp="1"/>
          </p:cNvSpPr>
          <p:nvPr>
            <p:ph type="dt" sz="half" idx="10"/>
          </p:nvPr>
        </p:nvSpPr>
        <p:spPr/>
        <p:txBody>
          <a:bodyPr/>
          <a:lstStyle>
            <a:lvl1pPr>
              <a:defRPr>
                <a:solidFill>
                  <a:prstClr val="black"/>
                </a:solidFill>
              </a:defRPr>
            </a:lvl1pPr>
          </a:lstStyle>
          <a:p>
            <a:pPr>
              <a:defRPr/>
            </a:pPr>
            <a:fld id="{0F13A87A-9427-4522-B125-0DAFD01EA466}" type="datetime1">
              <a:rPr lang="en-US"/>
              <a:pPr>
                <a:defRPr/>
              </a:pPr>
              <a:t>9/28/2023</a:t>
            </a:fld>
            <a:endParaRPr lang="en-US" dirty="0"/>
          </a:p>
        </p:txBody>
      </p:sp>
      <p:sp>
        <p:nvSpPr>
          <p:cNvPr id="6" name="Footer Placeholder 8"/>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7" name="Slide Number Placeholder 9"/>
          <p:cNvSpPr>
            <a:spLocks noGrp="1"/>
          </p:cNvSpPr>
          <p:nvPr>
            <p:ph type="sldNum" sz="quarter" idx="12"/>
          </p:nvPr>
        </p:nvSpPr>
        <p:spPr/>
        <p:txBody>
          <a:bodyPr/>
          <a:lstStyle>
            <a:lvl1pPr>
              <a:defRPr/>
            </a:lvl1pPr>
          </a:lstStyle>
          <a:p>
            <a:pPr>
              <a:defRPr/>
            </a:pPr>
            <a:fld id="{88977252-A36E-4E1D-A646-36C25782CA00}" type="slidenum">
              <a:rPr lang="en-US"/>
              <a:pPr>
                <a:defRPr/>
              </a:pPr>
              <a:t>‹#›</a:t>
            </a:fld>
            <a:endParaRPr lang="en-US"/>
          </a:p>
        </p:txBody>
      </p:sp>
    </p:spTree>
    <p:extLst>
      <p:ext uri="{BB962C8B-B14F-4D97-AF65-F5344CB8AC3E}">
        <p14:creationId xmlns:p14="http://schemas.microsoft.com/office/powerpoint/2010/main" val="14711247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2400" b="0"/>
            </a:lvl1pPr>
          </a:lstStyle>
          <a:p>
            <a:r>
              <a:rPr lang="en-US"/>
              <a:t>Click to edit Master title style</a:t>
            </a:r>
          </a:p>
        </p:txBody>
      </p:sp>
      <p:sp>
        <p:nvSpPr>
          <p:cNvPr id="3" name="Picture Placeholder 2"/>
          <p:cNvSpPr>
            <a:spLocks noGrp="1"/>
          </p:cNvSpPr>
          <p:nvPr>
            <p:ph type="pic" idx="1"/>
          </p:nvPr>
        </p:nvSpPr>
        <p:spPr>
          <a:xfrm>
            <a:off x="514350" y="1524000"/>
            <a:ext cx="6686550" cy="4652513"/>
          </a:xfrm>
        </p:spPr>
        <p:txBody>
          <a:bodyPr tIns="365760" rtlCol="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7372350" y="1524000"/>
            <a:ext cx="2400300" cy="46482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t>Click to edit Master text styles</a:t>
            </a:r>
          </a:p>
        </p:txBody>
      </p:sp>
      <p:sp>
        <p:nvSpPr>
          <p:cNvPr id="5" name="Date Placeholder 7"/>
          <p:cNvSpPr>
            <a:spLocks noGrp="1"/>
          </p:cNvSpPr>
          <p:nvPr>
            <p:ph type="dt" sz="half" idx="10"/>
          </p:nvPr>
        </p:nvSpPr>
        <p:spPr/>
        <p:txBody>
          <a:bodyPr/>
          <a:lstStyle>
            <a:lvl1pPr>
              <a:defRPr>
                <a:solidFill>
                  <a:prstClr val="black"/>
                </a:solidFill>
              </a:defRPr>
            </a:lvl1pPr>
          </a:lstStyle>
          <a:p>
            <a:pPr>
              <a:defRPr/>
            </a:pPr>
            <a:fld id="{D8234307-8C89-4F9B-A283-F5E22798B9FB}" type="datetime1">
              <a:rPr lang="en-US"/>
              <a:pPr>
                <a:defRPr/>
              </a:pPr>
              <a:t>9/28/2023</a:t>
            </a:fld>
            <a:endParaRPr lang="en-US" dirty="0"/>
          </a:p>
        </p:txBody>
      </p:sp>
      <p:sp>
        <p:nvSpPr>
          <p:cNvPr id="6" name="Footer Placeholder 8"/>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7" name="Slide Number Placeholder 9"/>
          <p:cNvSpPr>
            <a:spLocks noGrp="1"/>
          </p:cNvSpPr>
          <p:nvPr>
            <p:ph type="sldNum" sz="quarter" idx="12"/>
          </p:nvPr>
        </p:nvSpPr>
        <p:spPr/>
        <p:txBody>
          <a:bodyPr/>
          <a:lstStyle>
            <a:lvl1pPr>
              <a:defRPr/>
            </a:lvl1pPr>
          </a:lstStyle>
          <a:p>
            <a:pPr>
              <a:defRPr/>
            </a:pPr>
            <a:fld id="{7957986C-FB54-4DB0-AECC-7019A8B23163}" type="slidenum">
              <a:rPr lang="en-US"/>
              <a:pPr>
                <a:defRPr/>
              </a:pPr>
              <a:t>‹#›</a:t>
            </a:fld>
            <a:endParaRPr lang="en-US"/>
          </a:p>
        </p:txBody>
      </p:sp>
    </p:spTree>
    <p:extLst>
      <p:ext uri="{BB962C8B-B14F-4D97-AF65-F5344CB8AC3E}">
        <p14:creationId xmlns:p14="http://schemas.microsoft.com/office/powerpoint/2010/main" val="38091740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Topic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14350" y="2286000"/>
            <a:ext cx="4454271" cy="3886200"/>
          </a:xfrm>
          <a:ln w="19050">
            <a:solidFill>
              <a:schemeClr val="bg1">
                <a:lumMod val="50000"/>
              </a:schemeClr>
            </a:solidFill>
            <a:miter lim="800000"/>
          </a:ln>
        </p:spPr>
        <p:txBody>
          <a:bodyPr lIns="182880" tIns="182880" rIns="182880" bIns="91440"/>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4"/>
          </p:nvPr>
        </p:nvSpPr>
        <p:spPr>
          <a:xfrm>
            <a:off x="514350" y="1524000"/>
            <a:ext cx="4454271" cy="762000"/>
          </a:xfrm>
          <a:solidFill>
            <a:schemeClr val="bg1">
              <a:lumMod val="50000"/>
            </a:schemeClr>
          </a:solidFill>
          <a:ln w="19050">
            <a:solidFill>
              <a:schemeClr val="bg1">
                <a:lumMod val="50000"/>
              </a:schemeClr>
            </a:solidFill>
            <a:miter lim="800000"/>
          </a:ln>
        </p:spPr>
        <p:txBody>
          <a:bodyPr lIns="91440" tIns="91440" rIns="91440" bIns="91440" anchor="ctr"/>
          <a:lstStyle>
            <a:lvl1pPr marL="0" indent="0" algn="ctr">
              <a:spcBef>
                <a:spcPts val="0"/>
              </a:spcBef>
              <a:buNone/>
              <a:defRPr sz="2000" b="1">
                <a:solidFill>
                  <a:schemeClr val="bg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16" name="Content Placeholder 2"/>
          <p:cNvSpPr>
            <a:spLocks noGrp="1"/>
          </p:cNvSpPr>
          <p:nvPr>
            <p:ph sz="half" idx="15"/>
          </p:nvPr>
        </p:nvSpPr>
        <p:spPr>
          <a:xfrm>
            <a:off x="5318379" y="2286000"/>
            <a:ext cx="4454271" cy="3886200"/>
          </a:xfrm>
          <a:ln w="19050">
            <a:solidFill>
              <a:schemeClr val="bg1">
                <a:lumMod val="50000"/>
              </a:schemeClr>
            </a:solidFill>
            <a:miter lim="800000"/>
          </a:ln>
        </p:spPr>
        <p:txBody>
          <a:bodyPr lIns="182880" tIns="182880" rIns="182880" bIns="91440"/>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4"/>
          <p:cNvSpPr>
            <a:spLocks noGrp="1"/>
          </p:cNvSpPr>
          <p:nvPr>
            <p:ph type="body" sz="quarter" idx="16"/>
          </p:nvPr>
        </p:nvSpPr>
        <p:spPr>
          <a:xfrm>
            <a:off x="5318379" y="1524000"/>
            <a:ext cx="4454271" cy="762000"/>
          </a:xfrm>
          <a:solidFill>
            <a:schemeClr val="bg1">
              <a:lumMod val="50000"/>
            </a:schemeClr>
          </a:solidFill>
          <a:ln w="19050">
            <a:solidFill>
              <a:schemeClr val="bg1">
                <a:lumMod val="50000"/>
              </a:schemeClr>
            </a:solidFill>
            <a:miter lim="800000"/>
          </a:ln>
        </p:spPr>
        <p:txBody>
          <a:bodyPr lIns="91440" tIns="91440" rIns="91440" bIns="91440" anchor="ctr"/>
          <a:lstStyle>
            <a:lvl1pPr marL="0" indent="0" algn="ctr">
              <a:spcBef>
                <a:spcPts val="0"/>
              </a:spcBef>
              <a:buNone/>
              <a:defRPr sz="2000" b="1">
                <a:solidFill>
                  <a:schemeClr val="bg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7" name="Date Placeholder 7"/>
          <p:cNvSpPr>
            <a:spLocks noGrp="1"/>
          </p:cNvSpPr>
          <p:nvPr>
            <p:ph type="dt" sz="half" idx="17"/>
          </p:nvPr>
        </p:nvSpPr>
        <p:spPr/>
        <p:txBody>
          <a:bodyPr/>
          <a:lstStyle>
            <a:lvl1pPr>
              <a:defRPr>
                <a:solidFill>
                  <a:prstClr val="black"/>
                </a:solidFill>
              </a:defRPr>
            </a:lvl1pPr>
          </a:lstStyle>
          <a:p>
            <a:pPr>
              <a:defRPr/>
            </a:pPr>
            <a:fld id="{5696F25A-A208-4EC0-9958-2D79F00A9487}" type="datetime1">
              <a:rPr lang="en-US"/>
              <a:pPr>
                <a:defRPr/>
              </a:pPr>
              <a:t>9/28/2023</a:t>
            </a:fld>
            <a:endParaRPr lang="en-US" dirty="0"/>
          </a:p>
        </p:txBody>
      </p:sp>
      <p:sp>
        <p:nvSpPr>
          <p:cNvPr id="8" name="Footer Placeholder 8"/>
          <p:cNvSpPr>
            <a:spLocks noGrp="1"/>
          </p:cNvSpPr>
          <p:nvPr>
            <p:ph type="ftr" sz="quarter" idx="18"/>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9" name="Slide Number Placeholder 9"/>
          <p:cNvSpPr>
            <a:spLocks noGrp="1"/>
          </p:cNvSpPr>
          <p:nvPr>
            <p:ph type="sldNum" sz="quarter" idx="19"/>
          </p:nvPr>
        </p:nvSpPr>
        <p:spPr/>
        <p:txBody>
          <a:bodyPr/>
          <a:lstStyle>
            <a:lvl1pPr>
              <a:defRPr/>
            </a:lvl1pPr>
          </a:lstStyle>
          <a:p>
            <a:pPr>
              <a:defRPr/>
            </a:pPr>
            <a:fld id="{7F3BE356-AFC1-4AEA-94C6-522B7E7536A8}" type="slidenum">
              <a:rPr lang="en-US"/>
              <a:pPr>
                <a:defRPr/>
              </a:pPr>
              <a:t>‹#›</a:t>
            </a:fld>
            <a:endParaRPr lang="en-US"/>
          </a:p>
        </p:txBody>
      </p:sp>
    </p:spTree>
    <p:extLst>
      <p:ext uri="{BB962C8B-B14F-4D97-AF65-F5344CB8AC3E}">
        <p14:creationId xmlns:p14="http://schemas.microsoft.com/office/powerpoint/2010/main" val="40919749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9A777494-433F-4998-B42D-6E9E3411EEA5}" type="slidenum">
              <a:rPr lang="el-GR"/>
              <a:pPr>
                <a:defRPr/>
              </a:pPr>
              <a:t>‹#›</a:t>
            </a:fld>
            <a:endParaRPr lang="el-GR"/>
          </a:p>
        </p:txBody>
      </p:sp>
    </p:spTree>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hree Topic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14350" y="2286000"/>
            <a:ext cx="2931795" cy="3886200"/>
          </a:xfrm>
          <a:ln w="19050">
            <a:solidFill>
              <a:schemeClr val="bg1">
                <a:lumMod val="50000"/>
              </a:schemeClr>
            </a:solidFill>
            <a:miter lim="800000"/>
          </a:ln>
        </p:spPr>
        <p:txBody>
          <a:bodyPr lIns="182880" tIns="182880" rIns="182880" bIns="91440"/>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4"/>
          <p:cNvSpPr>
            <a:spLocks noGrp="1"/>
          </p:cNvSpPr>
          <p:nvPr>
            <p:ph type="body" sz="quarter" idx="14"/>
          </p:nvPr>
        </p:nvSpPr>
        <p:spPr>
          <a:xfrm>
            <a:off x="514350" y="1524000"/>
            <a:ext cx="2931795" cy="762000"/>
          </a:xfrm>
          <a:solidFill>
            <a:schemeClr val="bg1">
              <a:lumMod val="50000"/>
            </a:schemeClr>
          </a:solidFill>
          <a:ln w="19050">
            <a:solidFill>
              <a:schemeClr val="bg1">
                <a:lumMod val="50000"/>
              </a:schemeClr>
            </a:solidFill>
            <a:miter lim="800000"/>
          </a:ln>
        </p:spPr>
        <p:txBody>
          <a:bodyPr lIns="91440" tIns="91440" rIns="91440" bIns="91440" anchor="ctr"/>
          <a:lstStyle>
            <a:lvl1pPr marL="0" indent="0" algn="ctr">
              <a:spcBef>
                <a:spcPts val="0"/>
              </a:spcBef>
              <a:buNone/>
              <a:defRPr sz="2000" b="1">
                <a:solidFill>
                  <a:schemeClr val="bg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16" name="Content Placeholder 2"/>
          <p:cNvSpPr>
            <a:spLocks noGrp="1"/>
          </p:cNvSpPr>
          <p:nvPr>
            <p:ph sz="half" idx="15"/>
          </p:nvPr>
        </p:nvSpPr>
        <p:spPr>
          <a:xfrm>
            <a:off x="3677603" y="2286000"/>
            <a:ext cx="2931795" cy="3886200"/>
          </a:xfrm>
          <a:ln w="19050">
            <a:solidFill>
              <a:schemeClr val="bg1">
                <a:lumMod val="50000"/>
              </a:schemeClr>
            </a:solidFill>
            <a:miter lim="800000"/>
          </a:ln>
        </p:spPr>
        <p:txBody>
          <a:bodyPr lIns="182880" tIns="182880" rIns="182880" bIns="91440"/>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4"/>
          <p:cNvSpPr>
            <a:spLocks noGrp="1"/>
          </p:cNvSpPr>
          <p:nvPr>
            <p:ph type="body" sz="quarter" idx="16"/>
          </p:nvPr>
        </p:nvSpPr>
        <p:spPr>
          <a:xfrm>
            <a:off x="3677603" y="1524000"/>
            <a:ext cx="2931795" cy="762000"/>
          </a:xfrm>
          <a:solidFill>
            <a:schemeClr val="bg1">
              <a:lumMod val="50000"/>
            </a:schemeClr>
          </a:solidFill>
          <a:ln w="19050">
            <a:solidFill>
              <a:schemeClr val="bg1">
                <a:lumMod val="50000"/>
              </a:schemeClr>
            </a:solidFill>
            <a:miter lim="800000"/>
          </a:ln>
        </p:spPr>
        <p:txBody>
          <a:bodyPr lIns="91440" tIns="91440" rIns="91440" bIns="91440" anchor="ctr"/>
          <a:lstStyle>
            <a:lvl1pPr marL="0" indent="0" algn="ctr">
              <a:spcBef>
                <a:spcPts val="0"/>
              </a:spcBef>
              <a:buNone/>
              <a:defRPr sz="2000" b="1">
                <a:solidFill>
                  <a:schemeClr val="bg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18" name="Content Placeholder 2"/>
          <p:cNvSpPr>
            <a:spLocks noGrp="1"/>
          </p:cNvSpPr>
          <p:nvPr>
            <p:ph sz="half" idx="17"/>
          </p:nvPr>
        </p:nvSpPr>
        <p:spPr>
          <a:xfrm>
            <a:off x="6840855" y="2286000"/>
            <a:ext cx="2931795" cy="3886200"/>
          </a:xfrm>
          <a:ln w="19050">
            <a:solidFill>
              <a:schemeClr val="bg1">
                <a:lumMod val="50000"/>
              </a:schemeClr>
            </a:solidFill>
            <a:miter lim="800000"/>
          </a:ln>
        </p:spPr>
        <p:txBody>
          <a:bodyPr lIns="182880" tIns="182880" rIns="182880" bIns="91440"/>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4"/>
          <p:cNvSpPr>
            <a:spLocks noGrp="1"/>
          </p:cNvSpPr>
          <p:nvPr>
            <p:ph type="body" sz="quarter" idx="18"/>
          </p:nvPr>
        </p:nvSpPr>
        <p:spPr>
          <a:xfrm>
            <a:off x="6840855" y="1524000"/>
            <a:ext cx="2931795" cy="762000"/>
          </a:xfrm>
          <a:solidFill>
            <a:schemeClr val="bg1">
              <a:lumMod val="50000"/>
            </a:schemeClr>
          </a:solidFill>
          <a:ln w="19050">
            <a:solidFill>
              <a:schemeClr val="bg1">
                <a:lumMod val="50000"/>
              </a:schemeClr>
            </a:solidFill>
            <a:miter lim="800000"/>
          </a:ln>
        </p:spPr>
        <p:txBody>
          <a:bodyPr lIns="91440" tIns="91440" rIns="91440" bIns="91440" anchor="ctr"/>
          <a:lstStyle>
            <a:lvl1pPr marL="0" indent="0" algn="ctr">
              <a:spcBef>
                <a:spcPts val="0"/>
              </a:spcBef>
              <a:buNone/>
              <a:defRPr sz="2000" b="1">
                <a:solidFill>
                  <a:schemeClr val="bg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9" name="Date Placeholder 7"/>
          <p:cNvSpPr>
            <a:spLocks noGrp="1"/>
          </p:cNvSpPr>
          <p:nvPr>
            <p:ph type="dt" sz="half" idx="19"/>
          </p:nvPr>
        </p:nvSpPr>
        <p:spPr/>
        <p:txBody>
          <a:bodyPr/>
          <a:lstStyle>
            <a:lvl1pPr>
              <a:defRPr>
                <a:solidFill>
                  <a:prstClr val="black"/>
                </a:solidFill>
              </a:defRPr>
            </a:lvl1pPr>
          </a:lstStyle>
          <a:p>
            <a:pPr>
              <a:defRPr/>
            </a:pPr>
            <a:fld id="{5696F25A-A208-4EC0-9958-2D79F00A9487}" type="datetime1">
              <a:rPr lang="en-US"/>
              <a:pPr>
                <a:defRPr/>
              </a:pPr>
              <a:t>9/28/2023</a:t>
            </a:fld>
            <a:endParaRPr lang="en-US" dirty="0"/>
          </a:p>
        </p:txBody>
      </p:sp>
      <p:sp>
        <p:nvSpPr>
          <p:cNvPr id="10" name="Footer Placeholder 8"/>
          <p:cNvSpPr>
            <a:spLocks noGrp="1"/>
          </p:cNvSpPr>
          <p:nvPr>
            <p:ph type="ftr" sz="quarter" idx="20"/>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11" name="Slide Number Placeholder 9"/>
          <p:cNvSpPr>
            <a:spLocks noGrp="1"/>
          </p:cNvSpPr>
          <p:nvPr>
            <p:ph type="sldNum" sz="quarter" idx="21"/>
          </p:nvPr>
        </p:nvSpPr>
        <p:spPr/>
        <p:txBody>
          <a:bodyPr/>
          <a:lstStyle>
            <a:lvl1pPr>
              <a:defRPr/>
            </a:lvl1pPr>
          </a:lstStyle>
          <a:p>
            <a:pPr>
              <a:defRPr/>
            </a:pPr>
            <a:fld id="{0DCB1A76-2988-4E46-8256-6611EE6C867E}" type="slidenum">
              <a:rPr lang="en-US"/>
              <a:pPr>
                <a:defRPr/>
              </a:pPr>
              <a:t>‹#›</a:t>
            </a:fld>
            <a:endParaRPr lang="en-US"/>
          </a:p>
        </p:txBody>
      </p:sp>
    </p:spTree>
    <p:extLst>
      <p:ext uri="{BB962C8B-B14F-4D97-AF65-F5344CB8AC3E}">
        <p14:creationId xmlns:p14="http://schemas.microsoft.com/office/powerpoint/2010/main" val="6030468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6"/>
          <p:cNvSpPr>
            <a:spLocks noGrp="1"/>
          </p:cNvSpPr>
          <p:nvPr>
            <p:ph type="dt" sz="half" idx="10"/>
          </p:nvPr>
        </p:nvSpPr>
        <p:spPr/>
        <p:txBody>
          <a:bodyPr/>
          <a:lstStyle>
            <a:lvl1pPr>
              <a:defRPr>
                <a:solidFill>
                  <a:prstClr val="black"/>
                </a:solidFill>
              </a:defRPr>
            </a:lvl1pPr>
          </a:lstStyle>
          <a:p>
            <a:pPr>
              <a:defRPr/>
            </a:pPr>
            <a:fld id="{D456D236-753B-421D-A123-0F2BCD70700B}" type="datetime1">
              <a:rPr lang="en-US"/>
              <a:pPr>
                <a:defRPr/>
              </a:pPr>
              <a:t>9/28/2023</a:t>
            </a:fld>
            <a:endParaRPr lang="en-US" dirty="0"/>
          </a:p>
        </p:txBody>
      </p:sp>
      <p:sp>
        <p:nvSpPr>
          <p:cNvPr id="5" name="Footer Placeholder 7"/>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6" name="Slide Number Placeholder 8"/>
          <p:cNvSpPr>
            <a:spLocks noGrp="1"/>
          </p:cNvSpPr>
          <p:nvPr>
            <p:ph type="sldNum" sz="quarter" idx="12"/>
          </p:nvPr>
        </p:nvSpPr>
        <p:spPr/>
        <p:txBody>
          <a:bodyPr/>
          <a:lstStyle>
            <a:lvl1pPr>
              <a:defRPr/>
            </a:lvl1pPr>
          </a:lstStyle>
          <a:p>
            <a:pPr>
              <a:defRPr/>
            </a:pPr>
            <a:fld id="{B5EF4941-5F51-4A0E-94DD-E56117BF0347}" type="slidenum">
              <a:rPr lang="en-US"/>
              <a:pPr>
                <a:defRPr/>
              </a:pPr>
              <a:t>‹#›</a:t>
            </a:fld>
            <a:endParaRPr lang="en-US"/>
          </a:p>
        </p:txBody>
      </p:sp>
    </p:spTree>
    <p:extLst>
      <p:ext uri="{BB962C8B-B14F-4D97-AF65-F5344CB8AC3E}">
        <p14:creationId xmlns:p14="http://schemas.microsoft.com/office/powerpoint/2010/main" val="41178594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8"/>
          <p:cNvGrpSpPr>
            <a:grpSpLocks/>
          </p:cNvGrpSpPr>
          <p:nvPr/>
        </p:nvGrpSpPr>
        <p:grpSpPr bwMode="auto">
          <a:xfrm>
            <a:off x="8876109" y="0"/>
            <a:ext cx="85725" cy="6172200"/>
            <a:chOff x="7889136" y="0"/>
            <a:chExt cx="77359" cy="6172200"/>
          </a:xfrm>
        </p:grpSpPr>
        <p:sp>
          <p:nvSpPr>
            <p:cNvPr id="5" name="Rectangle 4"/>
            <p:cNvSpPr/>
            <p:nvPr/>
          </p:nvSpPr>
          <p:spPr>
            <a:xfrm rot="5400000">
              <a:off x="4835269" y="3053867"/>
              <a:ext cx="6172200" cy="64466"/>
            </a:xfrm>
            <a:prstGeom prst="rect">
              <a:avLst/>
            </a:prstGeom>
            <a:solidFill>
              <a:srgbClr val="9695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6" name="Rectangle 5"/>
            <p:cNvSpPr/>
            <p:nvPr/>
          </p:nvSpPr>
          <p:spPr>
            <a:xfrm rot="5400000">
              <a:off x="7692769" y="196367"/>
              <a:ext cx="457200" cy="64466"/>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cxnSp>
          <p:nvCxnSpPr>
            <p:cNvPr id="7" name="Straight Connector 6"/>
            <p:cNvCxnSpPr/>
            <p:nvPr/>
          </p:nvCxnSpPr>
          <p:spPr>
            <a:xfrm rot="5400000">
              <a:off x="7927816" y="418521"/>
              <a:ext cx="0" cy="77359"/>
            </a:xfrm>
            <a:prstGeom prst="line">
              <a:avLst/>
            </a:prstGeom>
            <a:ln w="28575">
              <a:solidFill>
                <a:schemeClr val="bg1"/>
              </a:solidFill>
              <a:miter lim="800000"/>
            </a:ln>
          </p:spPr>
          <p:style>
            <a:lnRef idx="1">
              <a:schemeClr val="accent1"/>
            </a:lnRef>
            <a:fillRef idx="0">
              <a:schemeClr val="accent1"/>
            </a:fillRef>
            <a:effectRef idx="0">
              <a:schemeClr val="accent1"/>
            </a:effectRef>
            <a:fontRef idx="minor">
              <a:schemeClr val="tx1"/>
            </a:fontRef>
          </p:style>
        </p:cxnSp>
        <p:grpSp>
          <p:nvGrpSpPr>
            <p:cNvPr id="8" name="Group 12"/>
            <p:cNvGrpSpPr>
              <a:grpSpLocks/>
            </p:cNvGrpSpPr>
            <p:nvPr/>
          </p:nvGrpSpPr>
          <p:grpSpPr bwMode="auto">
            <a:xfrm rot="5400000">
              <a:off x="7699218" y="189923"/>
              <a:ext cx="457200" cy="77354"/>
              <a:chOff x="0" y="139700"/>
              <a:chExt cx="457200" cy="77354"/>
            </a:xfrm>
          </p:grpSpPr>
          <p:sp>
            <p:nvSpPr>
              <p:cNvPr id="9" name="Rectangle 8"/>
              <p:cNvSpPr/>
              <p:nvPr/>
            </p:nvSpPr>
            <p:spPr>
              <a:xfrm>
                <a:off x="1" y="152593"/>
                <a:ext cx="457200" cy="64466"/>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cxnSp>
            <p:nvCxnSpPr>
              <p:cNvPr id="10" name="Straight Connector 9"/>
              <p:cNvCxnSpPr/>
              <p:nvPr/>
            </p:nvCxnSpPr>
            <p:spPr>
              <a:xfrm>
                <a:off x="457201" y="139699"/>
                <a:ext cx="0" cy="77359"/>
              </a:xfrm>
              <a:prstGeom prst="line">
                <a:avLst/>
              </a:prstGeom>
              <a:ln w="28575">
                <a:solidFill>
                  <a:schemeClr val="bg1"/>
                </a:solidFill>
                <a:miter lim="800000"/>
              </a:ln>
            </p:spPr>
            <p:style>
              <a:lnRef idx="1">
                <a:schemeClr val="accent1"/>
              </a:lnRef>
              <a:fillRef idx="0">
                <a:schemeClr val="accent1"/>
              </a:fillRef>
              <a:effectRef idx="0">
                <a:schemeClr val="accent1"/>
              </a:effectRef>
              <a:fontRef idx="minor">
                <a:schemeClr val="tx1"/>
              </a:fontRef>
            </p:style>
          </p:cxnSp>
        </p:grpSp>
      </p:grpSp>
      <p:sp>
        <p:nvSpPr>
          <p:cNvPr id="2" name="Vertical Title 1"/>
          <p:cNvSpPr>
            <a:spLocks noGrp="1"/>
          </p:cNvSpPr>
          <p:nvPr>
            <p:ph type="title" orient="vert"/>
          </p:nvPr>
        </p:nvSpPr>
        <p:spPr>
          <a:xfrm>
            <a:off x="9001125" y="457201"/>
            <a:ext cx="771525" cy="571499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14350" y="457201"/>
            <a:ext cx="8058150" cy="571499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Date Placeholder 6"/>
          <p:cNvSpPr>
            <a:spLocks noGrp="1"/>
          </p:cNvSpPr>
          <p:nvPr>
            <p:ph type="dt" sz="half" idx="10"/>
          </p:nvPr>
        </p:nvSpPr>
        <p:spPr/>
        <p:txBody>
          <a:bodyPr/>
          <a:lstStyle>
            <a:lvl1pPr>
              <a:defRPr>
                <a:solidFill>
                  <a:prstClr val="black"/>
                </a:solidFill>
              </a:defRPr>
            </a:lvl1pPr>
          </a:lstStyle>
          <a:p>
            <a:pPr>
              <a:defRPr/>
            </a:pPr>
            <a:fld id="{A7B499F0-7295-44DB-960D-276BD8CAF7C5}" type="datetime1">
              <a:rPr lang="en-US"/>
              <a:pPr>
                <a:defRPr/>
              </a:pPr>
              <a:t>9/28/2023</a:t>
            </a:fld>
            <a:endParaRPr lang="en-US" dirty="0"/>
          </a:p>
        </p:txBody>
      </p:sp>
      <p:sp>
        <p:nvSpPr>
          <p:cNvPr id="12" name="Footer Placeholder 7"/>
          <p:cNvSpPr>
            <a:spLocks noGrp="1"/>
          </p:cNvSpPr>
          <p:nvPr>
            <p:ph type="ftr" sz="quarter" idx="11"/>
          </p:nvPr>
        </p:nvSpPr>
        <p:spPr/>
        <p:txBody>
          <a:bodyPr/>
          <a:lstStyle>
            <a:lvl1pPr>
              <a:defRPr>
                <a:solidFill>
                  <a:prstClr val="black"/>
                </a:solidFill>
              </a:defRPr>
            </a:lvl1pPr>
          </a:lstStyle>
          <a:p>
            <a:pPr>
              <a:defRPr/>
            </a:pPr>
            <a:r>
              <a:rPr lang="en-US"/>
              <a:t>Author’s Last Name, Conference Name, Year, Presentation #</a:t>
            </a:r>
            <a:endParaRPr lang="en-US" dirty="0"/>
          </a:p>
        </p:txBody>
      </p:sp>
      <p:sp>
        <p:nvSpPr>
          <p:cNvPr id="13" name="Slide Number Placeholder 8"/>
          <p:cNvSpPr>
            <a:spLocks noGrp="1"/>
          </p:cNvSpPr>
          <p:nvPr>
            <p:ph type="sldNum" sz="quarter" idx="12"/>
          </p:nvPr>
        </p:nvSpPr>
        <p:spPr/>
        <p:txBody>
          <a:bodyPr/>
          <a:lstStyle>
            <a:lvl1pPr>
              <a:defRPr/>
            </a:lvl1pPr>
          </a:lstStyle>
          <a:p>
            <a:pPr>
              <a:defRPr/>
            </a:pPr>
            <a:fld id="{726B8B00-6802-407B-9B91-935437A9CBD4}" type="slidenum">
              <a:rPr lang="en-US"/>
              <a:pPr>
                <a:defRPr/>
              </a:pPr>
              <a:t>‹#›</a:t>
            </a:fld>
            <a:endParaRPr lang="en-US"/>
          </a:p>
        </p:txBody>
      </p:sp>
    </p:spTree>
    <p:extLst>
      <p:ext uri="{BB962C8B-B14F-4D97-AF65-F5344CB8AC3E}">
        <p14:creationId xmlns:p14="http://schemas.microsoft.com/office/powerpoint/2010/main" val="25007736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771525" y="649763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endParaRPr lang="en-US" sz="1200" dirty="0">
              <a:solidFill>
                <a:srgbClr val="000000"/>
              </a:solidFill>
            </a:endParaRPr>
          </a:p>
        </p:txBody>
      </p:sp>
      <p:sp>
        <p:nvSpPr>
          <p:cNvPr id="6" name="TextBox 5"/>
          <p:cNvSpPr txBox="1">
            <a:spLocks noChangeArrowheads="1"/>
          </p:cNvSpPr>
          <p:nvPr userDrawn="1"/>
        </p:nvSpPr>
        <p:spPr bwMode="auto">
          <a:xfrm>
            <a:off x="771525" y="650398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endParaRPr lang="en-US" sz="1200" dirty="0">
              <a:solidFill>
                <a:srgbClr val="000000"/>
              </a:solidFill>
            </a:endParaRPr>
          </a:p>
        </p:txBody>
      </p:sp>
      <p:sp>
        <p:nvSpPr>
          <p:cNvPr id="2" name="Title 1"/>
          <p:cNvSpPr>
            <a:spLocks noGrp="1"/>
          </p:cNvSpPr>
          <p:nvPr>
            <p:ph type="title"/>
          </p:nvPr>
        </p:nvSpPr>
        <p:spPr>
          <a:xfrm>
            <a:off x="771525" y="167640"/>
            <a:ext cx="8915400" cy="787400"/>
          </a:xfrm>
        </p:spPr>
        <p:txBody>
          <a:bodyPr/>
          <a:lstStyle/>
          <a:p>
            <a:r>
              <a:rPr lang="en-US" dirty="0"/>
              <a:t>Click to edit Master title style</a:t>
            </a:r>
          </a:p>
        </p:txBody>
      </p:sp>
      <p:sp>
        <p:nvSpPr>
          <p:cNvPr id="3" name="Content Placeholder 2"/>
          <p:cNvSpPr>
            <a:spLocks noGrp="1"/>
          </p:cNvSpPr>
          <p:nvPr>
            <p:ph idx="1"/>
          </p:nvPr>
        </p:nvSpPr>
        <p:spPr/>
        <p:txBody>
          <a:bodyPr/>
          <a:lstStyle>
            <a:lvl1pPr>
              <a:spcBef>
                <a:spcPts val="900"/>
              </a:spcBef>
              <a:defRPr/>
            </a:lvl1pPr>
            <a:lvl2pPr>
              <a:spcBef>
                <a:spcPts val="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685800" y="6248400"/>
            <a:ext cx="9017199" cy="457200"/>
          </a:xfrm>
        </p:spPr>
        <p:txBody>
          <a:bodyPr anchor="b"/>
          <a:lstStyle>
            <a:lvl1pPr marL="0" indent="0">
              <a:spcBef>
                <a:spcPts val="0"/>
              </a:spcBef>
              <a:buNone/>
              <a:defRPr sz="1200"/>
            </a:lvl1pPr>
          </a:lstStyle>
          <a:p>
            <a:pPr lvl="0"/>
            <a:r>
              <a:rPr lang="en-US" dirty="0"/>
              <a:t>Click to edit Master text styles</a:t>
            </a:r>
          </a:p>
        </p:txBody>
      </p:sp>
      <p:sp>
        <p:nvSpPr>
          <p:cNvPr id="8" name="Slide Number Placeholder 1"/>
          <p:cNvSpPr>
            <a:spLocks noGrp="1"/>
          </p:cNvSpPr>
          <p:nvPr>
            <p:ph type="sldNum" sz="quarter" idx="12"/>
          </p:nvPr>
        </p:nvSpPr>
        <p:spPr>
          <a:xfrm>
            <a:off x="7858125" y="6492876"/>
            <a:ext cx="2400300" cy="365125"/>
          </a:xfrm>
        </p:spPr>
        <p:txBody>
          <a:bodyPr/>
          <a:lstStyle>
            <a:lvl1pPr>
              <a:defRPr b="0" baseline="0"/>
            </a:lvl1pPr>
          </a:lstStyle>
          <a:p>
            <a:pPr>
              <a:defRPr/>
            </a:pPr>
            <a:fld id="{71AAFA36-DFD1-4589-9F52-F13D8CBF27F0}" type="slidenum">
              <a:rPr lang="en-US" altLang="en-US"/>
              <a:pPr>
                <a:defRPr/>
              </a:pPr>
              <a:t>‹#›</a:t>
            </a:fld>
            <a:endParaRPr lang="en-US" altLang="en-US" dirty="0"/>
          </a:p>
        </p:txBody>
      </p:sp>
    </p:spTree>
    <p:extLst>
      <p:ext uri="{BB962C8B-B14F-4D97-AF65-F5344CB8AC3E}">
        <p14:creationId xmlns:p14="http://schemas.microsoft.com/office/powerpoint/2010/main" val="595638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5"/>
          <p:cNvSpPr>
            <a:spLocks noGrp="1"/>
          </p:cNvSpPr>
          <p:nvPr>
            <p:ph type="body" sz="quarter" idx="11"/>
          </p:nvPr>
        </p:nvSpPr>
        <p:spPr>
          <a:xfrm>
            <a:off x="171450" y="6248400"/>
            <a:ext cx="4972050" cy="457200"/>
          </a:xfrm>
        </p:spPr>
        <p:txBody>
          <a:bodyPr anchor="b"/>
          <a:lstStyle>
            <a:lvl1pPr marL="0" indent="0">
              <a:spcBef>
                <a:spcPts val="0"/>
              </a:spcBef>
              <a:buNone/>
              <a:defRPr sz="1200"/>
            </a:lvl1pPr>
          </a:lstStyle>
          <a:p>
            <a:pPr lvl="0"/>
            <a:r>
              <a:rPr lang="en-US" dirty="0"/>
              <a:t>Click to edit Master text styles</a:t>
            </a:r>
          </a:p>
        </p:txBody>
      </p:sp>
      <p:sp>
        <p:nvSpPr>
          <p:cNvPr id="4" name="Rectangle 26"/>
          <p:cNvSpPr>
            <a:spLocks noGrp="1" noChangeArrowheads="1"/>
          </p:cNvSpPr>
          <p:nvPr>
            <p:ph type="sldNum" sz="quarter" idx="12"/>
          </p:nvPr>
        </p:nvSpPr>
        <p:spPr>
          <a:xfrm>
            <a:off x="7858125" y="6492876"/>
            <a:ext cx="2400300" cy="365125"/>
          </a:xfrm>
        </p:spPr>
        <p:txBody>
          <a:bodyPr/>
          <a:lstStyle>
            <a:lvl1pPr>
              <a:spcAft>
                <a:spcPct val="25000"/>
              </a:spcAft>
              <a:buFontTx/>
              <a:buChar char="•"/>
              <a:defRPr baseline="-25000"/>
            </a:lvl1pPr>
          </a:lstStyle>
          <a:p>
            <a:pPr>
              <a:defRPr/>
            </a:pPr>
            <a:fld id="{2BFA7347-316B-493A-AF7B-AE4B2B7E7ACC}" type="slidenum">
              <a:rPr lang="en-US"/>
              <a:pPr>
                <a:defRPr/>
              </a:pPr>
              <a:t>‹#›</a:t>
            </a:fld>
            <a:endParaRPr lang="en-US" dirty="0"/>
          </a:p>
        </p:txBody>
      </p:sp>
    </p:spTree>
    <p:extLst>
      <p:ext uri="{BB962C8B-B14F-4D97-AF65-F5344CB8AC3E}">
        <p14:creationId xmlns:p14="http://schemas.microsoft.com/office/powerpoint/2010/main" val="28212101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71525" y="142240"/>
            <a:ext cx="8915400" cy="787400"/>
          </a:xfrm>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buClr>
                <a:srgbClr val="990000"/>
              </a:buClr>
              <a:buFont typeface="Symbol" pitchFamily="18" charset="2"/>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685800" y="6248400"/>
            <a:ext cx="4972050" cy="457200"/>
          </a:xfrm>
        </p:spPr>
        <p:txBody>
          <a:bodyPr anchor="b"/>
          <a:lstStyle>
            <a:lvl1pPr marL="0" indent="0">
              <a:spcBef>
                <a:spcPts val="0"/>
              </a:spcBef>
              <a:buNone/>
              <a:defRPr sz="1200"/>
            </a:lvl1pPr>
          </a:lstStyle>
          <a:p>
            <a:pPr lvl="0"/>
            <a:r>
              <a:rPr lang="en-US" dirty="0"/>
              <a:t>Click to edit Master text styles</a:t>
            </a:r>
          </a:p>
        </p:txBody>
      </p:sp>
      <p:sp>
        <p:nvSpPr>
          <p:cNvPr id="5" name="Slide Number Placeholder 1"/>
          <p:cNvSpPr>
            <a:spLocks noGrp="1"/>
          </p:cNvSpPr>
          <p:nvPr>
            <p:ph type="sldNum" sz="quarter" idx="12"/>
          </p:nvPr>
        </p:nvSpPr>
        <p:spPr>
          <a:xfrm>
            <a:off x="7858125" y="6492876"/>
            <a:ext cx="2400300" cy="365125"/>
          </a:xfrm>
        </p:spPr>
        <p:txBody>
          <a:bodyPr/>
          <a:lstStyle>
            <a:lvl1pPr algn="r" fontAlgn="auto">
              <a:spcBef>
                <a:spcPts val="0"/>
              </a:spcBef>
              <a:spcAft>
                <a:spcPts val="0"/>
              </a:spcAft>
              <a:defRPr sz="1200" b="0" baseline="0">
                <a:solidFill>
                  <a:srgbClr val="000000">
                    <a:tint val="75000"/>
                  </a:srgbClr>
                </a:solidFill>
                <a:latin typeface="Arial" charset="0"/>
                <a:cs typeface="+mn-cs"/>
              </a:defRPr>
            </a:lvl1pPr>
          </a:lstStyle>
          <a:p>
            <a:pPr>
              <a:defRPr/>
            </a:pPr>
            <a:fld id="{38A1067C-AD74-4A55-BBF3-DE358A88BCC2}" type="slidenum">
              <a:rPr lang="en-US"/>
              <a:pPr>
                <a:defRPr/>
              </a:pPr>
              <a:t>‹#›</a:t>
            </a:fld>
            <a:endParaRPr lang="en-US" dirty="0"/>
          </a:p>
        </p:txBody>
      </p:sp>
    </p:spTree>
    <p:extLst>
      <p:ext uri="{BB962C8B-B14F-4D97-AF65-F5344CB8AC3E}">
        <p14:creationId xmlns:p14="http://schemas.microsoft.com/office/powerpoint/2010/main" val="29452819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tudy Name, Title, Subtitle and Content">
    <p:spTree>
      <p:nvGrpSpPr>
        <p:cNvPr id="1" name=""/>
        <p:cNvGrpSpPr/>
        <p:nvPr/>
      </p:nvGrpSpPr>
      <p:grpSpPr>
        <a:xfrm>
          <a:off x="0" y="0"/>
          <a:ext cx="0" cy="0"/>
          <a:chOff x="0" y="0"/>
          <a:chExt cx="0" cy="0"/>
        </a:xfrm>
      </p:grpSpPr>
      <p:sp>
        <p:nvSpPr>
          <p:cNvPr id="12" name="Text Placeholder 4"/>
          <p:cNvSpPr>
            <a:spLocks noGrp="1"/>
          </p:cNvSpPr>
          <p:nvPr>
            <p:ph type="body" sz="quarter" idx="17"/>
          </p:nvPr>
        </p:nvSpPr>
        <p:spPr>
          <a:xfrm>
            <a:off x="514350" y="154546"/>
            <a:ext cx="9258300" cy="302654"/>
          </a:xfrm>
        </p:spPr>
        <p:txBody>
          <a:bodyPr anchor="b"/>
          <a:lstStyle>
            <a:lvl1pPr marL="0" indent="0">
              <a:spcBef>
                <a:spcPts val="0"/>
              </a:spcBef>
              <a:buNone/>
              <a:defRPr sz="16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14350" y="1828800"/>
            <a:ext cx="9258300" cy="4191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3"/>
          </p:nvPr>
        </p:nvSpPr>
        <p:spPr>
          <a:xfrm>
            <a:off x="514350" y="1371600"/>
            <a:ext cx="9258300" cy="304800"/>
          </a:xfrm>
        </p:spPr>
        <p:txBody>
          <a:bodyPr/>
          <a:lstStyle>
            <a:lvl1pPr marL="0" indent="0">
              <a:lnSpc>
                <a:spcPct val="90000"/>
              </a:lnSpc>
              <a:spcBef>
                <a:spcPts val="0"/>
              </a:spcBef>
              <a:buNone/>
              <a:defRPr sz="2000">
                <a:solidFill>
                  <a:schemeClr val="bg2">
                    <a:lumMod val="50000"/>
                  </a:schemeClr>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a:t>Click to edit Master text styles</a:t>
            </a:r>
          </a:p>
        </p:txBody>
      </p:sp>
      <p:sp>
        <p:nvSpPr>
          <p:cNvPr id="6" name="Date Placeholder 6"/>
          <p:cNvSpPr>
            <a:spLocks noGrp="1"/>
          </p:cNvSpPr>
          <p:nvPr>
            <p:ph type="dt" sz="half" idx="18"/>
          </p:nvPr>
        </p:nvSpPr>
        <p:spPr/>
        <p:txBody>
          <a:bodyPr/>
          <a:lstStyle>
            <a:lvl1pPr>
              <a:defRPr>
                <a:solidFill>
                  <a:prstClr val="black"/>
                </a:solidFill>
              </a:defRPr>
            </a:lvl1pPr>
          </a:lstStyle>
          <a:p>
            <a:pPr>
              <a:defRPr/>
            </a:pPr>
            <a:fld id="{E76B27D3-16AB-415F-9A78-F12BFD90219C}" type="datetime1">
              <a:rPr lang="en-US"/>
              <a:pPr>
                <a:defRPr/>
              </a:pPr>
              <a:t>9/28/2023</a:t>
            </a:fld>
            <a:endParaRPr lang="en-US" dirty="0"/>
          </a:p>
        </p:txBody>
      </p:sp>
      <p:sp>
        <p:nvSpPr>
          <p:cNvPr id="7" name="Footer Placeholder 7"/>
          <p:cNvSpPr>
            <a:spLocks noGrp="1"/>
          </p:cNvSpPr>
          <p:nvPr>
            <p:ph type="ftr" sz="quarter" idx="19"/>
          </p:nvPr>
        </p:nvSpPr>
        <p:spPr/>
        <p:txBody>
          <a:bodyPr/>
          <a:lstStyle>
            <a:lvl1pPr>
              <a:defRPr>
                <a:solidFill>
                  <a:prstClr val="black"/>
                </a:solidFill>
              </a:defRPr>
            </a:lvl1pPr>
          </a:lstStyle>
          <a:p>
            <a:pPr>
              <a:defRPr/>
            </a:pPr>
            <a:r>
              <a:rPr lang="en-US"/>
              <a:t>Author’s Last Name, Conference Name, Year, Presentation #</a:t>
            </a:r>
          </a:p>
        </p:txBody>
      </p:sp>
    </p:spTree>
    <p:extLst>
      <p:ext uri="{BB962C8B-B14F-4D97-AF65-F5344CB8AC3E}">
        <p14:creationId xmlns:p14="http://schemas.microsoft.com/office/powerpoint/2010/main" val="2493601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Bottom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6620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60734" y="147638"/>
            <a:ext cx="9772650" cy="1143000"/>
          </a:xfrm>
        </p:spPr>
        <p:txBody>
          <a:bodyPr/>
          <a:lstStyle/>
          <a:p>
            <a:r>
              <a:rPr lang="en-US"/>
              <a:t>Click to edit Master title style</a:t>
            </a:r>
          </a:p>
        </p:txBody>
      </p:sp>
      <p:sp>
        <p:nvSpPr>
          <p:cNvPr id="3" name="Text Placeholder 5"/>
          <p:cNvSpPr>
            <a:spLocks noGrp="1"/>
          </p:cNvSpPr>
          <p:nvPr>
            <p:ph type="body" sz="quarter" idx="10"/>
          </p:nvPr>
        </p:nvSpPr>
        <p:spPr>
          <a:xfrm>
            <a:off x="160734" y="6426201"/>
            <a:ext cx="8629650" cy="381000"/>
          </a:xfrm>
        </p:spPr>
        <p:txBody>
          <a:bodyPr anchor="b"/>
          <a:lstStyle>
            <a:lvl1pPr marL="0" indent="0">
              <a:lnSpc>
                <a:spcPct val="100000"/>
              </a:lnSpc>
              <a:spcBef>
                <a:spcPts val="0"/>
              </a:spcBef>
              <a:spcAft>
                <a:spcPts val="0"/>
              </a:spcAft>
              <a:buNone/>
              <a:defRPr sz="1400"/>
            </a:lvl1pPr>
          </a:lstStyle>
          <a:p>
            <a:pPr lvl="0"/>
            <a:r>
              <a:rPr lang="en-US"/>
              <a:t>Click to edit Master text styles</a:t>
            </a:r>
          </a:p>
        </p:txBody>
      </p:sp>
    </p:spTree>
    <p:extLst>
      <p:ext uri="{BB962C8B-B14F-4D97-AF65-F5344CB8AC3E}">
        <p14:creationId xmlns:p14="http://schemas.microsoft.com/office/powerpoint/2010/main" val="22835465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buClr>
                <a:srgbClr val="990000"/>
              </a:buClr>
              <a:buFont typeface="Symbol" pitchFamily="18" charset="2"/>
              <a:buChar cha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32548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BF5FE29-A249-4161-9396-03C63B9101A9}" type="slidenum">
              <a:rPr lang="el-GR"/>
              <a:pPr>
                <a:defRPr/>
              </a:pPr>
              <a:t>‹#›</a:t>
            </a:fld>
            <a:endParaRPr lang="el-GR"/>
          </a:p>
        </p:txBody>
      </p:sp>
    </p:spTree>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3" name="Title 1"/>
          <p:cNvSpPr>
            <a:spLocks noGrp="1"/>
          </p:cNvSpPr>
          <p:nvPr>
            <p:ph type="title"/>
          </p:nvPr>
        </p:nvSpPr>
        <p:spPr>
          <a:xfrm>
            <a:off x="771525" y="229296"/>
            <a:ext cx="8915400" cy="787400"/>
          </a:xfrm>
        </p:spPr>
        <p:txBody>
          <a:bodyPr/>
          <a:lstStyle>
            <a:lvl1pPr>
              <a:defRPr sz="2800"/>
            </a:lvl1pPr>
          </a:lstStyle>
          <a:p>
            <a:r>
              <a:rPr lang="en-US" dirty="0"/>
              <a:t>Click to edit Master title style</a:t>
            </a:r>
          </a:p>
        </p:txBody>
      </p:sp>
      <p:sp>
        <p:nvSpPr>
          <p:cNvPr id="4" name="Content Placeholder 2"/>
          <p:cNvSpPr>
            <a:spLocks noGrp="1"/>
          </p:cNvSpPr>
          <p:nvPr>
            <p:ph idx="1"/>
          </p:nvPr>
        </p:nvSpPr>
        <p:spPr>
          <a:xfrm>
            <a:off x="771525" y="1491045"/>
            <a:ext cx="8665369"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5"/>
          <p:cNvSpPr>
            <a:spLocks noGrp="1"/>
          </p:cNvSpPr>
          <p:nvPr>
            <p:ph type="body" sz="quarter" idx="10"/>
          </p:nvPr>
        </p:nvSpPr>
        <p:spPr>
          <a:xfrm>
            <a:off x="771525" y="6426921"/>
            <a:ext cx="8629650" cy="381000"/>
          </a:xfrm>
        </p:spPr>
        <p:txBody>
          <a:bodyPr anchor="b"/>
          <a:lstStyle>
            <a:lvl1pPr marL="0" indent="0">
              <a:lnSpc>
                <a:spcPct val="100000"/>
              </a:lnSpc>
              <a:spcBef>
                <a:spcPts val="0"/>
              </a:spcBef>
              <a:spcAft>
                <a:spcPts val="0"/>
              </a:spcAft>
              <a:buNone/>
              <a:defRPr sz="1200"/>
            </a:lvl1pPr>
          </a:lstStyle>
          <a:p>
            <a:pPr lvl="0"/>
            <a:r>
              <a:rPr lang="en-US"/>
              <a:t>Click to edit Master text styles</a:t>
            </a:r>
          </a:p>
        </p:txBody>
      </p:sp>
      <p:sp>
        <p:nvSpPr>
          <p:cNvPr id="6" name="Rectangle 26"/>
          <p:cNvSpPr>
            <a:spLocks noGrp="1" noChangeArrowheads="1"/>
          </p:cNvSpPr>
          <p:nvPr>
            <p:ph type="sldNum" sz="quarter" idx="11"/>
          </p:nvPr>
        </p:nvSpPr>
        <p:spPr>
          <a:xfrm>
            <a:off x="9686926" y="6424614"/>
            <a:ext cx="575072" cy="382587"/>
          </a:xfrm>
        </p:spPr>
        <p:txBody>
          <a:bodyPr/>
          <a:lstStyle>
            <a:lvl1pPr algn="ctr">
              <a:defRPr>
                <a:ea typeface="MS PGothic" pitchFamily="34" charset="-128"/>
                <a:cs typeface="+mn-cs"/>
              </a:defRPr>
            </a:lvl1pPr>
          </a:lstStyle>
          <a:p>
            <a:pPr>
              <a:defRPr/>
            </a:pPr>
            <a:fld id="{6B9F3230-C917-4D91-877C-B93505B031C2}" type="slidenum">
              <a:rPr lang="en-US"/>
              <a:pPr>
                <a:defRPr/>
              </a:pPr>
              <a:t>‹#›</a:t>
            </a:fld>
            <a:endParaRPr lang="en-US" dirty="0"/>
          </a:p>
        </p:txBody>
      </p:sp>
    </p:spTree>
    <p:extLst>
      <p:ext uri="{BB962C8B-B14F-4D97-AF65-F5344CB8AC3E}">
        <p14:creationId xmlns:p14="http://schemas.microsoft.com/office/powerpoint/2010/main" val="19942104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p:nvPr>
        </p:nvSpPr>
        <p:spPr>
          <a:xfrm>
            <a:off x="771525" y="229296"/>
            <a:ext cx="8915400" cy="787400"/>
          </a:xfrm>
        </p:spPr>
        <p:txBody>
          <a:bodyPr/>
          <a:lstStyle>
            <a:lvl1pPr>
              <a:defRPr sz="2800"/>
            </a:lvl1pPr>
          </a:lstStyle>
          <a:p>
            <a:r>
              <a:rPr lang="en-US" dirty="0"/>
              <a:t>Click to edit Master title style</a:t>
            </a:r>
          </a:p>
        </p:txBody>
      </p:sp>
      <p:sp>
        <p:nvSpPr>
          <p:cNvPr id="4" name="Content Placeholder 2"/>
          <p:cNvSpPr>
            <a:spLocks noGrp="1"/>
          </p:cNvSpPr>
          <p:nvPr>
            <p:ph idx="1"/>
          </p:nvPr>
        </p:nvSpPr>
        <p:spPr>
          <a:xfrm>
            <a:off x="771525" y="1491045"/>
            <a:ext cx="8665369"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5"/>
          <p:cNvSpPr>
            <a:spLocks noGrp="1"/>
          </p:cNvSpPr>
          <p:nvPr>
            <p:ph type="body" sz="quarter" idx="10"/>
          </p:nvPr>
        </p:nvSpPr>
        <p:spPr>
          <a:xfrm>
            <a:off x="771525" y="6426921"/>
            <a:ext cx="8629650" cy="381000"/>
          </a:xfrm>
        </p:spPr>
        <p:txBody>
          <a:bodyPr anchor="b"/>
          <a:lstStyle>
            <a:lvl1pPr marL="0" indent="0">
              <a:lnSpc>
                <a:spcPct val="100000"/>
              </a:lnSpc>
              <a:spcBef>
                <a:spcPts val="0"/>
              </a:spcBef>
              <a:spcAft>
                <a:spcPts val="0"/>
              </a:spcAft>
              <a:buNone/>
              <a:defRPr sz="1200"/>
            </a:lvl1pPr>
          </a:lstStyle>
          <a:p>
            <a:pPr lvl="0"/>
            <a:r>
              <a:rPr lang="en-US"/>
              <a:t>Click to edit Master text styles</a:t>
            </a:r>
          </a:p>
        </p:txBody>
      </p:sp>
      <p:sp>
        <p:nvSpPr>
          <p:cNvPr id="6" name="Rectangle 26"/>
          <p:cNvSpPr>
            <a:spLocks noGrp="1" noChangeArrowheads="1"/>
          </p:cNvSpPr>
          <p:nvPr>
            <p:ph type="sldNum" sz="quarter" idx="11"/>
          </p:nvPr>
        </p:nvSpPr>
        <p:spPr>
          <a:xfrm>
            <a:off x="9686926" y="6424614"/>
            <a:ext cx="575072" cy="382587"/>
          </a:xfrm>
        </p:spPr>
        <p:txBody>
          <a:bodyPr/>
          <a:lstStyle>
            <a:lvl1pPr algn="ctr">
              <a:defRPr>
                <a:latin typeface="Arial" pitchFamily="34" charset="0"/>
                <a:ea typeface="MS PGothic" pitchFamily="34" charset="-128"/>
                <a:cs typeface="+mn-cs"/>
              </a:defRPr>
            </a:lvl1pPr>
          </a:lstStyle>
          <a:p>
            <a:pPr>
              <a:defRPr/>
            </a:pPr>
            <a:fld id="{80913DD3-E4E5-459C-B60A-C1D83F8CCAC9}" type="slidenum">
              <a:rPr lang="en-US"/>
              <a:pPr>
                <a:defRPr/>
              </a:pPr>
              <a:t>‹#›</a:t>
            </a:fld>
            <a:endParaRPr lang="en-US" dirty="0"/>
          </a:p>
        </p:txBody>
      </p:sp>
    </p:spTree>
    <p:extLst>
      <p:ext uri="{BB962C8B-B14F-4D97-AF65-F5344CB8AC3E}">
        <p14:creationId xmlns:p14="http://schemas.microsoft.com/office/powerpoint/2010/main" val="2741265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342900" indent="-342900">
              <a:buClr>
                <a:srgbClr val="990000"/>
              </a:buClr>
              <a:buFont typeface="Symbol" pitchFamily="18" charset="2"/>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171450" y="6248400"/>
            <a:ext cx="4972050" cy="457200"/>
          </a:xfrm>
        </p:spPr>
        <p:txBody>
          <a:bodyPr anchor="b"/>
          <a:lstStyle>
            <a:lvl1pPr marL="0" indent="0">
              <a:spcBef>
                <a:spcPts val="0"/>
              </a:spcBef>
              <a:buNone/>
              <a:defRPr sz="1200"/>
            </a:lvl1pPr>
          </a:lstStyle>
          <a:p>
            <a:pPr lvl="0"/>
            <a:r>
              <a:rPr lang="en-US" dirty="0"/>
              <a:t>Click to edit Master text styles</a:t>
            </a:r>
          </a:p>
        </p:txBody>
      </p:sp>
      <p:sp>
        <p:nvSpPr>
          <p:cNvPr id="5" name="Rectangle 26"/>
          <p:cNvSpPr>
            <a:spLocks noGrp="1" noChangeArrowheads="1"/>
          </p:cNvSpPr>
          <p:nvPr>
            <p:ph type="sldNum" sz="quarter" idx="12"/>
          </p:nvPr>
        </p:nvSpPr>
        <p:spPr>
          <a:xfrm>
            <a:off x="7858125" y="6492876"/>
            <a:ext cx="2400300" cy="365125"/>
          </a:xfrm>
        </p:spPr>
        <p:txBody>
          <a:bodyPr/>
          <a:lstStyle>
            <a:lvl1pPr>
              <a:defRPr>
                <a:solidFill>
                  <a:srgbClr val="000000"/>
                </a:solidFill>
                <a:latin typeface="Arial" pitchFamily="34" charset="0"/>
                <a:cs typeface="+mn-cs"/>
              </a:defRPr>
            </a:lvl1pPr>
          </a:lstStyle>
          <a:p>
            <a:pPr>
              <a:defRPr/>
            </a:pPr>
            <a:fld id="{0A47E79E-A3E2-4032-8A68-F6B5D1084E05}" type="slidenum">
              <a:rPr lang="en-US"/>
              <a:pPr>
                <a:defRPr/>
              </a:pPr>
              <a:t>‹#›</a:t>
            </a:fld>
            <a:endParaRPr lang="en-US" dirty="0"/>
          </a:p>
        </p:txBody>
      </p:sp>
    </p:spTree>
    <p:extLst>
      <p:ext uri="{BB962C8B-B14F-4D97-AF65-F5344CB8AC3E}">
        <p14:creationId xmlns:p14="http://schemas.microsoft.com/office/powerpoint/2010/main" val="35839684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TextBox 4"/>
          <p:cNvSpPr txBox="1">
            <a:spLocks noChangeArrowheads="1"/>
          </p:cNvSpPr>
          <p:nvPr userDrawn="1"/>
        </p:nvSpPr>
        <p:spPr bwMode="auto">
          <a:xfrm>
            <a:off x="771525" y="649763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endParaRPr lang="en-US" sz="1200">
              <a:solidFill>
                <a:srgbClr val="000000"/>
              </a:solidFill>
            </a:endParaRPr>
          </a:p>
        </p:txBody>
      </p:sp>
      <p:sp>
        <p:nvSpPr>
          <p:cNvPr id="6" name="TextBox 5"/>
          <p:cNvSpPr txBox="1">
            <a:spLocks noChangeArrowheads="1"/>
          </p:cNvSpPr>
          <p:nvPr userDrawn="1"/>
        </p:nvSpPr>
        <p:spPr bwMode="auto">
          <a:xfrm>
            <a:off x="771525" y="6503988"/>
            <a:ext cx="7715250" cy="277812"/>
          </a:xfrm>
          <a:prstGeom prst="rect">
            <a:avLst/>
          </a:prstGeom>
          <a:noFill/>
          <a:ln>
            <a:noFill/>
          </a:ln>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auto" hangingPunct="1">
              <a:spcBef>
                <a:spcPts val="0"/>
              </a:spcBef>
              <a:spcAft>
                <a:spcPts val="0"/>
              </a:spcAft>
              <a:defRPr/>
            </a:pPr>
            <a:endParaRPr lang="en-US" sz="1200">
              <a:solidFill>
                <a:srgbClr val="000000"/>
              </a:solidFill>
            </a:endParaRPr>
          </a:p>
        </p:txBody>
      </p:sp>
      <p:sp>
        <p:nvSpPr>
          <p:cNvPr id="2" name="Title 1"/>
          <p:cNvSpPr>
            <a:spLocks noGrp="1"/>
          </p:cNvSpPr>
          <p:nvPr>
            <p:ph type="title"/>
          </p:nvPr>
        </p:nvSpPr>
        <p:spPr>
          <a:xfrm>
            <a:off x="771525" y="167640"/>
            <a:ext cx="8915400" cy="787400"/>
          </a:xfrm>
        </p:spPr>
        <p:txBody>
          <a:bodyPr/>
          <a:lstStyle/>
          <a:p>
            <a:r>
              <a:rPr lang="en-US" dirty="0"/>
              <a:t>Click to edit Master title style</a:t>
            </a:r>
          </a:p>
        </p:txBody>
      </p:sp>
      <p:sp>
        <p:nvSpPr>
          <p:cNvPr id="3" name="Content Placeholder 2"/>
          <p:cNvSpPr>
            <a:spLocks noGrp="1"/>
          </p:cNvSpPr>
          <p:nvPr>
            <p:ph idx="1"/>
          </p:nvPr>
        </p:nvSpPr>
        <p:spPr/>
        <p:txBody>
          <a:bodyPr/>
          <a:lstStyle>
            <a:lvl1pPr>
              <a:spcBef>
                <a:spcPts val="900"/>
              </a:spcBef>
              <a:defRPr/>
            </a:lvl1pPr>
            <a:lvl2pPr>
              <a:spcBef>
                <a:spcPts val="0"/>
              </a:spcBef>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685800" y="6248400"/>
            <a:ext cx="9017199" cy="457200"/>
          </a:xfrm>
        </p:spPr>
        <p:txBody>
          <a:bodyPr anchor="b"/>
          <a:lstStyle>
            <a:lvl1pPr marL="0" indent="0">
              <a:spcBef>
                <a:spcPts val="0"/>
              </a:spcBef>
              <a:buNone/>
              <a:defRPr sz="1200"/>
            </a:lvl1pPr>
          </a:lstStyle>
          <a:p>
            <a:pPr lvl="0"/>
            <a:r>
              <a:rPr lang="en-US" dirty="0"/>
              <a:t>Click to edit Master text styles</a:t>
            </a:r>
          </a:p>
        </p:txBody>
      </p:sp>
      <p:sp>
        <p:nvSpPr>
          <p:cNvPr id="8" name="Slide Number Placeholder 1"/>
          <p:cNvSpPr>
            <a:spLocks noGrp="1"/>
          </p:cNvSpPr>
          <p:nvPr>
            <p:ph type="sldNum" sz="quarter" idx="12"/>
          </p:nvPr>
        </p:nvSpPr>
        <p:spPr>
          <a:xfrm>
            <a:off x="7858125" y="6492876"/>
            <a:ext cx="2400300" cy="365125"/>
          </a:xfrm>
        </p:spPr>
        <p:txBody>
          <a:bodyPr/>
          <a:lstStyle>
            <a:lvl1pPr algn="r" fontAlgn="auto">
              <a:spcBef>
                <a:spcPts val="0"/>
              </a:spcBef>
              <a:spcAft>
                <a:spcPts val="0"/>
              </a:spcAft>
              <a:defRPr sz="1200" b="0" baseline="0">
                <a:solidFill>
                  <a:srgbClr val="000000">
                    <a:tint val="75000"/>
                  </a:srgbClr>
                </a:solidFill>
              </a:defRPr>
            </a:lvl1pPr>
          </a:lstStyle>
          <a:p>
            <a:pPr>
              <a:defRPr/>
            </a:pPr>
            <a:fld id="{FF0F9D7A-6202-4D61-951E-2EB7BCC144B6}" type="slidenum">
              <a:rPr lang="en-US"/>
              <a:pPr>
                <a:defRPr/>
              </a:pPr>
              <a:t>‹#›</a:t>
            </a:fld>
            <a:endParaRPr lang="en-US" dirty="0"/>
          </a:p>
        </p:txBody>
      </p:sp>
    </p:spTree>
    <p:extLst>
      <p:ext uri="{BB962C8B-B14F-4D97-AF65-F5344CB8AC3E}">
        <p14:creationId xmlns:p14="http://schemas.microsoft.com/office/powerpoint/2010/main" val="28429426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Study Name,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Text Placeholder 4"/>
          <p:cNvSpPr>
            <a:spLocks noGrp="1"/>
          </p:cNvSpPr>
          <p:nvPr>
            <p:ph type="body" sz="quarter" idx="13"/>
          </p:nvPr>
        </p:nvSpPr>
        <p:spPr>
          <a:xfrm>
            <a:off x="514350" y="154546"/>
            <a:ext cx="9258300" cy="302654"/>
          </a:xfrm>
        </p:spPr>
        <p:txBody>
          <a:bodyPr anchor="b"/>
          <a:lstStyle>
            <a:lvl1pPr marL="0" indent="0">
              <a:spcBef>
                <a:spcPts val="0"/>
              </a:spcBef>
              <a:buNone/>
              <a:defRPr sz="1600">
                <a:solidFill>
                  <a:schemeClr val="tx1"/>
                </a:solidFill>
              </a:defRPr>
            </a:lvl1pPr>
            <a:lvl2pPr marL="0" indent="0">
              <a:spcBef>
                <a:spcPts val="0"/>
              </a:spcBef>
              <a:buNone/>
              <a:defRPr sz="1800"/>
            </a:lvl2pPr>
            <a:lvl3pPr marL="0" indent="0">
              <a:spcBef>
                <a:spcPts val="0"/>
              </a:spcBef>
              <a:buNone/>
              <a:defRPr sz="1800"/>
            </a:lvl3pPr>
            <a:lvl4pPr marL="0" indent="0">
              <a:spcBef>
                <a:spcPts val="0"/>
              </a:spcBef>
              <a:buNone/>
              <a:defRPr sz="1800"/>
            </a:lvl4pPr>
            <a:lvl5pPr marL="0" indent="0">
              <a:spcBef>
                <a:spcPts val="0"/>
              </a:spcBef>
              <a:buNone/>
              <a:defRPr sz="1800"/>
            </a:lvl5pPr>
            <a:lvl6pPr marL="0" indent="0">
              <a:spcBef>
                <a:spcPts val="0"/>
              </a:spcBef>
              <a:buNone/>
              <a:defRPr sz="1800"/>
            </a:lvl6pPr>
            <a:lvl7pPr marL="0" indent="0">
              <a:spcBef>
                <a:spcPts val="0"/>
              </a:spcBef>
              <a:buNone/>
              <a:defRPr sz="1800"/>
            </a:lvl7pPr>
            <a:lvl8pPr marL="0" indent="0">
              <a:spcBef>
                <a:spcPts val="0"/>
              </a:spcBef>
              <a:buNone/>
              <a:defRPr sz="1800"/>
            </a:lvl8pPr>
            <a:lvl9pPr marL="0" indent="0">
              <a:spcBef>
                <a:spcPts val="0"/>
              </a:spcBef>
              <a:buNone/>
              <a:defRPr sz="1800"/>
            </a:lvl9pPr>
          </a:lstStyle>
          <a:p>
            <a:pPr lvl="0"/>
            <a:r>
              <a:rPr lang="en-US"/>
              <a:t>Click to edit Master text styles</a:t>
            </a:r>
          </a:p>
        </p:txBody>
      </p:sp>
      <p:sp>
        <p:nvSpPr>
          <p:cNvPr id="4" name="Footer Placeholder 7"/>
          <p:cNvSpPr>
            <a:spLocks noGrp="1"/>
          </p:cNvSpPr>
          <p:nvPr>
            <p:ph type="ftr" sz="quarter" idx="14"/>
          </p:nvPr>
        </p:nvSpPr>
        <p:spPr/>
        <p:txBody>
          <a:bodyPr/>
          <a:lstStyle>
            <a:lvl1pPr>
              <a:defRPr>
                <a:solidFill>
                  <a:prstClr val="black"/>
                </a:solidFill>
              </a:defRPr>
            </a:lvl1pPr>
          </a:lstStyle>
          <a:p>
            <a:pPr>
              <a:defRPr/>
            </a:pPr>
            <a:endParaRPr lang="en-US"/>
          </a:p>
        </p:txBody>
      </p:sp>
    </p:spTree>
    <p:extLst>
      <p:ext uri="{BB962C8B-B14F-4D97-AF65-F5344CB8AC3E}">
        <p14:creationId xmlns:p14="http://schemas.microsoft.com/office/powerpoint/2010/main" val="22494276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0"/>
          </p:nvPr>
        </p:nvSpPr>
        <p:spPr>
          <a:xfrm>
            <a:off x="66678" y="6453338"/>
            <a:ext cx="5711428" cy="345395"/>
          </a:xfrm>
        </p:spPr>
        <p:txBody>
          <a:bodyPr anchor="b">
            <a:noAutofit/>
          </a:bodyPr>
          <a:lstStyle>
            <a:lvl1pPr marL="0" indent="0">
              <a:spcBef>
                <a:spcPts val="0"/>
              </a:spcBef>
              <a:buNone/>
              <a:defRPr sz="1000"/>
            </a:lvl1pPr>
          </a:lstStyle>
          <a:p>
            <a:pPr lvl="0"/>
            <a:endParaRPr lang="en-GB" dirty="0"/>
          </a:p>
        </p:txBody>
      </p:sp>
      <p:sp>
        <p:nvSpPr>
          <p:cNvPr id="9" name="Text Placeholder 7"/>
          <p:cNvSpPr>
            <a:spLocks noGrp="1"/>
          </p:cNvSpPr>
          <p:nvPr>
            <p:ph type="body" sz="quarter" idx="11"/>
          </p:nvPr>
        </p:nvSpPr>
        <p:spPr>
          <a:xfrm>
            <a:off x="4508895" y="6453338"/>
            <a:ext cx="5711428" cy="345395"/>
          </a:xfrm>
        </p:spPr>
        <p:txBody>
          <a:bodyPr anchor="b">
            <a:noAutofit/>
          </a:bodyPr>
          <a:lstStyle>
            <a:lvl1pPr marL="0" indent="0" algn="r">
              <a:spcBef>
                <a:spcPts val="0"/>
              </a:spcBef>
              <a:buNone/>
              <a:defRPr sz="1000"/>
            </a:lvl1pPr>
          </a:lstStyle>
          <a:p>
            <a:pPr lvl="0"/>
            <a:endParaRPr lang="en-GB" dirty="0"/>
          </a:p>
        </p:txBody>
      </p:sp>
    </p:spTree>
    <p:extLst>
      <p:ext uri="{BB962C8B-B14F-4D97-AF65-F5344CB8AC3E}">
        <p14:creationId xmlns:p14="http://schemas.microsoft.com/office/powerpoint/2010/main" val="1663735316"/>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Content Placeholder 2"/>
          <p:cNvSpPr>
            <a:spLocks noGrp="1"/>
          </p:cNvSpPr>
          <p:nvPr>
            <p:ph idx="1"/>
          </p:nvPr>
        </p:nvSpPr>
        <p:spPr>
          <a:xfrm>
            <a:off x="466131" y="1101725"/>
            <a:ext cx="9336881" cy="5105400"/>
          </a:xfrm>
        </p:spPr>
        <p:txBody>
          <a:bodyPr/>
          <a:lstStyle>
            <a:lvl1pPr marL="0" indent="0">
              <a:buClr>
                <a:srgbClr val="000000"/>
              </a:buClr>
              <a:defRPr>
                <a:solidFill>
                  <a:srgbClr val="000000"/>
                </a:solidFill>
              </a:defRPr>
            </a:lvl1pPr>
            <a:lvl2pPr>
              <a:buClr>
                <a:srgbClr val="000000"/>
              </a:buClr>
              <a:defRPr>
                <a:solidFill>
                  <a:srgbClr val="000000"/>
                </a:solidFill>
              </a:defRPr>
            </a:lvl2pPr>
            <a:lvl3pPr>
              <a:buClr>
                <a:srgbClr val="000000"/>
              </a:buClr>
              <a:defRPr>
                <a:solidFill>
                  <a:srgbClr val="000000"/>
                </a:solidFill>
              </a:defRPr>
            </a:lvl3pPr>
            <a:lvl4pPr>
              <a:buClr>
                <a:srgbClr val="000000"/>
              </a:buClr>
              <a:defRPr sz="2000">
                <a:solidFill>
                  <a:srgbClr val="000000"/>
                </a:solidFill>
              </a:defRPr>
            </a:lvl4pPr>
            <a:lvl5pPr>
              <a:buClr>
                <a:srgbClr val="000000"/>
              </a:buClr>
              <a:defRPr sz="1800">
                <a:solidFill>
                  <a:srgbClr val="000000"/>
                </a:solidFill>
              </a:defRPr>
            </a:lvl5pPr>
            <a:lvl6pPr>
              <a:buClr>
                <a:srgbClr val="000000"/>
              </a:buClr>
              <a:defRPr sz="1600">
                <a:solidFill>
                  <a:srgbClr val="000000"/>
                </a:solidFill>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10"/>
          </p:nvPr>
        </p:nvSpPr>
        <p:spPr>
          <a:xfrm>
            <a:off x="8124162" y="6387713"/>
            <a:ext cx="1689565" cy="138499"/>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6" name="Content Placeholder 4"/>
          <p:cNvSpPr>
            <a:spLocks noGrp="1"/>
          </p:cNvSpPr>
          <p:nvPr>
            <p:ph sz="quarter" idx="11"/>
          </p:nvPr>
        </p:nvSpPr>
        <p:spPr>
          <a:xfrm>
            <a:off x="466130" y="6387713"/>
            <a:ext cx="1689565" cy="138499"/>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Tree>
    <p:extLst>
      <p:ext uri="{BB962C8B-B14F-4D97-AF65-F5344CB8AC3E}">
        <p14:creationId xmlns:p14="http://schemas.microsoft.com/office/powerpoint/2010/main" val="3602652417"/>
      </p:ext>
    </p:extLst>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Foot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4"/>
          <p:cNvSpPr>
            <a:spLocks noGrp="1"/>
          </p:cNvSpPr>
          <p:nvPr>
            <p:ph sz="quarter" idx="11"/>
          </p:nvPr>
        </p:nvSpPr>
        <p:spPr>
          <a:xfrm>
            <a:off x="8124162" y="6387713"/>
            <a:ext cx="1689565" cy="138499"/>
          </a:xfrm>
        </p:spPr>
        <p:txBody>
          <a:bodyPr wrap="none" anchor="b">
            <a:spAutoFit/>
          </a:bodyPr>
          <a:lstStyle>
            <a:lvl1pPr marL="0" indent="0" algn="r">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
        <p:nvSpPr>
          <p:cNvPr id="4" name="Content Placeholder 4"/>
          <p:cNvSpPr>
            <a:spLocks noGrp="1"/>
          </p:cNvSpPr>
          <p:nvPr>
            <p:ph sz="quarter" idx="12"/>
          </p:nvPr>
        </p:nvSpPr>
        <p:spPr>
          <a:xfrm>
            <a:off x="466130" y="6387713"/>
            <a:ext cx="1689565" cy="138499"/>
          </a:xfrm>
        </p:spPr>
        <p:txBody>
          <a:bodyPr wrap="none" anchor="b">
            <a:spAutoFit/>
          </a:bodyPr>
          <a:lstStyle>
            <a:lvl1pPr marL="0" indent="0" algn="l">
              <a:spcBef>
                <a:spcPts val="0"/>
              </a:spcBef>
              <a:spcAft>
                <a:spcPts val="0"/>
              </a:spcAft>
              <a:buFont typeface="Arial" pitchFamily="34" charset="0"/>
              <a:buNone/>
              <a:defRPr sz="1000"/>
            </a:lvl1pPr>
            <a:lvl2pPr marL="231775" indent="0" algn="r">
              <a:buNone/>
              <a:defRPr sz="1000"/>
            </a:lvl2pPr>
            <a:lvl3pPr marL="449262" indent="0" algn="r">
              <a:buNone/>
              <a:defRPr sz="1000"/>
            </a:lvl3pPr>
            <a:lvl4pPr marL="688975" indent="0" algn="r">
              <a:buNone/>
              <a:defRPr sz="1000"/>
            </a:lvl4pPr>
            <a:lvl5pPr marL="915987" indent="0" algn="r">
              <a:buNone/>
              <a:defRPr sz="1000"/>
            </a:lvl5pPr>
          </a:lstStyle>
          <a:p>
            <a:pPr lvl="0"/>
            <a:r>
              <a:rPr lang="en-US"/>
              <a:t>Click to edit Master text styles</a:t>
            </a:r>
          </a:p>
        </p:txBody>
      </p:sp>
    </p:spTree>
    <p:extLst>
      <p:ext uri="{BB962C8B-B14F-4D97-AF65-F5344CB8AC3E}">
        <p14:creationId xmlns:p14="http://schemas.microsoft.com/office/powerpoint/2010/main" val="2971398485"/>
      </p:ext>
    </p:extLst>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71525" y="162242"/>
            <a:ext cx="8915400" cy="787400"/>
          </a:xfrm>
        </p:spPr>
        <p:txBody>
          <a:bodyPr/>
          <a:lstStyle/>
          <a:p>
            <a:r>
              <a:rPr lang="en-US" dirty="0"/>
              <a:t>Click to edit Master title style</a:t>
            </a:r>
          </a:p>
        </p:txBody>
      </p:sp>
      <p:sp>
        <p:nvSpPr>
          <p:cNvPr id="5" name="Text Placeholder 5"/>
          <p:cNvSpPr>
            <a:spLocks noGrp="1"/>
          </p:cNvSpPr>
          <p:nvPr>
            <p:ph type="body" sz="quarter" idx="11"/>
          </p:nvPr>
        </p:nvSpPr>
        <p:spPr>
          <a:xfrm>
            <a:off x="685800" y="6248400"/>
            <a:ext cx="8854167" cy="457200"/>
          </a:xfrm>
        </p:spPr>
        <p:txBody>
          <a:bodyPr anchor="b"/>
          <a:lstStyle>
            <a:lvl1pPr marL="0" indent="0">
              <a:spcBef>
                <a:spcPts val="0"/>
              </a:spcBef>
              <a:buNone/>
              <a:defRPr sz="1200"/>
            </a:lvl1pPr>
          </a:lstStyle>
          <a:p>
            <a:pPr lvl="0"/>
            <a:r>
              <a:rPr lang="en-US" dirty="0"/>
              <a:t>Click to edit Master text styles</a:t>
            </a:r>
          </a:p>
        </p:txBody>
      </p:sp>
      <p:sp>
        <p:nvSpPr>
          <p:cNvPr id="4" name="Slide Number Placeholder 1"/>
          <p:cNvSpPr>
            <a:spLocks noGrp="1"/>
          </p:cNvSpPr>
          <p:nvPr>
            <p:ph type="sldNum" sz="quarter" idx="12"/>
          </p:nvPr>
        </p:nvSpPr>
        <p:spPr>
          <a:xfrm>
            <a:off x="7858125" y="6492876"/>
            <a:ext cx="2400300" cy="365125"/>
          </a:xfrm>
        </p:spPr>
        <p:txBody>
          <a:bodyPr/>
          <a:lstStyle>
            <a:lvl1pPr algn="r" fontAlgn="auto">
              <a:spcBef>
                <a:spcPts val="0"/>
              </a:spcBef>
              <a:spcAft>
                <a:spcPts val="0"/>
              </a:spcAft>
              <a:defRPr sz="1200" b="0" baseline="0">
                <a:solidFill>
                  <a:srgbClr val="000000">
                    <a:tint val="75000"/>
                  </a:srgbClr>
                </a:solidFill>
              </a:defRPr>
            </a:lvl1pPr>
          </a:lstStyle>
          <a:p>
            <a:pPr>
              <a:defRPr/>
            </a:pPr>
            <a:fld id="{C76C3DCE-5352-48B2-91AC-4F229A797A15}" type="slidenum">
              <a:rPr lang="en-US"/>
              <a:pPr>
                <a:defRPr/>
              </a:pPr>
              <a:t>‹#›</a:t>
            </a:fld>
            <a:endParaRPr lang="en-US" dirty="0"/>
          </a:p>
        </p:txBody>
      </p:sp>
    </p:spTree>
    <p:extLst>
      <p:ext uri="{BB962C8B-B14F-4D97-AF65-F5344CB8AC3E}">
        <p14:creationId xmlns:p14="http://schemas.microsoft.com/office/powerpoint/2010/main" val="41223995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758980" y="128026"/>
            <a:ext cx="8887968" cy="908622"/>
          </a:xfrm>
        </p:spPr>
        <p:txBody>
          <a:bodyPr/>
          <a:lstStyle/>
          <a:p>
            <a:r>
              <a:rPr lang="en-US" dirty="0"/>
              <a:t>Click to edit Master title style</a:t>
            </a:r>
          </a:p>
        </p:txBody>
      </p:sp>
      <p:sp>
        <p:nvSpPr>
          <p:cNvPr id="6" name="Text Placeholder 5"/>
          <p:cNvSpPr>
            <a:spLocks noGrp="1"/>
          </p:cNvSpPr>
          <p:nvPr>
            <p:ph type="body" sz="quarter" idx="11"/>
          </p:nvPr>
        </p:nvSpPr>
        <p:spPr>
          <a:xfrm>
            <a:off x="733057" y="6248404"/>
            <a:ext cx="9017199" cy="457200"/>
          </a:xfrm>
        </p:spPr>
        <p:txBody>
          <a:bodyPr anchor="b"/>
          <a:lstStyle>
            <a:lvl1pPr marL="0" indent="0">
              <a:spcBef>
                <a:spcPts val="0"/>
              </a:spcBef>
              <a:buNone/>
              <a:defRPr sz="1200"/>
            </a:lvl1pPr>
          </a:lstStyle>
          <a:p>
            <a:pPr lvl="0"/>
            <a:r>
              <a:rPr lang="en-US" dirty="0"/>
              <a:t>Click to edit Master text styles</a:t>
            </a:r>
          </a:p>
        </p:txBody>
      </p:sp>
    </p:spTree>
    <p:extLst>
      <p:ext uri="{BB962C8B-B14F-4D97-AF65-F5344CB8AC3E}">
        <p14:creationId xmlns:p14="http://schemas.microsoft.com/office/powerpoint/2010/main" val="2303784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514350" y="273050"/>
            <a:ext cx="3384550" cy="1162050"/>
          </a:xfrm>
        </p:spPr>
        <p:txBody>
          <a:bodyPr anchor="b"/>
          <a:lstStyle>
            <a:lvl1pPr algn="l">
              <a:defRPr sz="2000" b="1"/>
            </a:lvl1pPr>
          </a:lstStyle>
          <a:p>
            <a:r>
              <a:rPr lang="el-GR"/>
              <a:t>Kλικ για επεξεργασία του τίτλου</a:t>
            </a:r>
          </a:p>
        </p:txBody>
      </p:sp>
      <p:sp>
        <p:nvSpPr>
          <p:cNvPr id="3" name="2 - Θέση περιεχομένου"/>
          <p:cNvSpPr>
            <a:spLocks noGrp="1"/>
          </p:cNvSpPr>
          <p:nvPr>
            <p:ph idx="1"/>
          </p:nvPr>
        </p:nvSpPr>
        <p:spPr>
          <a:xfrm>
            <a:off x="4022725" y="273050"/>
            <a:ext cx="5749925"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514350" y="1435100"/>
            <a:ext cx="338455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B19CFA4-2DA5-4193-AC10-42D36BECB3E7}" type="slidenum">
              <a:rPr lang="el-GR"/>
              <a:pPr>
                <a:defRPr/>
              </a:pPr>
              <a:t>‹#›</a:t>
            </a:fld>
            <a:endParaRPr lang="el-GR"/>
          </a:p>
        </p:txBody>
      </p:sp>
    </p:spTree>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p:cNvSpPr>
            <a:spLocks noGrp="1"/>
          </p:cNvSpPr>
          <p:nvPr>
            <p:ph type="body" sz="quarter" idx="10"/>
          </p:nvPr>
        </p:nvSpPr>
        <p:spPr>
          <a:xfrm>
            <a:off x="69397" y="6512547"/>
            <a:ext cx="5317129" cy="288925"/>
          </a:xfrm>
        </p:spPr>
        <p:txBody>
          <a:bodyPr anchor="b">
            <a:noAutofit/>
          </a:bodyPr>
          <a:lstStyle>
            <a:lvl1pPr marL="0" indent="0">
              <a:spcBef>
                <a:spcPts val="0"/>
              </a:spcBef>
              <a:buNone/>
              <a:defRPr sz="1000"/>
            </a:lvl1pPr>
          </a:lstStyle>
          <a:p>
            <a:pPr lvl="0"/>
            <a:endParaRPr lang="en-GB" dirty="0"/>
          </a:p>
        </p:txBody>
      </p:sp>
      <p:sp>
        <p:nvSpPr>
          <p:cNvPr id="9" name="Text Placeholder 7"/>
          <p:cNvSpPr>
            <a:spLocks noGrp="1"/>
          </p:cNvSpPr>
          <p:nvPr>
            <p:ph type="body" sz="quarter" idx="11"/>
          </p:nvPr>
        </p:nvSpPr>
        <p:spPr>
          <a:xfrm>
            <a:off x="5629553" y="6512547"/>
            <a:ext cx="4583330" cy="288925"/>
          </a:xfrm>
        </p:spPr>
        <p:txBody>
          <a:bodyPr anchor="b">
            <a:noAutofit/>
          </a:bodyPr>
          <a:lstStyle>
            <a:lvl1pPr marL="0" indent="0" algn="r">
              <a:spcBef>
                <a:spcPts val="0"/>
              </a:spcBef>
              <a:buNone/>
              <a:defRPr sz="1000"/>
            </a:lvl1pPr>
          </a:lstStyle>
          <a:p>
            <a:pPr lvl="0"/>
            <a:endParaRPr lang="en-GB" dirty="0"/>
          </a:p>
        </p:txBody>
      </p:sp>
    </p:spTree>
    <p:extLst>
      <p:ext uri="{BB962C8B-B14F-4D97-AF65-F5344CB8AC3E}">
        <p14:creationId xmlns:p14="http://schemas.microsoft.com/office/powerpoint/2010/main" val="3261591163"/>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6403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62764-E044-4B73-AE96-4079A8ECF660}"/>
              </a:ext>
            </a:extLst>
          </p:cNvPr>
          <p:cNvSpPr>
            <a:spLocks noGrp="1"/>
          </p:cNvSpPr>
          <p:nvPr>
            <p:ph type="ctrTitle"/>
          </p:nvPr>
        </p:nvSpPr>
        <p:spPr>
          <a:xfrm>
            <a:off x="1285875" y="1122363"/>
            <a:ext cx="7715250" cy="2387600"/>
          </a:xfrm>
        </p:spPr>
        <p:txBody>
          <a:bodyPr anchor="b"/>
          <a:lstStyle>
            <a:lvl1pPr algn="ctr">
              <a:defRPr sz="5063"/>
            </a:lvl1pPr>
          </a:lstStyle>
          <a:p>
            <a:r>
              <a:rPr lang="en-US"/>
              <a:t>Click to edit Master title style</a:t>
            </a:r>
            <a:endParaRPr lang="el-GR"/>
          </a:p>
        </p:txBody>
      </p:sp>
      <p:sp>
        <p:nvSpPr>
          <p:cNvPr id="3" name="Subtitle 2">
            <a:extLst>
              <a:ext uri="{FF2B5EF4-FFF2-40B4-BE49-F238E27FC236}">
                <a16:creationId xmlns:a16="http://schemas.microsoft.com/office/drawing/2014/main" id="{97440ADE-49C5-4098-9D12-DEBB7D5004E5}"/>
              </a:ext>
            </a:extLst>
          </p:cNvPr>
          <p:cNvSpPr>
            <a:spLocks noGrp="1"/>
          </p:cNvSpPr>
          <p:nvPr>
            <p:ph type="subTitle" idx="1"/>
          </p:nvPr>
        </p:nvSpPr>
        <p:spPr>
          <a:xfrm>
            <a:off x="1285875" y="3602038"/>
            <a:ext cx="7715250" cy="1655762"/>
          </a:xfrm>
        </p:spPr>
        <p:txBody>
          <a:bodyPr/>
          <a:lstStyle>
            <a:lvl1pPr marL="0" indent="0" algn="ctr">
              <a:buNone/>
              <a:defRPr sz="2025"/>
            </a:lvl1pPr>
            <a:lvl2pPr marL="385785" indent="0" algn="ctr">
              <a:buNone/>
              <a:defRPr sz="1688"/>
            </a:lvl2pPr>
            <a:lvl3pPr marL="771571" indent="0" algn="ctr">
              <a:buNone/>
              <a:defRPr sz="1519"/>
            </a:lvl3pPr>
            <a:lvl4pPr marL="1157356" indent="0" algn="ctr">
              <a:buNone/>
              <a:defRPr sz="1350"/>
            </a:lvl4pPr>
            <a:lvl5pPr marL="1543141" indent="0" algn="ctr">
              <a:buNone/>
              <a:defRPr sz="1350"/>
            </a:lvl5pPr>
            <a:lvl6pPr marL="1928927" indent="0" algn="ctr">
              <a:buNone/>
              <a:defRPr sz="1350"/>
            </a:lvl6pPr>
            <a:lvl7pPr marL="2314712" indent="0" algn="ctr">
              <a:buNone/>
              <a:defRPr sz="1350"/>
            </a:lvl7pPr>
            <a:lvl8pPr marL="2700498" indent="0" algn="ctr">
              <a:buNone/>
              <a:defRPr sz="1350"/>
            </a:lvl8pPr>
            <a:lvl9pPr marL="3086283" indent="0" algn="ctr">
              <a:buNone/>
              <a:defRPr sz="135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544D257E-5085-443C-9503-5379AC605B50}"/>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5" name="Footer Placeholder 4">
            <a:extLst>
              <a:ext uri="{FF2B5EF4-FFF2-40B4-BE49-F238E27FC236}">
                <a16:creationId xmlns:a16="http://schemas.microsoft.com/office/drawing/2014/main" id="{860873E7-0A8F-4E68-AF4F-35FC669F2C72}"/>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9BA30382-9527-4C80-8F23-AC19CA28A8A1}"/>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35486248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EE656-BC2F-4F04-A3D4-C784B8D6FE9C}"/>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18812771-D95D-4970-9EE5-7723CF545A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B062AAE7-E6F6-4897-8D0A-2CA24836791D}"/>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5" name="Footer Placeholder 4">
            <a:extLst>
              <a:ext uri="{FF2B5EF4-FFF2-40B4-BE49-F238E27FC236}">
                <a16:creationId xmlns:a16="http://schemas.microsoft.com/office/drawing/2014/main" id="{54105AF6-F441-4555-900A-69E993443614}"/>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E548E1CF-4829-450F-87F3-ACFBB856B9F6}"/>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1423913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04396-22E0-4CCC-B2A5-B8BDE335F9FE}"/>
              </a:ext>
            </a:extLst>
          </p:cNvPr>
          <p:cNvSpPr>
            <a:spLocks noGrp="1"/>
          </p:cNvSpPr>
          <p:nvPr>
            <p:ph type="title"/>
          </p:nvPr>
        </p:nvSpPr>
        <p:spPr>
          <a:xfrm>
            <a:off x="701873" y="1709739"/>
            <a:ext cx="8872538" cy="2852737"/>
          </a:xfrm>
        </p:spPr>
        <p:txBody>
          <a:bodyPr anchor="b"/>
          <a:lstStyle>
            <a:lvl1pPr>
              <a:defRPr sz="5063"/>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A7EADB52-AF3A-44E6-87D8-9E17EB2DE5A9}"/>
              </a:ext>
            </a:extLst>
          </p:cNvPr>
          <p:cNvSpPr>
            <a:spLocks noGrp="1"/>
          </p:cNvSpPr>
          <p:nvPr>
            <p:ph type="body" idx="1"/>
          </p:nvPr>
        </p:nvSpPr>
        <p:spPr>
          <a:xfrm>
            <a:off x="701873" y="4589464"/>
            <a:ext cx="8872538" cy="1500187"/>
          </a:xfrm>
        </p:spPr>
        <p:txBody>
          <a:bodyPr/>
          <a:lstStyle>
            <a:lvl1pPr marL="0" indent="0">
              <a:buNone/>
              <a:defRPr sz="2025">
                <a:solidFill>
                  <a:schemeClr val="tx1">
                    <a:tint val="75000"/>
                  </a:schemeClr>
                </a:solidFill>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4A077C2-077F-4AB9-800B-D578533E0964}"/>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5" name="Footer Placeholder 4">
            <a:extLst>
              <a:ext uri="{FF2B5EF4-FFF2-40B4-BE49-F238E27FC236}">
                <a16:creationId xmlns:a16="http://schemas.microsoft.com/office/drawing/2014/main" id="{3D34A0C3-005F-4D3C-BD65-023B794B3F70}"/>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9BF4B66E-A52E-439D-8B6D-5EED8C8ECD01}"/>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39153038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17B0B-33E4-47A4-88A6-1D32AF7AC536}"/>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CB361EA9-D208-4299-9C1D-C7A33B1A9550}"/>
              </a:ext>
            </a:extLst>
          </p:cNvPr>
          <p:cNvSpPr>
            <a:spLocks noGrp="1"/>
          </p:cNvSpPr>
          <p:nvPr>
            <p:ph sz="half" idx="1"/>
          </p:nvPr>
        </p:nvSpPr>
        <p:spPr>
          <a:xfrm>
            <a:off x="707231" y="1825625"/>
            <a:ext cx="437197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8ABDA0F6-28D3-406D-A9C9-1D4987972DB9}"/>
              </a:ext>
            </a:extLst>
          </p:cNvPr>
          <p:cNvSpPr>
            <a:spLocks noGrp="1"/>
          </p:cNvSpPr>
          <p:nvPr>
            <p:ph sz="half" idx="2"/>
          </p:nvPr>
        </p:nvSpPr>
        <p:spPr>
          <a:xfrm>
            <a:off x="5207794" y="1825625"/>
            <a:ext cx="4371975"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AABC8D4E-0355-487C-9F8C-E8BBED5F7CEF}"/>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6" name="Footer Placeholder 5">
            <a:extLst>
              <a:ext uri="{FF2B5EF4-FFF2-40B4-BE49-F238E27FC236}">
                <a16:creationId xmlns:a16="http://schemas.microsoft.com/office/drawing/2014/main" id="{F5AD3F35-3D40-4696-A70D-441B87B0580A}"/>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1F5F2343-677B-4954-AF4D-77CF53158FDA}"/>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4899174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54A95-C732-45B1-91B0-719AF47CFD10}"/>
              </a:ext>
            </a:extLst>
          </p:cNvPr>
          <p:cNvSpPr>
            <a:spLocks noGrp="1"/>
          </p:cNvSpPr>
          <p:nvPr>
            <p:ph type="title"/>
          </p:nvPr>
        </p:nvSpPr>
        <p:spPr>
          <a:xfrm>
            <a:off x="708571" y="365126"/>
            <a:ext cx="8872538"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711F9A90-1EBF-49FB-8F94-69775AB7A9CF}"/>
              </a:ext>
            </a:extLst>
          </p:cNvPr>
          <p:cNvSpPr>
            <a:spLocks noGrp="1"/>
          </p:cNvSpPr>
          <p:nvPr>
            <p:ph type="body" idx="1"/>
          </p:nvPr>
        </p:nvSpPr>
        <p:spPr>
          <a:xfrm>
            <a:off x="708571" y="1681163"/>
            <a:ext cx="4351883" cy="823912"/>
          </a:xfrm>
        </p:spPr>
        <p:txBody>
          <a:bodyPr anchor="b"/>
          <a:lstStyle>
            <a:lvl1pPr marL="0" indent="0">
              <a:buNone/>
              <a:defRPr sz="2025" b="1"/>
            </a:lvl1pPr>
            <a:lvl2pPr marL="385785" indent="0">
              <a:buNone/>
              <a:defRPr sz="1688" b="1"/>
            </a:lvl2pPr>
            <a:lvl3pPr marL="771571" indent="0">
              <a:buNone/>
              <a:defRPr sz="1519" b="1"/>
            </a:lvl3pPr>
            <a:lvl4pPr marL="1157356" indent="0">
              <a:buNone/>
              <a:defRPr sz="1350" b="1"/>
            </a:lvl4pPr>
            <a:lvl5pPr marL="1543141" indent="0">
              <a:buNone/>
              <a:defRPr sz="1350" b="1"/>
            </a:lvl5pPr>
            <a:lvl6pPr marL="1928927" indent="0">
              <a:buNone/>
              <a:defRPr sz="1350" b="1"/>
            </a:lvl6pPr>
            <a:lvl7pPr marL="2314712" indent="0">
              <a:buNone/>
              <a:defRPr sz="1350" b="1"/>
            </a:lvl7pPr>
            <a:lvl8pPr marL="2700498" indent="0">
              <a:buNone/>
              <a:defRPr sz="1350" b="1"/>
            </a:lvl8pPr>
            <a:lvl9pPr marL="3086283" indent="0">
              <a:buNone/>
              <a:defRPr sz="1350" b="1"/>
            </a:lvl9pPr>
          </a:lstStyle>
          <a:p>
            <a:pPr lvl="0"/>
            <a:r>
              <a:rPr lang="en-US"/>
              <a:t>Click to edit Master text styles</a:t>
            </a:r>
          </a:p>
        </p:txBody>
      </p:sp>
      <p:sp>
        <p:nvSpPr>
          <p:cNvPr id="4" name="Content Placeholder 3">
            <a:extLst>
              <a:ext uri="{FF2B5EF4-FFF2-40B4-BE49-F238E27FC236}">
                <a16:creationId xmlns:a16="http://schemas.microsoft.com/office/drawing/2014/main" id="{97285667-2626-4D80-A8A0-F58C93D32A9F}"/>
              </a:ext>
            </a:extLst>
          </p:cNvPr>
          <p:cNvSpPr>
            <a:spLocks noGrp="1"/>
          </p:cNvSpPr>
          <p:nvPr>
            <p:ph sz="half" idx="2"/>
          </p:nvPr>
        </p:nvSpPr>
        <p:spPr>
          <a:xfrm>
            <a:off x="708571" y="2505075"/>
            <a:ext cx="435188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45DCF2AF-FD6E-4580-BDB5-9A13C3A4B8CD}"/>
              </a:ext>
            </a:extLst>
          </p:cNvPr>
          <p:cNvSpPr>
            <a:spLocks noGrp="1"/>
          </p:cNvSpPr>
          <p:nvPr>
            <p:ph type="body" sz="quarter" idx="3"/>
          </p:nvPr>
        </p:nvSpPr>
        <p:spPr>
          <a:xfrm>
            <a:off x="5207794" y="1681163"/>
            <a:ext cx="4373315" cy="823912"/>
          </a:xfrm>
        </p:spPr>
        <p:txBody>
          <a:bodyPr anchor="b"/>
          <a:lstStyle>
            <a:lvl1pPr marL="0" indent="0">
              <a:buNone/>
              <a:defRPr sz="2025" b="1"/>
            </a:lvl1pPr>
            <a:lvl2pPr marL="385785" indent="0">
              <a:buNone/>
              <a:defRPr sz="1688" b="1"/>
            </a:lvl2pPr>
            <a:lvl3pPr marL="771571" indent="0">
              <a:buNone/>
              <a:defRPr sz="1519" b="1"/>
            </a:lvl3pPr>
            <a:lvl4pPr marL="1157356" indent="0">
              <a:buNone/>
              <a:defRPr sz="1350" b="1"/>
            </a:lvl4pPr>
            <a:lvl5pPr marL="1543141" indent="0">
              <a:buNone/>
              <a:defRPr sz="1350" b="1"/>
            </a:lvl5pPr>
            <a:lvl6pPr marL="1928927" indent="0">
              <a:buNone/>
              <a:defRPr sz="1350" b="1"/>
            </a:lvl6pPr>
            <a:lvl7pPr marL="2314712" indent="0">
              <a:buNone/>
              <a:defRPr sz="1350" b="1"/>
            </a:lvl7pPr>
            <a:lvl8pPr marL="2700498" indent="0">
              <a:buNone/>
              <a:defRPr sz="1350" b="1"/>
            </a:lvl8pPr>
            <a:lvl9pPr marL="3086283" indent="0">
              <a:buNone/>
              <a:defRPr sz="1350" b="1"/>
            </a:lvl9pPr>
          </a:lstStyle>
          <a:p>
            <a:pPr lvl="0"/>
            <a:r>
              <a:rPr lang="en-US"/>
              <a:t>Click to edit Master text styles</a:t>
            </a:r>
          </a:p>
        </p:txBody>
      </p:sp>
      <p:sp>
        <p:nvSpPr>
          <p:cNvPr id="6" name="Content Placeholder 5">
            <a:extLst>
              <a:ext uri="{FF2B5EF4-FFF2-40B4-BE49-F238E27FC236}">
                <a16:creationId xmlns:a16="http://schemas.microsoft.com/office/drawing/2014/main" id="{65B3F2C2-7F79-492F-8DB2-A27CAD398FAD}"/>
              </a:ext>
            </a:extLst>
          </p:cNvPr>
          <p:cNvSpPr>
            <a:spLocks noGrp="1"/>
          </p:cNvSpPr>
          <p:nvPr>
            <p:ph sz="quarter" idx="4"/>
          </p:nvPr>
        </p:nvSpPr>
        <p:spPr>
          <a:xfrm>
            <a:off x="5207794" y="2505075"/>
            <a:ext cx="437331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7380D92F-6773-45D7-BBEC-01B465C73CB3}"/>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8" name="Footer Placeholder 7">
            <a:extLst>
              <a:ext uri="{FF2B5EF4-FFF2-40B4-BE49-F238E27FC236}">
                <a16:creationId xmlns:a16="http://schemas.microsoft.com/office/drawing/2014/main" id="{D647D85C-C524-40C1-BD10-456B96492B59}"/>
              </a:ext>
            </a:extLst>
          </p:cNvPr>
          <p:cNvSpPr>
            <a:spLocks noGrp="1"/>
          </p:cNvSpPr>
          <p:nvPr>
            <p:ph type="ftr" sz="quarter" idx="11"/>
          </p:nvPr>
        </p:nvSpPr>
        <p:spPr/>
        <p:txBody>
          <a:bodyPr/>
          <a:lstStyle/>
          <a:p>
            <a:endParaRPr lang="el-GR"/>
          </a:p>
        </p:txBody>
      </p:sp>
      <p:sp>
        <p:nvSpPr>
          <p:cNvPr id="9" name="Slide Number Placeholder 8">
            <a:extLst>
              <a:ext uri="{FF2B5EF4-FFF2-40B4-BE49-F238E27FC236}">
                <a16:creationId xmlns:a16="http://schemas.microsoft.com/office/drawing/2014/main" id="{765695BC-87BB-49EC-8392-49B8788C22AA}"/>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5043142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2548F-2BB4-4D00-8B53-EB74C08300B2}"/>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5953DA2A-7C39-407A-9BAC-C91FB7ED3001}"/>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4" name="Footer Placeholder 3">
            <a:extLst>
              <a:ext uri="{FF2B5EF4-FFF2-40B4-BE49-F238E27FC236}">
                <a16:creationId xmlns:a16="http://schemas.microsoft.com/office/drawing/2014/main" id="{75C4A782-1FA3-4C81-AAC4-CD381CCE2133}"/>
              </a:ext>
            </a:extLst>
          </p:cNvPr>
          <p:cNvSpPr>
            <a:spLocks noGrp="1"/>
          </p:cNvSpPr>
          <p:nvPr>
            <p:ph type="ftr" sz="quarter" idx="11"/>
          </p:nvPr>
        </p:nvSpPr>
        <p:spPr/>
        <p:txBody>
          <a:bodyPr/>
          <a:lstStyle/>
          <a:p>
            <a:endParaRPr lang="el-GR"/>
          </a:p>
        </p:txBody>
      </p:sp>
      <p:sp>
        <p:nvSpPr>
          <p:cNvPr id="5" name="Slide Number Placeholder 4">
            <a:extLst>
              <a:ext uri="{FF2B5EF4-FFF2-40B4-BE49-F238E27FC236}">
                <a16:creationId xmlns:a16="http://schemas.microsoft.com/office/drawing/2014/main" id="{3032D7E8-5B22-4C0F-8D98-DB87143F078D}"/>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38040452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EC4C6E-92F5-440D-917C-F346CA9049EC}"/>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3" name="Footer Placeholder 2">
            <a:extLst>
              <a:ext uri="{FF2B5EF4-FFF2-40B4-BE49-F238E27FC236}">
                <a16:creationId xmlns:a16="http://schemas.microsoft.com/office/drawing/2014/main" id="{10B1BD9C-2894-4012-B3A2-163F9C11E7FA}"/>
              </a:ext>
            </a:extLst>
          </p:cNvPr>
          <p:cNvSpPr>
            <a:spLocks noGrp="1"/>
          </p:cNvSpPr>
          <p:nvPr>
            <p:ph type="ftr" sz="quarter" idx="11"/>
          </p:nvPr>
        </p:nvSpPr>
        <p:spPr/>
        <p:txBody>
          <a:bodyPr/>
          <a:lstStyle/>
          <a:p>
            <a:endParaRPr lang="el-GR"/>
          </a:p>
        </p:txBody>
      </p:sp>
      <p:sp>
        <p:nvSpPr>
          <p:cNvPr id="4" name="Slide Number Placeholder 3">
            <a:extLst>
              <a:ext uri="{FF2B5EF4-FFF2-40B4-BE49-F238E27FC236}">
                <a16:creationId xmlns:a16="http://schemas.microsoft.com/office/drawing/2014/main" id="{8BC46FB5-E776-46B6-8F48-F808C872AC0A}"/>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24016501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47350-E399-4526-8AED-F66A1AA76F4B}"/>
              </a:ext>
            </a:extLst>
          </p:cNvPr>
          <p:cNvSpPr>
            <a:spLocks noGrp="1"/>
          </p:cNvSpPr>
          <p:nvPr>
            <p:ph type="title"/>
          </p:nvPr>
        </p:nvSpPr>
        <p:spPr>
          <a:xfrm>
            <a:off x="708572" y="457200"/>
            <a:ext cx="3317825" cy="1600200"/>
          </a:xfrm>
        </p:spPr>
        <p:txBody>
          <a:bodyPr anchor="b"/>
          <a:lstStyle>
            <a:lvl1pPr>
              <a:defRPr sz="2700"/>
            </a:lvl1pPr>
          </a:lstStyle>
          <a:p>
            <a:r>
              <a:rPr lang="en-US"/>
              <a:t>Click to edit Master title style</a:t>
            </a:r>
            <a:endParaRPr lang="el-GR"/>
          </a:p>
        </p:txBody>
      </p:sp>
      <p:sp>
        <p:nvSpPr>
          <p:cNvPr id="3" name="Content Placeholder 2">
            <a:extLst>
              <a:ext uri="{FF2B5EF4-FFF2-40B4-BE49-F238E27FC236}">
                <a16:creationId xmlns:a16="http://schemas.microsoft.com/office/drawing/2014/main" id="{05344BA1-998B-41FF-B93D-296BDE0D64CA}"/>
              </a:ext>
            </a:extLst>
          </p:cNvPr>
          <p:cNvSpPr>
            <a:spLocks noGrp="1"/>
          </p:cNvSpPr>
          <p:nvPr>
            <p:ph idx="1"/>
          </p:nvPr>
        </p:nvSpPr>
        <p:spPr>
          <a:xfrm>
            <a:off x="4373315" y="987426"/>
            <a:ext cx="5207794" cy="4873625"/>
          </a:xfrm>
        </p:spPr>
        <p:txBody>
          <a:bodyPr/>
          <a:lstStyle>
            <a:lvl1pPr>
              <a:defRPr sz="2700"/>
            </a:lvl1pPr>
            <a:lvl2pPr>
              <a:defRPr sz="2363"/>
            </a:lvl2pPr>
            <a:lvl3pPr>
              <a:defRPr sz="202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a:extLst>
              <a:ext uri="{FF2B5EF4-FFF2-40B4-BE49-F238E27FC236}">
                <a16:creationId xmlns:a16="http://schemas.microsoft.com/office/drawing/2014/main" id="{45375347-36BB-426F-97B2-4C862D236B25}"/>
              </a:ext>
            </a:extLst>
          </p:cNvPr>
          <p:cNvSpPr>
            <a:spLocks noGrp="1"/>
          </p:cNvSpPr>
          <p:nvPr>
            <p:ph type="body" sz="half" idx="2"/>
          </p:nvPr>
        </p:nvSpPr>
        <p:spPr>
          <a:xfrm>
            <a:off x="708572" y="2057400"/>
            <a:ext cx="3317825" cy="3811588"/>
          </a:xfrm>
        </p:spPr>
        <p:txBody>
          <a:bodyPr/>
          <a:lstStyle>
            <a:lvl1pPr marL="0" indent="0">
              <a:buNone/>
              <a:defRPr sz="1350"/>
            </a:lvl1pPr>
            <a:lvl2pPr marL="385785" indent="0">
              <a:buNone/>
              <a:defRPr sz="1181"/>
            </a:lvl2pPr>
            <a:lvl3pPr marL="771571" indent="0">
              <a:buNone/>
              <a:defRPr sz="1013"/>
            </a:lvl3pPr>
            <a:lvl4pPr marL="1157356" indent="0">
              <a:buNone/>
              <a:defRPr sz="844"/>
            </a:lvl4pPr>
            <a:lvl5pPr marL="1543141" indent="0">
              <a:buNone/>
              <a:defRPr sz="844"/>
            </a:lvl5pPr>
            <a:lvl6pPr marL="1928927" indent="0">
              <a:buNone/>
              <a:defRPr sz="844"/>
            </a:lvl6pPr>
            <a:lvl7pPr marL="2314712" indent="0">
              <a:buNone/>
              <a:defRPr sz="844"/>
            </a:lvl7pPr>
            <a:lvl8pPr marL="2700498" indent="0">
              <a:buNone/>
              <a:defRPr sz="844"/>
            </a:lvl8pPr>
            <a:lvl9pPr marL="3086283" indent="0">
              <a:buNone/>
              <a:defRPr sz="844"/>
            </a:lvl9pPr>
          </a:lstStyle>
          <a:p>
            <a:pPr lvl="0"/>
            <a:r>
              <a:rPr lang="en-US"/>
              <a:t>Click to edit Master text styles</a:t>
            </a:r>
          </a:p>
        </p:txBody>
      </p:sp>
      <p:sp>
        <p:nvSpPr>
          <p:cNvPr id="5" name="Date Placeholder 4">
            <a:extLst>
              <a:ext uri="{FF2B5EF4-FFF2-40B4-BE49-F238E27FC236}">
                <a16:creationId xmlns:a16="http://schemas.microsoft.com/office/drawing/2014/main" id="{851E69A6-8A1B-4A54-9208-C16127690029}"/>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6" name="Footer Placeholder 5">
            <a:extLst>
              <a:ext uri="{FF2B5EF4-FFF2-40B4-BE49-F238E27FC236}">
                <a16:creationId xmlns:a16="http://schemas.microsoft.com/office/drawing/2014/main" id="{FAE857BA-0265-433B-B195-0047F9DC687C}"/>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4C4265D2-F5D0-476A-95F4-FF585A323E2B}"/>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1044205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2016125" y="4800600"/>
            <a:ext cx="6172200" cy="566738"/>
          </a:xfrm>
        </p:spPr>
        <p:txBody>
          <a:bodyPr anchor="b"/>
          <a:lstStyle>
            <a:lvl1pPr algn="l">
              <a:defRPr sz="2000" b="1"/>
            </a:lvl1pPr>
          </a:lstStyle>
          <a:p>
            <a:r>
              <a:rPr lang="el-GR"/>
              <a:t>Kλικ για επεξεργασία του τίτλου</a:t>
            </a:r>
          </a:p>
        </p:txBody>
      </p:sp>
      <p:sp>
        <p:nvSpPr>
          <p:cNvPr id="3" name="2 - Θέση εικόνας"/>
          <p:cNvSpPr>
            <a:spLocks noGrp="1"/>
          </p:cNvSpPr>
          <p:nvPr>
            <p:ph type="pic" idx="1"/>
          </p:nvPr>
        </p:nvSpPr>
        <p:spPr>
          <a:xfrm>
            <a:off x="2016125" y="612775"/>
            <a:ext cx="6172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3 - Θέση κειμένου"/>
          <p:cNvSpPr>
            <a:spLocks noGrp="1"/>
          </p:cNvSpPr>
          <p:nvPr>
            <p:ph type="body" sz="half" idx="2"/>
          </p:nvPr>
        </p:nvSpPr>
        <p:spPr>
          <a:xfrm>
            <a:off x="2016125" y="5367338"/>
            <a:ext cx="6172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A3DAC3B-4B07-45B6-A432-71B94345FF95}" type="slidenum">
              <a:rPr lang="el-GR"/>
              <a:pPr>
                <a:defRPr/>
              </a:pPr>
              <a:t>‹#›</a:t>
            </a:fld>
            <a:endParaRPr lang="el-GR"/>
          </a:p>
        </p:txBody>
      </p:sp>
    </p:spTree>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8CF90-7437-41CB-A3FA-AC3B5AAAE91C}"/>
              </a:ext>
            </a:extLst>
          </p:cNvPr>
          <p:cNvSpPr>
            <a:spLocks noGrp="1"/>
          </p:cNvSpPr>
          <p:nvPr>
            <p:ph type="title"/>
          </p:nvPr>
        </p:nvSpPr>
        <p:spPr>
          <a:xfrm>
            <a:off x="708572" y="457200"/>
            <a:ext cx="3317825" cy="1600200"/>
          </a:xfrm>
        </p:spPr>
        <p:txBody>
          <a:bodyPr anchor="b"/>
          <a:lstStyle>
            <a:lvl1pPr>
              <a:defRPr sz="2700"/>
            </a:lvl1pPr>
          </a:lstStyle>
          <a:p>
            <a:r>
              <a:rPr lang="en-US"/>
              <a:t>Click to edit Master title style</a:t>
            </a:r>
            <a:endParaRPr lang="el-GR"/>
          </a:p>
        </p:txBody>
      </p:sp>
      <p:sp>
        <p:nvSpPr>
          <p:cNvPr id="3" name="Picture Placeholder 2">
            <a:extLst>
              <a:ext uri="{FF2B5EF4-FFF2-40B4-BE49-F238E27FC236}">
                <a16:creationId xmlns:a16="http://schemas.microsoft.com/office/drawing/2014/main" id="{8E7EB777-7F0C-4C56-BC0A-65F4ED2440D4}"/>
              </a:ext>
            </a:extLst>
          </p:cNvPr>
          <p:cNvSpPr>
            <a:spLocks noGrp="1"/>
          </p:cNvSpPr>
          <p:nvPr>
            <p:ph type="pic" idx="1"/>
          </p:nvPr>
        </p:nvSpPr>
        <p:spPr>
          <a:xfrm>
            <a:off x="4373315" y="987426"/>
            <a:ext cx="5207794" cy="4873625"/>
          </a:xfrm>
        </p:spPr>
        <p:txBody>
          <a:bodyPr/>
          <a:lstStyle>
            <a:lvl1pPr marL="0" indent="0">
              <a:buNone/>
              <a:defRPr sz="2700"/>
            </a:lvl1pPr>
            <a:lvl2pPr marL="385785" indent="0">
              <a:buNone/>
              <a:defRPr sz="2363"/>
            </a:lvl2pPr>
            <a:lvl3pPr marL="771571" indent="0">
              <a:buNone/>
              <a:defRPr sz="2025"/>
            </a:lvl3pPr>
            <a:lvl4pPr marL="1157356" indent="0">
              <a:buNone/>
              <a:defRPr sz="1688"/>
            </a:lvl4pPr>
            <a:lvl5pPr marL="1543141" indent="0">
              <a:buNone/>
              <a:defRPr sz="1688"/>
            </a:lvl5pPr>
            <a:lvl6pPr marL="1928927" indent="0">
              <a:buNone/>
              <a:defRPr sz="1688"/>
            </a:lvl6pPr>
            <a:lvl7pPr marL="2314712" indent="0">
              <a:buNone/>
              <a:defRPr sz="1688"/>
            </a:lvl7pPr>
            <a:lvl8pPr marL="2700498" indent="0">
              <a:buNone/>
              <a:defRPr sz="1688"/>
            </a:lvl8pPr>
            <a:lvl9pPr marL="3086283" indent="0">
              <a:buNone/>
              <a:defRPr sz="1688"/>
            </a:lvl9pPr>
          </a:lstStyle>
          <a:p>
            <a:endParaRPr lang="el-GR"/>
          </a:p>
        </p:txBody>
      </p:sp>
      <p:sp>
        <p:nvSpPr>
          <p:cNvPr id="4" name="Text Placeholder 3">
            <a:extLst>
              <a:ext uri="{FF2B5EF4-FFF2-40B4-BE49-F238E27FC236}">
                <a16:creationId xmlns:a16="http://schemas.microsoft.com/office/drawing/2014/main" id="{BB3084BF-DBE7-4E67-88D8-00D2D6E33BB4}"/>
              </a:ext>
            </a:extLst>
          </p:cNvPr>
          <p:cNvSpPr>
            <a:spLocks noGrp="1"/>
          </p:cNvSpPr>
          <p:nvPr>
            <p:ph type="body" sz="half" idx="2"/>
          </p:nvPr>
        </p:nvSpPr>
        <p:spPr>
          <a:xfrm>
            <a:off x="708572" y="2057400"/>
            <a:ext cx="3317825" cy="3811588"/>
          </a:xfrm>
        </p:spPr>
        <p:txBody>
          <a:bodyPr/>
          <a:lstStyle>
            <a:lvl1pPr marL="0" indent="0">
              <a:buNone/>
              <a:defRPr sz="1350"/>
            </a:lvl1pPr>
            <a:lvl2pPr marL="385785" indent="0">
              <a:buNone/>
              <a:defRPr sz="1181"/>
            </a:lvl2pPr>
            <a:lvl3pPr marL="771571" indent="0">
              <a:buNone/>
              <a:defRPr sz="1013"/>
            </a:lvl3pPr>
            <a:lvl4pPr marL="1157356" indent="0">
              <a:buNone/>
              <a:defRPr sz="844"/>
            </a:lvl4pPr>
            <a:lvl5pPr marL="1543141" indent="0">
              <a:buNone/>
              <a:defRPr sz="844"/>
            </a:lvl5pPr>
            <a:lvl6pPr marL="1928927" indent="0">
              <a:buNone/>
              <a:defRPr sz="844"/>
            </a:lvl6pPr>
            <a:lvl7pPr marL="2314712" indent="0">
              <a:buNone/>
              <a:defRPr sz="844"/>
            </a:lvl7pPr>
            <a:lvl8pPr marL="2700498" indent="0">
              <a:buNone/>
              <a:defRPr sz="844"/>
            </a:lvl8pPr>
            <a:lvl9pPr marL="3086283" indent="0">
              <a:buNone/>
              <a:defRPr sz="844"/>
            </a:lvl9pPr>
          </a:lstStyle>
          <a:p>
            <a:pPr lvl="0"/>
            <a:r>
              <a:rPr lang="en-US"/>
              <a:t>Click to edit Master text styles</a:t>
            </a:r>
          </a:p>
        </p:txBody>
      </p:sp>
      <p:sp>
        <p:nvSpPr>
          <p:cNvPr id="5" name="Date Placeholder 4">
            <a:extLst>
              <a:ext uri="{FF2B5EF4-FFF2-40B4-BE49-F238E27FC236}">
                <a16:creationId xmlns:a16="http://schemas.microsoft.com/office/drawing/2014/main" id="{A25DDDC5-A937-4736-9097-18B24D808892}"/>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6" name="Footer Placeholder 5">
            <a:extLst>
              <a:ext uri="{FF2B5EF4-FFF2-40B4-BE49-F238E27FC236}">
                <a16:creationId xmlns:a16="http://schemas.microsoft.com/office/drawing/2014/main" id="{0BB473DB-DC1F-40C1-AE5C-7D0FE8B044FF}"/>
              </a:ext>
            </a:extLst>
          </p:cNvPr>
          <p:cNvSpPr>
            <a:spLocks noGrp="1"/>
          </p:cNvSpPr>
          <p:nvPr>
            <p:ph type="ftr" sz="quarter" idx="11"/>
          </p:nvPr>
        </p:nvSpPr>
        <p:spPr/>
        <p:txBody>
          <a:bodyPr/>
          <a:lstStyle/>
          <a:p>
            <a:endParaRPr lang="el-GR"/>
          </a:p>
        </p:txBody>
      </p:sp>
      <p:sp>
        <p:nvSpPr>
          <p:cNvPr id="7" name="Slide Number Placeholder 6">
            <a:extLst>
              <a:ext uri="{FF2B5EF4-FFF2-40B4-BE49-F238E27FC236}">
                <a16:creationId xmlns:a16="http://schemas.microsoft.com/office/drawing/2014/main" id="{6B7D02B9-9D21-494B-9795-32EF255D123D}"/>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12738233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E960C-BDA0-4E27-B12C-F8E794204B58}"/>
              </a:ext>
            </a:extLst>
          </p:cNvPr>
          <p:cNvSpPr>
            <a:spLocks noGrp="1"/>
          </p:cNvSpPr>
          <p:nvPr>
            <p:ph type="title"/>
          </p:nvPr>
        </p:nvSpPr>
        <p:spPr/>
        <p:txBody>
          <a:bodyPr/>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7FFCE0CC-DB35-4090-896B-F78FC8F64B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109B4355-C587-430E-98D6-7E2A57D298F8}"/>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5" name="Footer Placeholder 4">
            <a:extLst>
              <a:ext uri="{FF2B5EF4-FFF2-40B4-BE49-F238E27FC236}">
                <a16:creationId xmlns:a16="http://schemas.microsoft.com/office/drawing/2014/main" id="{915F71B8-36A1-4037-9F5A-66CCCF765E46}"/>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447610D7-8378-4D5E-9F6E-56579DA8BC15}"/>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16522665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7F9A8F0-97D8-474C-A166-072339CCDA07}"/>
              </a:ext>
            </a:extLst>
          </p:cNvPr>
          <p:cNvSpPr>
            <a:spLocks noGrp="1"/>
          </p:cNvSpPr>
          <p:nvPr>
            <p:ph type="title" orient="vert"/>
          </p:nvPr>
        </p:nvSpPr>
        <p:spPr>
          <a:xfrm>
            <a:off x="7361635" y="365125"/>
            <a:ext cx="2218134" cy="5811838"/>
          </a:xfrm>
        </p:spPr>
        <p:txBody>
          <a:bodyPr vert="eaVert"/>
          <a:lstStyle/>
          <a:p>
            <a:r>
              <a:rPr lang="en-US"/>
              <a:t>Click to edit Master title style</a:t>
            </a:r>
            <a:endParaRPr lang="el-GR"/>
          </a:p>
        </p:txBody>
      </p:sp>
      <p:sp>
        <p:nvSpPr>
          <p:cNvPr id="3" name="Vertical Text Placeholder 2">
            <a:extLst>
              <a:ext uri="{FF2B5EF4-FFF2-40B4-BE49-F238E27FC236}">
                <a16:creationId xmlns:a16="http://schemas.microsoft.com/office/drawing/2014/main" id="{85DC79B0-3B51-4536-97FA-FECA10C15B9E}"/>
              </a:ext>
            </a:extLst>
          </p:cNvPr>
          <p:cNvSpPr>
            <a:spLocks noGrp="1"/>
          </p:cNvSpPr>
          <p:nvPr>
            <p:ph type="body" orient="vert" idx="1"/>
          </p:nvPr>
        </p:nvSpPr>
        <p:spPr>
          <a:xfrm>
            <a:off x="707231" y="365125"/>
            <a:ext cx="652581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EF231258-E978-47E9-8B1E-C13545619DCA}"/>
              </a:ext>
            </a:extLst>
          </p:cNvPr>
          <p:cNvSpPr>
            <a:spLocks noGrp="1"/>
          </p:cNvSpPr>
          <p:nvPr>
            <p:ph type="dt" sz="half" idx="10"/>
          </p:nvPr>
        </p:nvSpPr>
        <p:spPr/>
        <p:txBody>
          <a:bodyPr/>
          <a:lstStyle/>
          <a:p>
            <a:fld id="{2B214E69-25F4-494E-8310-8A0CAA2D77E7}" type="datetimeFigureOut">
              <a:rPr lang="el-GR" smtClean="0"/>
              <a:t>28/9/2023</a:t>
            </a:fld>
            <a:endParaRPr lang="el-GR"/>
          </a:p>
        </p:txBody>
      </p:sp>
      <p:sp>
        <p:nvSpPr>
          <p:cNvPr id="5" name="Footer Placeholder 4">
            <a:extLst>
              <a:ext uri="{FF2B5EF4-FFF2-40B4-BE49-F238E27FC236}">
                <a16:creationId xmlns:a16="http://schemas.microsoft.com/office/drawing/2014/main" id="{97C14276-10B8-4A1D-98B9-6D2226273150}"/>
              </a:ext>
            </a:extLst>
          </p:cNvPr>
          <p:cNvSpPr>
            <a:spLocks noGrp="1"/>
          </p:cNvSpPr>
          <p:nvPr>
            <p:ph type="ftr" sz="quarter" idx="11"/>
          </p:nvPr>
        </p:nvSpPr>
        <p:spPr/>
        <p:txBody>
          <a:bodyPr/>
          <a:lstStyle/>
          <a:p>
            <a:endParaRPr lang="el-GR"/>
          </a:p>
        </p:txBody>
      </p:sp>
      <p:sp>
        <p:nvSpPr>
          <p:cNvPr id="6" name="Slide Number Placeholder 5">
            <a:extLst>
              <a:ext uri="{FF2B5EF4-FFF2-40B4-BE49-F238E27FC236}">
                <a16:creationId xmlns:a16="http://schemas.microsoft.com/office/drawing/2014/main" id="{A2FEA210-0BA3-4D9E-BECB-5870F57F7A64}"/>
              </a:ext>
            </a:extLst>
          </p:cNvPr>
          <p:cNvSpPr>
            <a:spLocks noGrp="1"/>
          </p:cNvSpPr>
          <p:nvPr>
            <p:ph type="sldNum" sz="quarter" idx="12"/>
          </p:nvPr>
        </p:nvSpPr>
        <p:spPr/>
        <p:txBody>
          <a:bodyPr/>
          <a:lstStyle/>
          <a:p>
            <a:fld id="{9A4451B5-06E3-4066-AD22-B4B7F2CC396C}" type="slidenum">
              <a:rPr lang="el-GR" smtClean="0"/>
              <a:t>‹#›</a:t>
            </a:fld>
            <a:endParaRPr lang="el-GR"/>
          </a:p>
        </p:txBody>
      </p:sp>
    </p:spTree>
    <p:extLst>
      <p:ext uri="{BB962C8B-B14F-4D97-AF65-F5344CB8AC3E}">
        <p14:creationId xmlns:p14="http://schemas.microsoft.com/office/powerpoint/2010/main" val="1809398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E52D9-7A5A-4A4C-910B-EF2D4EB2A65B}"/>
              </a:ext>
            </a:extLst>
          </p:cNvPr>
          <p:cNvSpPr>
            <a:spLocks noGrp="1"/>
          </p:cNvSpPr>
          <p:nvPr>
            <p:ph type="ctrTitle"/>
          </p:nvPr>
        </p:nvSpPr>
        <p:spPr>
          <a:xfrm>
            <a:off x="1285875" y="1122363"/>
            <a:ext cx="7715250" cy="2387600"/>
          </a:xfrm>
        </p:spPr>
        <p:txBody>
          <a:bodyPr anchor="b"/>
          <a:lstStyle>
            <a:lvl1pPr algn="ctr">
              <a:defRPr sz="6000"/>
            </a:lvl1pPr>
          </a:lstStyle>
          <a:p>
            <a:r>
              <a:rPr lang="en-US"/>
              <a:t>Click to edit Master title style</a:t>
            </a:r>
            <a:endParaRPr lang="el-GR"/>
          </a:p>
        </p:txBody>
      </p:sp>
      <p:sp>
        <p:nvSpPr>
          <p:cNvPr id="3" name="Subtitle 2">
            <a:extLst>
              <a:ext uri="{FF2B5EF4-FFF2-40B4-BE49-F238E27FC236}">
                <a16:creationId xmlns:a16="http://schemas.microsoft.com/office/drawing/2014/main" id="{8B3E428F-2C4C-4F44-88DC-649C1CF37785}"/>
              </a:ext>
            </a:extLst>
          </p:cNvPr>
          <p:cNvSpPr>
            <a:spLocks noGrp="1"/>
          </p:cNvSpPr>
          <p:nvPr>
            <p:ph type="subTitle" idx="1"/>
          </p:nvPr>
        </p:nvSpPr>
        <p:spPr>
          <a:xfrm>
            <a:off x="1285875" y="3602038"/>
            <a:ext cx="771525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
        <p:nvSpPr>
          <p:cNvPr id="4" name="Date Placeholder 3">
            <a:extLst>
              <a:ext uri="{FF2B5EF4-FFF2-40B4-BE49-F238E27FC236}">
                <a16:creationId xmlns:a16="http://schemas.microsoft.com/office/drawing/2014/main" id="{352AAE76-7940-4BF2-AF8B-7F6B9C94D30E}"/>
              </a:ext>
            </a:extLst>
          </p:cNvPr>
          <p:cNvSpPr>
            <a:spLocks noGrp="1"/>
          </p:cNvSpPr>
          <p:nvPr>
            <p:ph type="dt" sz="half" idx="10"/>
          </p:nvPr>
        </p:nvSpPr>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DB80FE3E-BD98-4553-9BB8-D63857A81E41}"/>
              </a:ext>
            </a:extLst>
          </p:cNvPr>
          <p:cNvSpPr>
            <a:spLocks noGrp="1"/>
          </p:cNvSpPr>
          <p:nvPr>
            <p:ph type="ftr" sz="quarter" idx="11"/>
          </p:nvPr>
        </p:nvSpPr>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5F98F0E6-0EBB-4501-A22D-FD3E977203BF}"/>
              </a:ext>
            </a:extLst>
          </p:cNvPr>
          <p:cNvSpPr>
            <a:spLocks noGrp="1"/>
          </p:cNvSpPr>
          <p:nvPr>
            <p:ph type="sldNum" sz="quarter" idx="12"/>
          </p:nvPr>
        </p:nvSpPr>
        <p:spPr/>
        <p:txBody>
          <a:bodyPr/>
          <a:lstStyle>
            <a:lvl1pPr>
              <a:defRPr/>
            </a:lvl1pPr>
          </a:lstStyle>
          <a:p>
            <a:fld id="{A128A383-C6B7-4F01-90D1-E616D1D9AC3B}" type="slidenum">
              <a:rPr lang="el-GR" altLang="el-GR"/>
              <a:pPr/>
              <a:t>‹#›</a:t>
            </a:fld>
            <a:endParaRPr lang="el-GR" altLang="el-GR"/>
          </a:p>
        </p:txBody>
      </p:sp>
    </p:spTree>
    <p:extLst>
      <p:ext uri="{BB962C8B-B14F-4D97-AF65-F5344CB8AC3E}">
        <p14:creationId xmlns:p14="http://schemas.microsoft.com/office/powerpoint/2010/main" val="3987270510"/>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B8B37-757E-430C-A1DB-72D376D8E202}"/>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6BFA54C0-C206-453C-9CB4-4B6E52A6D75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D6155240-F8D6-4151-81FE-9FF26F81D0E2}"/>
              </a:ext>
            </a:extLst>
          </p:cNvPr>
          <p:cNvSpPr>
            <a:spLocks noGrp="1"/>
          </p:cNvSpPr>
          <p:nvPr>
            <p:ph type="dt" sz="half" idx="10"/>
          </p:nvPr>
        </p:nvSpPr>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937CC7B9-E916-4B60-B6CF-5911945CCDB3}"/>
              </a:ext>
            </a:extLst>
          </p:cNvPr>
          <p:cNvSpPr>
            <a:spLocks noGrp="1"/>
          </p:cNvSpPr>
          <p:nvPr>
            <p:ph type="ftr" sz="quarter" idx="11"/>
          </p:nvPr>
        </p:nvSpPr>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8067B0FA-9B26-4A48-BC7F-DE91CA6B2249}"/>
              </a:ext>
            </a:extLst>
          </p:cNvPr>
          <p:cNvSpPr>
            <a:spLocks noGrp="1"/>
          </p:cNvSpPr>
          <p:nvPr>
            <p:ph type="sldNum" sz="quarter" idx="12"/>
          </p:nvPr>
        </p:nvSpPr>
        <p:spPr/>
        <p:txBody>
          <a:bodyPr/>
          <a:lstStyle>
            <a:lvl1pPr>
              <a:defRPr/>
            </a:lvl1pPr>
          </a:lstStyle>
          <a:p>
            <a:fld id="{CC2D5482-8DD8-48FC-B0B9-CE73A202339A}" type="slidenum">
              <a:rPr lang="el-GR" altLang="el-GR"/>
              <a:pPr/>
              <a:t>‹#›</a:t>
            </a:fld>
            <a:endParaRPr lang="el-GR" altLang="el-GR"/>
          </a:p>
        </p:txBody>
      </p:sp>
    </p:spTree>
    <p:extLst>
      <p:ext uri="{BB962C8B-B14F-4D97-AF65-F5344CB8AC3E}">
        <p14:creationId xmlns:p14="http://schemas.microsoft.com/office/powerpoint/2010/main" val="1985742340"/>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91B8D-82C8-4B5F-B9B1-829FADFF7634}"/>
              </a:ext>
            </a:extLst>
          </p:cNvPr>
          <p:cNvSpPr>
            <a:spLocks noGrp="1"/>
          </p:cNvSpPr>
          <p:nvPr>
            <p:ph type="title"/>
          </p:nvPr>
        </p:nvSpPr>
        <p:spPr>
          <a:xfrm>
            <a:off x="701675" y="1709738"/>
            <a:ext cx="8872538" cy="2852737"/>
          </a:xfrm>
        </p:spPr>
        <p:txBody>
          <a:bodyPr anchor="b"/>
          <a:lstStyle>
            <a:lvl1pPr>
              <a:defRPr sz="6000"/>
            </a:lvl1pPr>
          </a:lstStyle>
          <a:p>
            <a:r>
              <a:rPr lang="en-US"/>
              <a:t>Click to edit Master title style</a:t>
            </a:r>
            <a:endParaRPr lang="el-GR"/>
          </a:p>
        </p:txBody>
      </p:sp>
      <p:sp>
        <p:nvSpPr>
          <p:cNvPr id="3" name="Text Placeholder 2">
            <a:extLst>
              <a:ext uri="{FF2B5EF4-FFF2-40B4-BE49-F238E27FC236}">
                <a16:creationId xmlns:a16="http://schemas.microsoft.com/office/drawing/2014/main" id="{25C9A2EF-C996-4E8D-B671-8F759B984CFB}"/>
              </a:ext>
            </a:extLst>
          </p:cNvPr>
          <p:cNvSpPr>
            <a:spLocks noGrp="1"/>
          </p:cNvSpPr>
          <p:nvPr>
            <p:ph type="body" idx="1"/>
          </p:nvPr>
        </p:nvSpPr>
        <p:spPr>
          <a:xfrm>
            <a:off x="701675" y="4589463"/>
            <a:ext cx="8872538"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
        <p:nvSpPr>
          <p:cNvPr id="4" name="Date Placeholder 3">
            <a:extLst>
              <a:ext uri="{FF2B5EF4-FFF2-40B4-BE49-F238E27FC236}">
                <a16:creationId xmlns:a16="http://schemas.microsoft.com/office/drawing/2014/main" id="{01D9DAF4-517F-4C97-B181-C57AEFDAEC59}"/>
              </a:ext>
            </a:extLst>
          </p:cNvPr>
          <p:cNvSpPr>
            <a:spLocks noGrp="1"/>
          </p:cNvSpPr>
          <p:nvPr>
            <p:ph type="dt" sz="half" idx="10"/>
          </p:nvPr>
        </p:nvSpPr>
        <p:spPr/>
        <p:txBody>
          <a:bodyPr/>
          <a:lstStyle>
            <a:lvl1pPr>
              <a:defRPr/>
            </a:lvl1pPr>
          </a:lstStyle>
          <a:p>
            <a:endParaRPr lang="el-GR" altLang="el-GR"/>
          </a:p>
        </p:txBody>
      </p:sp>
      <p:sp>
        <p:nvSpPr>
          <p:cNvPr id="5" name="Footer Placeholder 4">
            <a:extLst>
              <a:ext uri="{FF2B5EF4-FFF2-40B4-BE49-F238E27FC236}">
                <a16:creationId xmlns:a16="http://schemas.microsoft.com/office/drawing/2014/main" id="{DF6106B2-0664-4E48-B16E-153ADF5741CA}"/>
              </a:ext>
            </a:extLst>
          </p:cNvPr>
          <p:cNvSpPr>
            <a:spLocks noGrp="1"/>
          </p:cNvSpPr>
          <p:nvPr>
            <p:ph type="ftr" sz="quarter" idx="11"/>
          </p:nvPr>
        </p:nvSpPr>
        <p:spPr/>
        <p:txBody>
          <a:bodyPr/>
          <a:lstStyle>
            <a:lvl1pPr>
              <a:defRPr/>
            </a:lvl1pPr>
          </a:lstStyle>
          <a:p>
            <a:endParaRPr lang="el-GR" altLang="el-GR"/>
          </a:p>
        </p:txBody>
      </p:sp>
      <p:sp>
        <p:nvSpPr>
          <p:cNvPr id="6" name="Slide Number Placeholder 5">
            <a:extLst>
              <a:ext uri="{FF2B5EF4-FFF2-40B4-BE49-F238E27FC236}">
                <a16:creationId xmlns:a16="http://schemas.microsoft.com/office/drawing/2014/main" id="{831B559A-DFD9-4990-BA43-4331EFEBBA8E}"/>
              </a:ext>
            </a:extLst>
          </p:cNvPr>
          <p:cNvSpPr>
            <a:spLocks noGrp="1"/>
          </p:cNvSpPr>
          <p:nvPr>
            <p:ph type="sldNum" sz="quarter" idx="12"/>
          </p:nvPr>
        </p:nvSpPr>
        <p:spPr/>
        <p:txBody>
          <a:bodyPr/>
          <a:lstStyle>
            <a:lvl1pPr>
              <a:defRPr/>
            </a:lvl1pPr>
          </a:lstStyle>
          <a:p>
            <a:fld id="{E3399CA0-0A9B-4169-95E4-E144F73BA54E}" type="slidenum">
              <a:rPr lang="el-GR" altLang="el-GR"/>
              <a:pPr/>
              <a:t>‹#›</a:t>
            </a:fld>
            <a:endParaRPr lang="el-GR" altLang="el-GR"/>
          </a:p>
        </p:txBody>
      </p:sp>
    </p:spTree>
    <p:extLst>
      <p:ext uri="{BB962C8B-B14F-4D97-AF65-F5344CB8AC3E}">
        <p14:creationId xmlns:p14="http://schemas.microsoft.com/office/powerpoint/2010/main" val="3076626389"/>
      </p:ext>
    </p:extLst>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E23C9-CD34-486F-9A82-68D36335CEDB}"/>
              </a:ext>
            </a:extLst>
          </p:cNvPr>
          <p:cNvSpPr>
            <a:spLocks noGrp="1"/>
          </p:cNvSpPr>
          <p:nvPr>
            <p:ph type="title"/>
          </p:nvPr>
        </p:nvSpPr>
        <p:spPr/>
        <p:txBody>
          <a:bodyPr/>
          <a:lstStyle/>
          <a:p>
            <a:r>
              <a:rPr lang="en-US"/>
              <a:t>Click to edit Master title style</a:t>
            </a:r>
            <a:endParaRPr lang="el-GR"/>
          </a:p>
        </p:txBody>
      </p:sp>
      <p:sp>
        <p:nvSpPr>
          <p:cNvPr id="3" name="Content Placeholder 2">
            <a:extLst>
              <a:ext uri="{FF2B5EF4-FFF2-40B4-BE49-F238E27FC236}">
                <a16:creationId xmlns:a16="http://schemas.microsoft.com/office/drawing/2014/main" id="{9254206D-6945-461B-8717-4F16DB8B52C7}"/>
              </a:ext>
            </a:extLst>
          </p:cNvPr>
          <p:cNvSpPr>
            <a:spLocks noGrp="1"/>
          </p:cNvSpPr>
          <p:nvPr>
            <p:ph sz="half" idx="1"/>
          </p:nvPr>
        </p:nvSpPr>
        <p:spPr>
          <a:xfrm>
            <a:off x="771525" y="1981200"/>
            <a:ext cx="4295775"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a:extLst>
              <a:ext uri="{FF2B5EF4-FFF2-40B4-BE49-F238E27FC236}">
                <a16:creationId xmlns:a16="http://schemas.microsoft.com/office/drawing/2014/main" id="{106367CA-7AD6-4DF5-82E9-4742E0B6CCC1}"/>
              </a:ext>
            </a:extLst>
          </p:cNvPr>
          <p:cNvSpPr>
            <a:spLocks noGrp="1"/>
          </p:cNvSpPr>
          <p:nvPr>
            <p:ph sz="half" idx="2"/>
          </p:nvPr>
        </p:nvSpPr>
        <p:spPr>
          <a:xfrm>
            <a:off x="5219700" y="1981200"/>
            <a:ext cx="4295775" cy="411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a:extLst>
              <a:ext uri="{FF2B5EF4-FFF2-40B4-BE49-F238E27FC236}">
                <a16:creationId xmlns:a16="http://schemas.microsoft.com/office/drawing/2014/main" id="{36899A3F-025F-4E42-B5F3-8FD20FB82D52}"/>
              </a:ext>
            </a:extLst>
          </p:cNvPr>
          <p:cNvSpPr>
            <a:spLocks noGrp="1"/>
          </p:cNvSpPr>
          <p:nvPr>
            <p:ph type="dt" sz="half" idx="10"/>
          </p:nvPr>
        </p:nvSpPr>
        <p:spPr/>
        <p:txBody>
          <a:bodyPr/>
          <a:lstStyle>
            <a:lvl1pPr>
              <a:defRPr/>
            </a:lvl1pPr>
          </a:lstStyle>
          <a:p>
            <a:endParaRPr lang="el-GR" altLang="el-GR"/>
          </a:p>
        </p:txBody>
      </p:sp>
      <p:sp>
        <p:nvSpPr>
          <p:cNvPr id="6" name="Footer Placeholder 5">
            <a:extLst>
              <a:ext uri="{FF2B5EF4-FFF2-40B4-BE49-F238E27FC236}">
                <a16:creationId xmlns:a16="http://schemas.microsoft.com/office/drawing/2014/main" id="{1A45BF99-1FF0-4E48-AA66-E2B790D8C0F3}"/>
              </a:ext>
            </a:extLst>
          </p:cNvPr>
          <p:cNvSpPr>
            <a:spLocks noGrp="1"/>
          </p:cNvSpPr>
          <p:nvPr>
            <p:ph type="ftr" sz="quarter" idx="11"/>
          </p:nvPr>
        </p:nvSpPr>
        <p:spPr/>
        <p:txBody>
          <a:bodyPr/>
          <a:lstStyle>
            <a:lvl1pPr>
              <a:defRPr/>
            </a:lvl1pPr>
          </a:lstStyle>
          <a:p>
            <a:endParaRPr lang="el-GR" altLang="el-GR"/>
          </a:p>
        </p:txBody>
      </p:sp>
      <p:sp>
        <p:nvSpPr>
          <p:cNvPr id="7" name="Slide Number Placeholder 6">
            <a:extLst>
              <a:ext uri="{FF2B5EF4-FFF2-40B4-BE49-F238E27FC236}">
                <a16:creationId xmlns:a16="http://schemas.microsoft.com/office/drawing/2014/main" id="{0F0F71EF-364D-4102-832A-7681F2773A72}"/>
              </a:ext>
            </a:extLst>
          </p:cNvPr>
          <p:cNvSpPr>
            <a:spLocks noGrp="1"/>
          </p:cNvSpPr>
          <p:nvPr>
            <p:ph type="sldNum" sz="quarter" idx="12"/>
          </p:nvPr>
        </p:nvSpPr>
        <p:spPr/>
        <p:txBody>
          <a:bodyPr/>
          <a:lstStyle>
            <a:lvl1pPr>
              <a:defRPr/>
            </a:lvl1pPr>
          </a:lstStyle>
          <a:p>
            <a:fld id="{17EE07B1-7E7D-4B4A-9591-F7AB93C282E0}" type="slidenum">
              <a:rPr lang="el-GR" altLang="el-GR"/>
              <a:pPr/>
              <a:t>‹#›</a:t>
            </a:fld>
            <a:endParaRPr lang="el-GR" altLang="el-GR"/>
          </a:p>
        </p:txBody>
      </p:sp>
    </p:spTree>
    <p:extLst>
      <p:ext uri="{BB962C8B-B14F-4D97-AF65-F5344CB8AC3E}">
        <p14:creationId xmlns:p14="http://schemas.microsoft.com/office/powerpoint/2010/main" val="158228415"/>
      </p:ext>
    </p:extLst>
  </p:cSld>
  <p:clrMapOvr>
    <a:masterClrMapping/>
  </p:clrMapOvr>
  <p:transition>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1230CA-7FA5-443B-A24C-FBEBFF7D9108}"/>
              </a:ext>
            </a:extLst>
          </p:cNvPr>
          <p:cNvSpPr>
            <a:spLocks noGrp="1"/>
          </p:cNvSpPr>
          <p:nvPr>
            <p:ph type="title"/>
          </p:nvPr>
        </p:nvSpPr>
        <p:spPr>
          <a:xfrm>
            <a:off x="708025" y="365125"/>
            <a:ext cx="8872538" cy="1325563"/>
          </a:xfrm>
        </p:spPr>
        <p:txBody>
          <a:bodyPr/>
          <a:lstStyle/>
          <a:p>
            <a:r>
              <a:rPr lang="en-US"/>
              <a:t>Click to edit Master title style</a:t>
            </a:r>
            <a:endParaRPr lang="el-GR"/>
          </a:p>
        </p:txBody>
      </p:sp>
      <p:sp>
        <p:nvSpPr>
          <p:cNvPr id="3" name="Text Placeholder 2">
            <a:extLst>
              <a:ext uri="{FF2B5EF4-FFF2-40B4-BE49-F238E27FC236}">
                <a16:creationId xmlns:a16="http://schemas.microsoft.com/office/drawing/2014/main" id="{E716EF3E-C32F-41E7-B2B3-859DE97200CB}"/>
              </a:ext>
            </a:extLst>
          </p:cNvPr>
          <p:cNvSpPr>
            <a:spLocks noGrp="1"/>
          </p:cNvSpPr>
          <p:nvPr>
            <p:ph type="body" idx="1"/>
          </p:nvPr>
        </p:nvSpPr>
        <p:spPr>
          <a:xfrm>
            <a:off x="708025" y="1681163"/>
            <a:ext cx="43529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F87A22A-C73F-40E1-B9EC-9D82899F4EBD}"/>
              </a:ext>
            </a:extLst>
          </p:cNvPr>
          <p:cNvSpPr>
            <a:spLocks noGrp="1"/>
          </p:cNvSpPr>
          <p:nvPr>
            <p:ph sz="half" idx="2"/>
          </p:nvPr>
        </p:nvSpPr>
        <p:spPr>
          <a:xfrm>
            <a:off x="708025" y="2505075"/>
            <a:ext cx="4352925"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a:extLst>
              <a:ext uri="{FF2B5EF4-FFF2-40B4-BE49-F238E27FC236}">
                <a16:creationId xmlns:a16="http://schemas.microsoft.com/office/drawing/2014/main" id="{07CDD111-99F1-4B5E-95C9-148DBFA4C3B5}"/>
              </a:ext>
            </a:extLst>
          </p:cNvPr>
          <p:cNvSpPr>
            <a:spLocks noGrp="1"/>
          </p:cNvSpPr>
          <p:nvPr>
            <p:ph type="body" sz="quarter" idx="3"/>
          </p:nvPr>
        </p:nvSpPr>
        <p:spPr>
          <a:xfrm>
            <a:off x="5208588" y="1681163"/>
            <a:ext cx="437197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9148F2E-5FC3-43FE-89AA-E4018AD428FE}"/>
              </a:ext>
            </a:extLst>
          </p:cNvPr>
          <p:cNvSpPr>
            <a:spLocks noGrp="1"/>
          </p:cNvSpPr>
          <p:nvPr>
            <p:ph sz="quarter" idx="4"/>
          </p:nvPr>
        </p:nvSpPr>
        <p:spPr>
          <a:xfrm>
            <a:off x="5208588" y="2505075"/>
            <a:ext cx="4371975"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a:extLst>
              <a:ext uri="{FF2B5EF4-FFF2-40B4-BE49-F238E27FC236}">
                <a16:creationId xmlns:a16="http://schemas.microsoft.com/office/drawing/2014/main" id="{C74E4980-443D-43CA-969B-CC6520F63629}"/>
              </a:ext>
            </a:extLst>
          </p:cNvPr>
          <p:cNvSpPr>
            <a:spLocks noGrp="1"/>
          </p:cNvSpPr>
          <p:nvPr>
            <p:ph type="dt" sz="half" idx="10"/>
          </p:nvPr>
        </p:nvSpPr>
        <p:spPr/>
        <p:txBody>
          <a:bodyPr/>
          <a:lstStyle>
            <a:lvl1pPr>
              <a:defRPr/>
            </a:lvl1pPr>
          </a:lstStyle>
          <a:p>
            <a:endParaRPr lang="el-GR" altLang="el-GR"/>
          </a:p>
        </p:txBody>
      </p:sp>
      <p:sp>
        <p:nvSpPr>
          <p:cNvPr id="8" name="Footer Placeholder 7">
            <a:extLst>
              <a:ext uri="{FF2B5EF4-FFF2-40B4-BE49-F238E27FC236}">
                <a16:creationId xmlns:a16="http://schemas.microsoft.com/office/drawing/2014/main" id="{A9A97566-E525-4DF5-99F0-3EEECC7E3D8D}"/>
              </a:ext>
            </a:extLst>
          </p:cNvPr>
          <p:cNvSpPr>
            <a:spLocks noGrp="1"/>
          </p:cNvSpPr>
          <p:nvPr>
            <p:ph type="ftr" sz="quarter" idx="11"/>
          </p:nvPr>
        </p:nvSpPr>
        <p:spPr/>
        <p:txBody>
          <a:bodyPr/>
          <a:lstStyle>
            <a:lvl1pPr>
              <a:defRPr/>
            </a:lvl1pPr>
          </a:lstStyle>
          <a:p>
            <a:endParaRPr lang="el-GR" altLang="el-GR"/>
          </a:p>
        </p:txBody>
      </p:sp>
      <p:sp>
        <p:nvSpPr>
          <p:cNvPr id="9" name="Slide Number Placeholder 8">
            <a:extLst>
              <a:ext uri="{FF2B5EF4-FFF2-40B4-BE49-F238E27FC236}">
                <a16:creationId xmlns:a16="http://schemas.microsoft.com/office/drawing/2014/main" id="{9DA5F307-F27C-47FB-B6FA-EA4A3787E84B}"/>
              </a:ext>
            </a:extLst>
          </p:cNvPr>
          <p:cNvSpPr>
            <a:spLocks noGrp="1"/>
          </p:cNvSpPr>
          <p:nvPr>
            <p:ph type="sldNum" sz="quarter" idx="12"/>
          </p:nvPr>
        </p:nvSpPr>
        <p:spPr/>
        <p:txBody>
          <a:bodyPr/>
          <a:lstStyle>
            <a:lvl1pPr>
              <a:defRPr/>
            </a:lvl1pPr>
          </a:lstStyle>
          <a:p>
            <a:fld id="{81BDBFAD-B0FC-499D-B263-9578B9D120A1}" type="slidenum">
              <a:rPr lang="el-GR" altLang="el-GR"/>
              <a:pPr/>
              <a:t>‹#›</a:t>
            </a:fld>
            <a:endParaRPr lang="el-GR" altLang="el-GR"/>
          </a:p>
        </p:txBody>
      </p:sp>
    </p:spTree>
    <p:extLst>
      <p:ext uri="{BB962C8B-B14F-4D97-AF65-F5344CB8AC3E}">
        <p14:creationId xmlns:p14="http://schemas.microsoft.com/office/powerpoint/2010/main" val="4289273421"/>
      </p:ext>
    </p:extLst>
  </p:cSld>
  <p:clrMapOvr>
    <a:masterClrMapping/>
  </p:clrMapOvr>
  <p:transition>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AC154-CE35-4BE0-8026-FF3CA41BC4A1}"/>
              </a:ext>
            </a:extLst>
          </p:cNvPr>
          <p:cNvSpPr>
            <a:spLocks noGrp="1"/>
          </p:cNvSpPr>
          <p:nvPr>
            <p:ph type="title"/>
          </p:nvPr>
        </p:nvSpPr>
        <p:spPr/>
        <p:txBody>
          <a:bodyPr/>
          <a:lstStyle/>
          <a:p>
            <a:r>
              <a:rPr lang="en-US"/>
              <a:t>Click to edit Master title style</a:t>
            </a:r>
            <a:endParaRPr lang="el-GR"/>
          </a:p>
        </p:txBody>
      </p:sp>
      <p:sp>
        <p:nvSpPr>
          <p:cNvPr id="3" name="Date Placeholder 2">
            <a:extLst>
              <a:ext uri="{FF2B5EF4-FFF2-40B4-BE49-F238E27FC236}">
                <a16:creationId xmlns:a16="http://schemas.microsoft.com/office/drawing/2014/main" id="{1EB7103E-CE7A-4B7D-ADD1-6CF3238C07D1}"/>
              </a:ext>
            </a:extLst>
          </p:cNvPr>
          <p:cNvSpPr>
            <a:spLocks noGrp="1"/>
          </p:cNvSpPr>
          <p:nvPr>
            <p:ph type="dt" sz="half" idx="10"/>
          </p:nvPr>
        </p:nvSpPr>
        <p:spPr/>
        <p:txBody>
          <a:bodyPr/>
          <a:lstStyle>
            <a:lvl1pPr>
              <a:defRPr/>
            </a:lvl1pPr>
          </a:lstStyle>
          <a:p>
            <a:endParaRPr lang="el-GR" altLang="el-GR"/>
          </a:p>
        </p:txBody>
      </p:sp>
      <p:sp>
        <p:nvSpPr>
          <p:cNvPr id="4" name="Footer Placeholder 3">
            <a:extLst>
              <a:ext uri="{FF2B5EF4-FFF2-40B4-BE49-F238E27FC236}">
                <a16:creationId xmlns:a16="http://schemas.microsoft.com/office/drawing/2014/main" id="{6CD70ED1-BEB2-4744-A61E-022E9637230F}"/>
              </a:ext>
            </a:extLst>
          </p:cNvPr>
          <p:cNvSpPr>
            <a:spLocks noGrp="1"/>
          </p:cNvSpPr>
          <p:nvPr>
            <p:ph type="ftr" sz="quarter" idx="11"/>
          </p:nvPr>
        </p:nvSpPr>
        <p:spPr/>
        <p:txBody>
          <a:bodyPr/>
          <a:lstStyle>
            <a:lvl1pPr>
              <a:defRPr/>
            </a:lvl1pPr>
          </a:lstStyle>
          <a:p>
            <a:endParaRPr lang="el-GR" altLang="el-GR"/>
          </a:p>
        </p:txBody>
      </p:sp>
      <p:sp>
        <p:nvSpPr>
          <p:cNvPr id="5" name="Slide Number Placeholder 4">
            <a:extLst>
              <a:ext uri="{FF2B5EF4-FFF2-40B4-BE49-F238E27FC236}">
                <a16:creationId xmlns:a16="http://schemas.microsoft.com/office/drawing/2014/main" id="{33079439-4791-491F-9AC5-5856D6BBD7E1}"/>
              </a:ext>
            </a:extLst>
          </p:cNvPr>
          <p:cNvSpPr>
            <a:spLocks noGrp="1"/>
          </p:cNvSpPr>
          <p:nvPr>
            <p:ph type="sldNum" sz="quarter" idx="12"/>
          </p:nvPr>
        </p:nvSpPr>
        <p:spPr/>
        <p:txBody>
          <a:bodyPr/>
          <a:lstStyle>
            <a:lvl1pPr>
              <a:defRPr/>
            </a:lvl1pPr>
          </a:lstStyle>
          <a:p>
            <a:fld id="{94699817-F39C-48BA-B03C-1A2423217F4E}" type="slidenum">
              <a:rPr lang="el-GR" altLang="el-GR"/>
              <a:pPr/>
              <a:t>‹#›</a:t>
            </a:fld>
            <a:endParaRPr lang="el-GR" altLang="el-GR"/>
          </a:p>
        </p:txBody>
      </p:sp>
    </p:spTree>
    <p:extLst>
      <p:ext uri="{BB962C8B-B14F-4D97-AF65-F5344CB8AC3E}">
        <p14:creationId xmlns:p14="http://schemas.microsoft.com/office/powerpoint/2010/main" val="787406729"/>
      </p:ext>
    </p:extLst>
  </p:cSld>
  <p:clrMapOvr>
    <a:masterClrMapping/>
  </p:clrMapOvr>
  <p:transition>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4654DD-F9C6-42E4-B91F-F0824C278ECF}"/>
              </a:ext>
            </a:extLst>
          </p:cNvPr>
          <p:cNvSpPr>
            <a:spLocks noGrp="1"/>
          </p:cNvSpPr>
          <p:nvPr>
            <p:ph type="dt" sz="half" idx="10"/>
          </p:nvPr>
        </p:nvSpPr>
        <p:spPr/>
        <p:txBody>
          <a:bodyPr/>
          <a:lstStyle>
            <a:lvl1pPr>
              <a:defRPr/>
            </a:lvl1pPr>
          </a:lstStyle>
          <a:p>
            <a:endParaRPr lang="el-GR" altLang="el-GR"/>
          </a:p>
        </p:txBody>
      </p:sp>
      <p:sp>
        <p:nvSpPr>
          <p:cNvPr id="3" name="Footer Placeholder 2">
            <a:extLst>
              <a:ext uri="{FF2B5EF4-FFF2-40B4-BE49-F238E27FC236}">
                <a16:creationId xmlns:a16="http://schemas.microsoft.com/office/drawing/2014/main" id="{ECF49B87-1771-41DA-9C23-02E6D8762926}"/>
              </a:ext>
            </a:extLst>
          </p:cNvPr>
          <p:cNvSpPr>
            <a:spLocks noGrp="1"/>
          </p:cNvSpPr>
          <p:nvPr>
            <p:ph type="ftr" sz="quarter" idx="11"/>
          </p:nvPr>
        </p:nvSpPr>
        <p:spPr/>
        <p:txBody>
          <a:bodyPr/>
          <a:lstStyle>
            <a:lvl1pPr>
              <a:defRPr/>
            </a:lvl1pPr>
          </a:lstStyle>
          <a:p>
            <a:endParaRPr lang="el-GR" altLang="el-GR"/>
          </a:p>
        </p:txBody>
      </p:sp>
      <p:sp>
        <p:nvSpPr>
          <p:cNvPr id="4" name="Slide Number Placeholder 3">
            <a:extLst>
              <a:ext uri="{FF2B5EF4-FFF2-40B4-BE49-F238E27FC236}">
                <a16:creationId xmlns:a16="http://schemas.microsoft.com/office/drawing/2014/main" id="{E45B85A6-F229-4EB4-81F5-5CFBBA68D555}"/>
              </a:ext>
            </a:extLst>
          </p:cNvPr>
          <p:cNvSpPr>
            <a:spLocks noGrp="1"/>
          </p:cNvSpPr>
          <p:nvPr>
            <p:ph type="sldNum" sz="quarter" idx="12"/>
          </p:nvPr>
        </p:nvSpPr>
        <p:spPr/>
        <p:txBody>
          <a:bodyPr/>
          <a:lstStyle>
            <a:lvl1pPr>
              <a:defRPr/>
            </a:lvl1pPr>
          </a:lstStyle>
          <a:p>
            <a:fld id="{9B5C6C6A-EE8E-47A0-850E-AFAB365A874A}" type="slidenum">
              <a:rPr lang="el-GR" altLang="el-GR"/>
              <a:pPr/>
              <a:t>‹#›</a:t>
            </a:fld>
            <a:endParaRPr lang="el-GR" altLang="el-GR"/>
          </a:p>
        </p:txBody>
      </p:sp>
    </p:spTree>
    <p:extLst>
      <p:ext uri="{BB962C8B-B14F-4D97-AF65-F5344CB8AC3E}">
        <p14:creationId xmlns:p14="http://schemas.microsoft.com/office/powerpoint/2010/main" val="643108714"/>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heme" Target="../theme/theme10.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theme" Target="../theme/theme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theme" Target="../theme/theme4.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8" Type="http://schemas.openxmlformats.org/officeDocument/2006/relationships/slideLayout" Target="../slideLayouts/slideLayout50.xml"/><Relationship Id="rId3"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5.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08.xml"/><Relationship Id="rId7" Type="http://schemas.openxmlformats.org/officeDocument/2006/relationships/theme" Target="../theme/theme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4" Type="http://schemas.openxmlformats.org/officeDocument/2006/relationships/slideLayout" Target="../slideLayouts/slideLayout10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6" Type="http://schemas.openxmlformats.org/officeDocument/2006/relationships/image" Target="../media/image6.jpg"/><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theme" Target="../theme/theme9.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40000"/>
                <a:invGamma/>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71525" y="609600"/>
            <a:ext cx="8743950" cy="1143000"/>
          </a:xfrm>
          <a:prstGeom prst="rect">
            <a:avLst/>
          </a:prstGeom>
          <a:noFill/>
          <a:ln w="9525">
            <a:noFill/>
            <a:miter lim="800000"/>
            <a:headEnd/>
            <a:tailEnd/>
          </a:ln>
        </p:spPr>
        <p:txBody>
          <a:bodyPr vert="horz" wrap="square" lIns="92075" tIns="46038" rIns="92075" bIns="46038" numCol="1" anchor="ctr" anchorCtr="0" compatLnSpc="1">
            <a:prstTxWarp prst="textNoShape">
              <a:avLst/>
            </a:prstTxWarp>
          </a:bodyPr>
          <a:lstStyle/>
          <a:p>
            <a:pPr lvl="0"/>
            <a:r>
              <a:rPr lang="el-GR"/>
              <a:t>Click to edit Master title style</a:t>
            </a:r>
          </a:p>
        </p:txBody>
      </p:sp>
      <p:sp>
        <p:nvSpPr>
          <p:cNvPr id="1027" name="Rectangle 3"/>
          <p:cNvSpPr>
            <a:spLocks noGrp="1" noChangeArrowheads="1"/>
          </p:cNvSpPr>
          <p:nvPr>
            <p:ph type="body" idx="1"/>
          </p:nvPr>
        </p:nvSpPr>
        <p:spPr bwMode="auto">
          <a:xfrm>
            <a:off x="771525" y="1981200"/>
            <a:ext cx="8743950" cy="4114800"/>
          </a:xfrm>
          <a:prstGeom prst="rect">
            <a:avLst/>
          </a:prstGeom>
          <a:noFill/>
          <a:ln w="9525">
            <a:noFill/>
            <a:miter lim="800000"/>
            <a:headEnd/>
            <a:tailEnd/>
          </a:ln>
        </p:spPr>
        <p:txBody>
          <a:bodyPr vert="horz" wrap="square" lIns="92075" tIns="46038" rIns="92075" bIns="46038" numCol="1" anchor="t" anchorCtr="0" compatLnSpc="1">
            <a:prstTxWarp prst="textNoShape">
              <a:avLst/>
            </a:prstTxWarp>
          </a:bodyPr>
          <a:lstStyle/>
          <a:p>
            <a:pPr lvl="0"/>
            <a:r>
              <a:rPr lang="el-GR"/>
              <a:t>Click to edit Master text styles</a:t>
            </a:r>
          </a:p>
          <a:p>
            <a:pPr lvl="1"/>
            <a:r>
              <a:rPr lang="el-GR"/>
              <a:t>Second level</a:t>
            </a:r>
          </a:p>
          <a:p>
            <a:pPr lvl="2"/>
            <a:r>
              <a:rPr lang="el-GR"/>
              <a:t>Third level</a:t>
            </a:r>
          </a:p>
          <a:p>
            <a:pPr lvl="3"/>
            <a:r>
              <a:rPr lang="el-GR"/>
              <a:t>Fourth level</a:t>
            </a:r>
          </a:p>
          <a:p>
            <a:pPr lvl="4"/>
            <a:r>
              <a:rPr lang="el-GR"/>
              <a:t>Fifth level</a:t>
            </a:r>
          </a:p>
        </p:txBody>
      </p:sp>
      <p:sp>
        <p:nvSpPr>
          <p:cNvPr id="1028" name="Rectangle 4"/>
          <p:cNvSpPr>
            <a:spLocks noGrp="1" noChangeArrowheads="1"/>
          </p:cNvSpPr>
          <p:nvPr>
            <p:ph type="dt" sz="half" idx="2"/>
          </p:nvPr>
        </p:nvSpPr>
        <p:spPr bwMode="auto">
          <a:xfrm>
            <a:off x="771525" y="6248400"/>
            <a:ext cx="2143125"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eaLnBrk="0" hangingPunct="0">
              <a:defRPr sz="1400" b="0">
                <a:latin typeface="Arial" charset="0"/>
                <a:cs typeface="+mn-cs"/>
              </a:defRPr>
            </a:lvl1pPr>
          </a:lstStyle>
          <a:p>
            <a:pPr>
              <a:defRPr/>
            </a:pPr>
            <a:endParaRPr lang="en-US"/>
          </a:p>
        </p:txBody>
      </p:sp>
      <p:sp>
        <p:nvSpPr>
          <p:cNvPr id="1029" name="Rectangle 5"/>
          <p:cNvSpPr>
            <a:spLocks noGrp="1" noChangeArrowheads="1"/>
          </p:cNvSpPr>
          <p:nvPr>
            <p:ph type="ftr" sz="quarter" idx="3"/>
          </p:nvPr>
        </p:nvSpPr>
        <p:spPr bwMode="auto">
          <a:xfrm>
            <a:off x="3514725" y="6248400"/>
            <a:ext cx="325755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ctr" eaLnBrk="0" hangingPunct="0">
              <a:defRPr sz="1400" b="0">
                <a:latin typeface="Arial" charset="0"/>
                <a:cs typeface="+mn-cs"/>
              </a:defRPr>
            </a:lvl1pPr>
          </a:lstStyle>
          <a:p>
            <a:pPr>
              <a:defRPr/>
            </a:pPr>
            <a:endParaRPr lang="en-US"/>
          </a:p>
        </p:txBody>
      </p:sp>
      <p:sp>
        <p:nvSpPr>
          <p:cNvPr id="1030" name="Rectangle 6"/>
          <p:cNvSpPr>
            <a:spLocks noGrp="1" noChangeArrowheads="1"/>
          </p:cNvSpPr>
          <p:nvPr>
            <p:ph type="sldNum" sz="quarter" idx="4"/>
          </p:nvPr>
        </p:nvSpPr>
        <p:spPr bwMode="auto">
          <a:xfrm>
            <a:off x="7372350" y="6248400"/>
            <a:ext cx="2143125"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r" eaLnBrk="0" hangingPunct="0">
              <a:defRPr sz="1400" b="0">
                <a:latin typeface="Arial" charset="0"/>
                <a:cs typeface="+mn-cs"/>
              </a:defRPr>
            </a:lvl1pPr>
          </a:lstStyle>
          <a:p>
            <a:pPr>
              <a:defRPr/>
            </a:pPr>
            <a:fld id="{E0518CC6-091E-483C-A382-8117CAC99585}" type="slidenum">
              <a:rPr lang="el-GR"/>
              <a:pPr>
                <a:defRPr/>
              </a:pPr>
              <a:t>‹#›</a:t>
            </a:fld>
            <a:endParaRPr lang="el-GR"/>
          </a:p>
        </p:txBody>
      </p:sp>
    </p:spTree>
  </p:cSld>
  <p:clrMap bg1="dk2" tx1="lt1" bg2="dk1" tx2="lt2" accent1="accent1" accent2="accent2" accent3="accent3" accent4="accent4" accent5="accent5" accent6="accent6" hlink="hlink" folHlink="folHlink"/>
  <p:sldLayoutIdLst>
    <p:sldLayoutId id="2147483664" r:id="rId1"/>
    <p:sldLayoutId id="2147483663" r:id="rId2"/>
    <p:sldLayoutId id="2147483662" r:id="rId3"/>
    <p:sldLayoutId id="2147483661" r:id="rId4"/>
    <p:sldLayoutId id="2147483660" r:id="rId5"/>
    <p:sldLayoutId id="2147483659" r:id="rId6"/>
    <p:sldLayoutId id="2147483658" r:id="rId7"/>
    <p:sldLayoutId id="2147483657" r:id="rId8"/>
    <p:sldLayoutId id="2147483656" r:id="rId9"/>
    <p:sldLayoutId id="2147483655" r:id="rId10"/>
    <p:sldLayoutId id="2147483654" r:id="rId11"/>
    <p:sldLayoutId id="2147483668" r:id="rId12"/>
    <p:sldLayoutId id="2147483826" r:id="rId13"/>
    <p:sldLayoutId id="2147483827" r:id="rId14"/>
    <p:sldLayoutId id="2147483828" r:id="rId15"/>
    <p:sldLayoutId id="2147483831" r:id="rId16"/>
  </p:sldLayoutIdLst>
  <p:transition spd="med">
    <p:wipe dir="r"/>
  </p:transition>
  <p:txStyles>
    <p:titleStyle>
      <a:lvl1pPr algn="ctr" defTabSz="762000" rtl="0" eaLnBrk="0" fontAlgn="base" hangingPunct="0">
        <a:spcBef>
          <a:spcPct val="0"/>
        </a:spcBef>
        <a:spcAft>
          <a:spcPct val="0"/>
        </a:spcAft>
        <a:defRPr sz="4400">
          <a:solidFill>
            <a:schemeClr val="tx2"/>
          </a:solidFill>
          <a:latin typeface="+mj-lt"/>
          <a:ea typeface="+mj-ea"/>
          <a:cs typeface="+mj-cs"/>
        </a:defRPr>
      </a:lvl1pPr>
      <a:lvl2pPr algn="ctr" defTabSz="762000" rtl="0" eaLnBrk="0" fontAlgn="base" hangingPunct="0">
        <a:spcBef>
          <a:spcPct val="0"/>
        </a:spcBef>
        <a:spcAft>
          <a:spcPct val="0"/>
        </a:spcAft>
        <a:defRPr sz="4400">
          <a:solidFill>
            <a:schemeClr val="tx2"/>
          </a:solidFill>
          <a:latin typeface="Arial" charset="0"/>
        </a:defRPr>
      </a:lvl2pPr>
      <a:lvl3pPr algn="ctr" defTabSz="762000" rtl="0" eaLnBrk="0" fontAlgn="base" hangingPunct="0">
        <a:spcBef>
          <a:spcPct val="0"/>
        </a:spcBef>
        <a:spcAft>
          <a:spcPct val="0"/>
        </a:spcAft>
        <a:defRPr sz="4400">
          <a:solidFill>
            <a:schemeClr val="tx2"/>
          </a:solidFill>
          <a:latin typeface="Arial" charset="0"/>
        </a:defRPr>
      </a:lvl3pPr>
      <a:lvl4pPr algn="ctr" defTabSz="762000" rtl="0" eaLnBrk="0" fontAlgn="base" hangingPunct="0">
        <a:spcBef>
          <a:spcPct val="0"/>
        </a:spcBef>
        <a:spcAft>
          <a:spcPct val="0"/>
        </a:spcAft>
        <a:defRPr sz="4400">
          <a:solidFill>
            <a:schemeClr val="tx2"/>
          </a:solidFill>
          <a:latin typeface="Arial" charset="0"/>
        </a:defRPr>
      </a:lvl4pPr>
      <a:lvl5pPr algn="ctr" defTabSz="762000" rtl="0" eaLnBrk="0" fontAlgn="base" hangingPunct="0">
        <a:spcBef>
          <a:spcPct val="0"/>
        </a:spcBef>
        <a:spcAft>
          <a:spcPct val="0"/>
        </a:spcAft>
        <a:defRPr sz="4400">
          <a:solidFill>
            <a:schemeClr val="tx2"/>
          </a:solidFill>
          <a:latin typeface="Arial" charset="0"/>
        </a:defRPr>
      </a:lvl5pPr>
      <a:lvl6pPr marL="457200" algn="ctr" defTabSz="762000" rtl="0" eaLnBrk="0" fontAlgn="base" hangingPunct="0">
        <a:spcBef>
          <a:spcPct val="0"/>
        </a:spcBef>
        <a:spcAft>
          <a:spcPct val="0"/>
        </a:spcAft>
        <a:defRPr sz="4400">
          <a:solidFill>
            <a:schemeClr val="tx2"/>
          </a:solidFill>
          <a:latin typeface="Arial" charset="0"/>
        </a:defRPr>
      </a:lvl6pPr>
      <a:lvl7pPr marL="914400" algn="ctr" defTabSz="762000" rtl="0" eaLnBrk="0" fontAlgn="base" hangingPunct="0">
        <a:spcBef>
          <a:spcPct val="0"/>
        </a:spcBef>
        <a:spcAft>
          <a:spcPct val="0"/>
        </a:spcAft>
        <a:defRPr sz="4400">
          <a:solidFill>
            <a:schemeClr val="tx2"/>
          </a:solidFill>
          <a:latin typeface="Arial" charset="0"/>
        </a:defRPr>
      </a:lvl7pPr>
      <a:lvl8pPr marL="1371600" algn="ctr" defTabSz="762000" rtl="0" eaLnBrk="0" fontAlgn="base" hangingPunct="0">
        <a:spcBef>
          <a:spcPct val="0"/>
        </a:spcBef>
        <a:spcAft>
          <a:spcPct val="0"/>
        </a:spcAft>
        <a:defRPr sz="4400">
          <a:solidFill>
            <a:schemeClr val="tx2"/>
          </a:solidFill>
          <a:latin typeface="Arial" charset="0"/>
        </a:defRPr>
      </a:lvl8pPr>
      <a:lvl9pPr marL="1828800" algn="ctr" defTabSz="762000" rtl="0" eaLnBrk="0" fontAlgn="base" hangingPunct="0">
        <a:spcBef>
          <a:spcPct val="0"/>
        </a:spcBef>
        <a:spcAft>
          <a:spcPct val="0"/>
        </a:spcAft>
        <a:defRPr sz="4400">
          <a:solidFill>
            <a:schemeClr val="tx2"/>
          </a:solidFill>
          <a:latin typeface="Arial" charset="0"/>
        </a:defRPr>
      </a:lvl9pPr>
    </p:titleStyle>
    <p:bodyStyle>
      <a:lvl1pPr marL="342900" indent="-342900" algn="l" defTabSz="762000"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defTabSz="762000" rtl="0" eaLnBrk="0" fontAlgn="base" hangingPunct="0">
        <a:spcBef>
          <a:spcPct val="20000"/>
        </a:spcBef>
        <a:spcAft>
          <a:spcPct val="0"/>
        </a:spcAft>
        <a:buChar char="–"/>
        <a:defRPr sz="2800">
          <a:solidFill>
            <a:schemeClr val="tx1"/>
          </a:solidFill>
          <a:latin typeface="+mn-lt"/>
        </a:defRPr>
      </a:lvl2pPr>
      <a:lvl3pPr marL="1143000" indent="-228600" algn="l" defTabSz="762000" rtl="0" eaLnBrk="0" fontAlgn="base" hangingPunct="0">
        <a:spcBef>
          <a:spcPct val="20000"/>
        </a:spcBef>
        <a:spcAft>
          <a:spcPct val="0"/>
        </a:spcAft>
        <a:buChar char="•"/>
        <a:defRPr sz="2400">
          <a:solidFill>
            <a:schemeClr val="tx1"/>
          </a:solidFill>
          <a:latin typeface="+mn-lt"/>
        </a:defRPr>
      </a:lvl3pPr>
      <a:lvl4pPr marL="1600200" indent="-228600" algn="l" defTabSz="762000" rtl="0" eaLnBrk="0" fontAlgn="base" hangingPunct="0">
        <a:spcBef>
          <a:spcPct val="20000"/>
        </a:spcBef>
        <a:spcAft>
          <a:spcPct val="0"/>
        </a:spcAft>
        <a:buChar char="–"/>
        <a:defRPr sz="2000">
          <a:solidFill>
            <a:schemeClr val="tx1"/>
          </a:solidFill>
          <a:latin typeface="+mn-lt"/>
        </a:defRPr>
      </a:lvl4pPr>
      <a:lvl5pPr marL="2057400" indent="-228600" algn="l" defTabSz="762000" rtl="0" eaLnBrk="0" fontAlgn="base" hangingPunct="0">
        <a:spcBef>
          <a:spcPct val="20000"/>
        </a:spcBef>
        <a:spcAft>
          <a:spcPct val="0"/>
        </a:spcAft>
        <a:buChar char="•"/>
        <a:defRPr sz="2000">
          <a:solidFill>
            <a:schemeClr val="tx1"/>
          </a:solidFill>
          <a:latin typeface="+mn-lt"/>
        </a:defRPr>
      </a:lvl5pPr>
      <a:lvl6pPr marL="2514600" indent="-228600" algn="l" defTabSz="762000" rtl="0" eaLnBrk="0" fontAlgn="base" hangingPunct="0">
        <a:spcBef>
          <a:spcPct val="20000"/>
        </a:spcBef>
        <a:spcAft>
          <a:spcPct val="0"/>
        </a:spcAft>
        <a:buChar char="•"/>
        <a:defRPr sz="2000">
          <a:solidFill>
            <a:schemeClr val="tx1"/>
          </a:solidFill>
          <a:latin typeface="+mn-lt"/>
        </a:defRPr>
      </a:lvl6pPr>
      <a:lvl7pPr marL="2971800" indent="-228600" algn="l" defTabSz="762000" rtl="0" eaLnBrk="0" fontAlgn="base" hangingPunct="0">
        <a:spcBef>
          <a:spcPct val="20000"/>
        </a:spcBef>
        <a:spcAft>
          <a:spcPct val="0"/>
        </a:spcAft>
        <a:buChar char="•"/>
        <a:defRPr sz="2000">
          <a:solidFill>
            <a:schemeClr val="tx1"/>
          </a:solidFill>
          <a:latin typeface="+mn-lt"/>
        </a:defRPr>
      </a:lvl7pPr>
      <a:lvl8pPr marL="3429000" indent="-228600" algn="l" defTabSz="762000" rtl="0" eaLnBrk="0" fontAlgn="base" hangingPunct="0">
        <a:spcBef>
          <a:spcPct val="20000"/>
        </a:spcBef>
        <a:spcAft>
          <a:spcPct val="0"/>
        </a:spcAft>
        <a:buChar char="•"/>
        <a:defRPr sz="2000">
          <a:solidFill>
            <a:schemeClr val="tx1"/>
          </a:solidFill>
          <a:latin typeface="+mn-lt"/>
        </a:defRPr>
      </a:lvl8pPr>
      <a:lvl9pPr marL="3886200" indent="-228600" algn="l" defTabSz="762000" rtl="0" eaLnBrk="0" fontAlgn="base" hangingPunct="0">
        <a:spcBef>
          <a:spcPct val="20000"/>
        </a:spcBef>
        <a:spcAft>
          <a:spcPct val="0"/>
        </a:spcAft>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66540F4-F2A8-4B7F-A57D-DD8AC43E9416}"/>
              </a:ext>
            </a:extLst>
          </p:cNvPr>
          <p:cNvSpPr>
            <a:spLocks noGrp="1"/>
          </p:cNvSpPr>
          <p:nvPr>
            <p:ph type="title"/>
          </p:nvPr>
        </p:nvSpPr>
        <p:spPr>
          <a:xfrm>
            <a:off x="707231" y="365127"/>
            <a:ext cx="8872538"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CC623F42-6C11-4F84-B4A9-F1155845D125}"/>
              </a:ext>
            </a:extLst>
          </p:cNvPr>
          <p:cNvSpPr>
            <a:spLocks noGrp="1"/>
          </p:cNvSpPr>
          <p:nvPr>
            <p:ph type="body" idx="1"/>
          </p:nvPr>
        </p:nvSpPr>
        <p:spPr>
          <a:xfrm>
            <a:off x="707231" y="1825625"/>
            <a:ext cx="8872538"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050C287-D870-4CFB-B4B9-8E3837FE29B5}"/>
              </a:ext>
            </a:extLst>
          </p:cNvPr>
          <p:cNvSpPr>
            <a:spLocks noGrp="1"/>
          </p:cNvSpPr>
          <p:nvPr>
            <p:ph type="dt" sz="half" idx="2"/>
          </p:nvPr>
        </p:nvSpPr>
        <p:spPr>
          <a:xfrm>
            <a:off x="707231" y="6356352"/>
            <a:ext cx="2314575"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A94119E-0A3C-4744-A4E8-A2BFD9B4323B}" type="datetimeFigureOut">
              <a:rPr lang="fr-FR" smtClean="0"/>
              <a:t>28/09/2023</a:t>
            </a:fld>
            <a:endParaRPr lang="fr-FR"/>
          </a:p>
        </p:txBody>
      </p:sp>
      <p:sp>
        <p:nvSpPr>
          <p:cNvPr id="5" name="Espace réservé du pied de page 4">
            <a:extLst>
              <a:ext uri="{FF2B5EF4-FFF2-40B4-BE49-F238E27FC236}">
                <a16:creationId xmlns:a16="http://schemas.microsoft.com/office/drawing/2014/main" id="{1A8EDC68-32C6-40E1-845C-62A1ADA55CE8}"/>
              </a:ext>
            </a:extLst>
          </p:cNvPr>
          <p:cNvSpPr>
            <a:spLocks noGrp="1"/>
          </p:cNvSpPr>
          <p:nvPr>
            <p:ph type="ftr" sz="quarter" idx="3"/>
          </p:nvPr>
        </p:nvSpPr>
        <p:spPr>
          <a:xfrm>
            <a:off x="3407569" y="6356352"/>
            <a:ext cx="3471863"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65B2D948-F875-474B-ADEA-B4C79FB70DAF}"/>
              </a:ext>
            </a:extLst>
          </p:cNvPr>
          <p:cNvSpPr>
            <a:spLocks noGrp="1"/>
          </p:cNvSpPr>
          <p:nvPr>
            <p:ph type="sldNum" sz="quarter" idx="4"/>
          </p:nvPr>
        </p:nvSpPr>
        <p:spPr>
          <a:xfrm>
            <a:off x="7265194" y="6356352"/>
            <a:ext cx="2314575"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03DCF3C-B283-4971-A44F-3D1B5D10281D}" type="slidenum">
              <a:rPr lang="fr-FR" smtClean="0"/>
              <a:t>‹#›</a:t>
            </a:fld>
            <a:endParaRPr lang="fr-FR"/>
          </a:p>
        </p:txBody>
      </p:sp>
    </p:spTree>
    <p:extLst>
      <p:ext uri="{BB962C8B-B14F-4D97-AF65-F5344CB8AC3E}">
        <p14:creationId xmlns:p14="http://schemas.microsoft.com/office/powerpoint/2010/main" val="3729873127"/>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Rectangle 7"/>
          <p:cNvSpPr>
            <a:spLocks noChangeArrowheads="1"/>
          </p:cNvSpPr>
          <p:nvPr userDrawn="1"/>
        </p:nvSpPr>
        <p:spPr bwMode="auto">
          <a:xfrm>
            <a:off x="0" y="6537335"/>
            <a:ext cx="10287000" cy="320675"/>
          </a:xfrm>
          <a:prstGeom prst="rect">
            <a:avLst/>
          </a:prstGeom>
          <a:solidFill>
            <a:srgbClr val="071D4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fontAlgn="auto">
              <a:spcBef>
                <a:spcPts val="0"/>
              </a:spcBef>
              <a:spcAft>
                <a:spcPts val="0"/>
              </a:spcAft>
              <a:defRPr/>
            </a:pPr>
            <a:endParaRPr lang="en-US" sz="1800" b="0" dirty="0">
              <a:solidFill>
                <a:srgbClr val="071D49"/>
              </a:solidFill>
              <a:latin typeface="Calibri"/>
              <a:ea typeface="ＭＳ Ｐゴシック" charset="0"/>
              <a:cs typeface="+mn-cs"/>
            </a:endParaRPr>
          </a:p>
        </p:txBody>
      </p:sp>
      <p:sp>
        <p:nvSpPr>
          <p:cNvPr id="2051" name="Rectangle 22"/>
          <p:cNvSpPr>
            <a:spLocks noGrp="1" noChangeArrowheads="1"/>
          </p:cNvSpPr>
          <p:nvPr>
            <p:ph type="title"/>
          </p:nvPr>
        </p:nvSpPr>
        <p:spPr bwMode="gray">
          <a:xfrm>
            <a:off x="492925" y="63500"/>
            <a:ext cx="9310094"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2052" name="Rectangle 23"/>
          <p:cNvSpPr>
            <a:spLocks noGrp="1" noChangeArrowheads="1"/>
          </p:cNvSpPr>
          <p:nvPr>
            <p:ph type="body" idx="1"/>
          </p:nvPr>
        </p:nvSpPr>
        <p:spPr bwMode="gray">
          <a:xfrm>
            <a:off x="492925" y="1111250"/>
            <a:ext cx="9310094" cy="509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37"/>
          <p:cNvSpPr>
            <a:spLocks noChangeArrowheads="1"/>
          </p:cNvSpPr>
          <p:nvPr/>
        </p:nvSpPr>
        <p:spPr bwMode="auto">
          <a:xfrm>
            <a:off x="9502980" y="6642109"/>
            <a:ext cx="35004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cs typeface="Arial"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cs typeface="Arial"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cs typeface="Arial"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cs typeface="Arial" charset="0"/>
              </a:defRPr>
            </a:lvl9pPr>
          </a:lstStyle>
          <a:p>
            <a:pPr algn="r" eaLnBrk="1" fontAlgn="auto" hangingPunct="1">
              <a:spcBef>
                <a:spcPts val="0"/>
              </a:spcBef>
              <a:spcAft>
                <a:spcPts val="0"/>
              </a:spcAft>
              <a:defRPr/>
            </a:pPr>
            <a:fld id="{967350D7-520D-41C3-BACA-DF75F3EE61ED}" type="slidenum">
              <a:rPr lang="en-US" altLang="en-US" sz="900" b="0">
                <a:solidFill>
                  <a:srgbClr val="FFFFFF"/>
                </a:solidFill>
                <a:ea typeface="ＭＳ Ｐゴシック" panose="020B0600070205080204" pitchFamily="34" charset="-128"/>
              </a:rPr>
              <a:pPr algn="r" eaLnBrk="1" fontAlgn="auto" hangingPunct="1">
                <a:spcBef>
                  <a:spcPts val="0"/>
                </a:spcBef>
                <a:spcAft>
                  <a:spcPts val="0"/>
                </a:spcAft>
                <a:defRPr/>
              </a:pPr>
              <a:t>‹#›</a:t>
            </a:fld>
            <a:endParaRPr lang="en-US" altLang="en-US" sz="900" b="0" dirty="0">
              <a:solidFill>
                <a:srgbClr val="FFFFFF"/>
              </a:solidFill>
              <a:ea typeface="ＭＳ Ｐゴシック" panose="020B0600070205080204" pitchFamily="34" charset="-128"/>
            </a:endParaRPr>
          </a:p>
        </p:txBody>
      </p:sp>
      <p:sp>
        <p:nvSpPr>
          <p:cNvPr id="2055" name="Freeform 5"/>
          <p:cNvSpPr>
            <a:spLocks noEditPoints="1"/>
          </p:cNvSpPr>
          <p:nvPr/>
        </p:nvSpPr>
        <p:spPr bwMode="auto">
          <a:xfrm>
            <a:off x="287541" y="6594477"/>
            <a:ext cx="816173" cy="127000"/>
          </a:xfrm>
          <a:custGeom>
            <a:avLst/>
            <a:gdLst>
              <a:gd name="T0" fmla="*/ 2147483646 w 5472"/>
              <a:gd name="T1" fmla="*/ 2147483646 h 952"/>
              <a:gd name="T2" fmla="*/ 2147483646 w 5472"/>
              <a:gd name="T3" fmla="*/ 2147483646 h 952"/>
              <a:gd name="T4" fmla="*/ 2147483646 w 5472"/>
              <a:gd name="T5" fmla="*/ 2147483646 h 952"/>
              <a:gd name="T6" fmla="*/ 2147483646 w 5472"/>
              <a:gd name="T7" fmla="*/ 2147483646 h 952"/>
              <a:gd name="T8" fmla="*/ 2147483646 w 5472"/>
              <a:gd name="T9" fmla="*/ 2147483646 h 952"/>
              <a:gd name="T10" fmla="*/ 2147483646 w 5472"/>
              <a:gd name="T11" fmla="*/ 2147483646 h 952"/>
              <a:gd name="T12" fmla="*/ 2147483646 w 5472"/>
              <a:gd name="T13" fmla="*/ 2147483646 h 952"/>
              <a:gd name="T14" fmla="*/ 2147483646 w 5472"/>
              <a:gd name="T15" fmla="*/ 2147483646 h 952"/>
              <a:gd name="T16" fmla="*/ 2147483646 w 5472"/>
              <a:gd name="T17" fmla="*/ 2147483646 h 952"/>
              <a:gd name="T18" fmla="*/ 2147483646 w 5472"/>
              <a:gd name="T19" fmla="*/ 2147483646 h 952"/>
              <a:gd name="T20" fmla="*/ 2147483646 w 5472"/>
              <a:gd name="T21" fmla="*/ 2147483646 h 952"/>
              <a:gd name="T22" fmla="*/ 2147483646 w 5472"/>
              <a:gd name="T23" fmla="*/ 2147483646 h 952"/>
              <a:gd name="T24" fmla="*/ 2147483646 w 5472"/>
              <a:gd name="T25" fmla="*/ 2147483646 h 952"/>
              <a:gd name="T26" fmla="*/ 2147483646 w 5472"/>
              <a:gd name="T27" fmla="*/ 2147483646 h 952"/>
              <a:gd name="T28" fmla="*/ 2147483646 w 5472"/>
              <a:gd name="T29" fmla="*/ 2147483646 h 952"/>
              <a:gd name="T30" fmla="*/ 2147483646 w 5472"/>
              <a:gd name="T31" fmla="*/ 2147483646 h 952"/>
              <a:gd name="T32" fmla="*/ 2147483646 w 5472"/>
              <a:gd name="T33" fmla="*/ 2147483646 h 952"/>
              <a:gd name="T34" fmla="*/ 2147483646 w 5472"/>
              <a:gd name="T35" fmla="*/ 2147483646 h 952"/>
              <a:gd name="T36" fmla="*/ 2147483646 w 5472"/>
              <a:gd name="T37" fmla="*/ 2147483646 h 952"/>
              <a:gd name="T38" fmla="*/ 2147483646 w 5472"/>
              <a:gd name="T39" fmla="*/ 2147483646 h 952"/>
              <a:gd name="T40" fmla="*/ 2147483646 w 5472"/>
              <a:gd name="T41" fmla="*/ 2147483646 h 952"/>
              <a:gd name="T42" fmla="*/ 2147483646 w 5472"/>
              <a:gd name="T43" fmla="*/ 2147483646 h 952"/>
              <a:gd name="T44" fmla="*/ 2147483646 w 5472"/>
              <a:gd name="T45" fmla="*/ 2147483646 h 952"/>
              <a:gd name="T46" fmla="*/ 2147483646 w 5472"/>
              <a:gd name="T47" fmla="*/ 2147483646 h 952"/>
              <a:gd name="T48" fmla="*/ 2147483646 w 5472"/>
              <a:gd name="T49" fmla="*/ 2147483646 h 952"/>
              <a:gd name="T50" fmla="*/ 2147483646 w 5472"/>
              <a:gd name="T51" fmla="*/ 2147483646 h 952"/>
              <a:gd name="T52" fmla="*/ 2147483646 w 5472"/>
              <a:gd name="T53" fmla="*/ 2147483646 h 952"/>
              <a:gd name="T54" fmla="*/ 2147483646 w 5472"/>
              <a:gd name="T55" fmla="*/ 2147483646 h 952"/>
              <a:gd name="T56" fmla="*/ 2147483646 w 5472"/>
              <a:gd name="T57" fmla="*/ 2147483646 h 952"/>
              <a:gd name="T58" fmla="*/ 2147483646 w 5472"/>
              <a:gd name="T59" fmla="*/ 2147483646 h 952"/>
              <a:gd name="T60" fmla="*/ 2147483646 w 5472"/>
              <a:gd name="T61" fmla="*/ 2147483646 h 952"/>
              <a:gd name="T62" fmla="*/ 2147483646 w 5472"/>
              <a:gd name="T63" fmla="*/ 2147483646 h 952"/>
              <a:gd name="T64" fmla="*/ 2147483646 w 5472"/>
              <a:gd name="T65" fmla="*/ 2147483646 h 952"/>
              <a:gd name="T66" fmla="*/ 2147483646 w 5472"/>
              <a:gd name="T67" fmla="*/ 2147483646 h 952"/>
              <a:gd name="T68" fmla="*/ 2147483646 w 5472"/>
              <a:gd name="T69" fmla="*/ 2147483646 h 952"/>
              <a:gd name="T70" fmla="*/ 2147483646 w 5472"/>
              <a:gd name="T71" fmla="*/ 2147483646 h 952"/>
              <a:gd name="T72" fmla="*/ 2147483646 w 5472"/>
              <a:gd name="T73" fmla="*/ 2147483646 h 952"/>
              <a:gd name="T74" fmla="*/ 2147483646 w 5472"/>
              <a:gd name="T75" fmla="*/ 2147483646 h 952"/>
              <a:gd name="T76" fmla="*/ 2147483646 w 5472"/>
              <a:gd name="T77" fmla="*/ 2147483646 h 952"/>
              <a:gd name="T78" fmla="*/ 2147483646 w 5472"/>
              <a:gd name="T79" fmla="*/ 2147483646 h 952"/>
              <a:gd name="T80" fmla="*/ 2147483646 w 5472"/>
              <a:gd name="T81" fmla="*/ 2147483646 h 952"/>
              <a:gd name="T82" fmla="*/ 2147483646 w 5472"/>
              <a:gd name="T83" fmla="*/ 0 h 952"/>
              <a:gd name="T84" fmla="*/ 2147483646 w 5472"/>
              <a:gd name="T85" fmla="*/ 2147483646 h 952"/>
              <a:gd name="T86" fmla="*/ 2147483646 w 5472"/>
              <a:gd name="T87" fmla="*/ 2147483646 h 952"/>
              <a:gd name="T88" fmla="*/ 2147483646 w 5472"/>
              <a:gd name="T89" fmla="*/ 2147483646 h 952"/>
              <a:gd name="T90" fmla="*/ 2147483646 w 5472"/>
              <a:gd name="T91" fmla="*/ 2147483646 h 952"/>
              <a:gd name="T92" fmla="*/ 2147483646 w 5472"/>
              <a:gd name="T93" fmla="*/ 2147483646 h 952"/>
              <a:gd name="T94" fmla="*/ 2147483646 w 5472"/>
              <a:gd name="T95" fmla="*/ 2147483646 h 952"/>
              <a:gd name="T96" fmla="*/ 2147483646 w 5472"/>
              <a:gd name="T97" fmla="*/ 2147483646 h 952"/>
              <a:gd name="T98" fmla="*/ 2147483646 w 5472"/>
              <a:gd name="T99" fmla="*/ 2147483646 h 952"/>
              <a:gd name="T100" fmla="*/ 2147483646 w 5472"/>
              <a:gd name="T101" fmla="*/ 2147483646 h 952"/>
              <a:gd name="T102" fmla="*/ 2147483646 w 5472"/>
              <a:gd name="T103" fmla="*/ 2147483646 h 952"/>
              <a:gd name="T104" fmla="*/ 2147483646 w 5472"/>
              <a:gd name="T105" fmla="*/ 2147483646 h 952"/>
              <a:gd name="T106" fmla="*/ 2147483646 w 5472"/>
              <a:gd name="T107" fmla="*/ 2147483646 h 952"/>
              <a:gd name="T108" fmla="*/ 2147483646 w 5472"/>
              <a:gd name="T109" fmla="*/ 0 h 952"/>
              <a:gd name="T110" fmla="*/ 2147483646 w 5472"/>
              <a:gd name="T111" fmla="*/ 2147483646 h 952"/>
              <a:gd name="T112" fmla="*/ 2147483646 w 5472"/>
              <a:gd name="T113" fmla="*/ 2147483646 h 952"/>
              <a:gd name="T114" fmla="*/ 2147483646 w 5472"/>
              <a:gd name="T115" fmla="*/ 2147483646 h 952"/>
              <a:gd name="T116" fmla="*/ 2147483646 w 5472"/>
              <a:gd name="T117" fmla="*/ 2147483646 h 952"/>
              <a:gd name="T118" fmla="*/ 2147483646 w 5472"/>
              <a:gd name="T119" fmla="*/ 2147483646 h 952"/>
              <a:gd name="T120" fmla="*/ 2147483646 w 5472"/>
              <a:gd name="T121" fmla="*/ 2147483646 h 952"/>
              <a:gd name="T122" fmla="*/ 2147483646 w 5472"/>
              <a:gd name="T123" fmla="*/ 2147483646 h 95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472" h="952">
                <a:moveTo>
                  <a:pt x="5454" y="922"/>
                </a:moveTo>
                <a:lnTo>
                  <a:pt x="5454" y="922"/>
                </a:lnTo>
                <a:lnTo>
                  <a:pt x="5452" y="902"/>
                </a:lnTo>
                <a:lnTo>
                  <a:pt x="5448" y="886"/>
                </a:lnTo>
                <a:lnTo>
                  <a:pt x="5440" y="872"/>
                </a:lnTo>
                <a:lnTo>
                  <a:pt x="5430" y="862"/>
                </a:lnTo>
                <a:lnTo>
                  <a:pt x="5418" y="854"/>
                </a:lnTo>
                <a:lnTo>
                  <a:pt x="5402" y="848"/>
                </a:lnTo>
                <a:lnTo>
                  <a:pt x="5384" y="844"/>
                </a:lnTo>
                <a:lnTo>
                  <a:pt x="5364" y="844"/>
                </a:lnTo>
                <a:lnTo>
                  <a:pt x="4946" y="844"/>
                </a:lnTo>
                <a:lnTo>
                  <a:pt x="4910" y="842"/>
                </a:lnTo>
                <a:lnTo>
                  <a:pt x="4878" y="838"/>
                </a:lnTo>
                <a:lnTo>
                  <a:pt x="4848" y="832"/>
                </a:lnTo>
                <a:lnTo>
                  <a:pt x="4820" y="824"/>
                </a:lnTo>
                <a:lnTo>
                  <a:pt x="4796" y="814"/>
                </a:lnTo>
                <a:lnTo>
                  <a:pt x="4774" y="800"/>
                </a:lnTo>
                <a:lnTo>
                  <a:pt x="4754" y="788"/>
                </a:lnTo>
                <a:lnTo>
                  <a:pt x="4738" y="772"/>
                </a:lnTo>
                <a:lnTo>
                  <a:pt x="4722" y="756"/>
                </a:lnTo>
                <a:lnTo>
                  <a:pt x="4710" y="740"/>
                </a:lnTo>
                <a:lnTo>
                  <a:pt x="4698" y="724"/>
                </a:lnTo>
                <a:lnTo>
                  <a:pt x="4690" y="706"/>
                </a:lnTo>
                <a:lnTo>
                  <a:pt x="4682" y="688"/>
                </a:lnTo>
                <a:lnTo>
                  <a:pt x="4676" y="672"/>
                </a:lnTo>
                <a:lnTo>
                  <a:pt x="4674" y="654"/>
                </a:lnTo>
                <a:lnTo>
                  <a:pt x="4670" y="638"/>
                </a:lnTo>
                <a:lnTo>
                  <a:pt x="5252" y="638"/>
                </a:lnTo>
                <a:lnTo>
                  <a:pt x="5282" y="636"/>
                </a:lnTo>
                <a:lnTo>
                  <a:pt x="5310" y="632"/>
                </a:lnTo>
                <a:lnTo>
                  <a:pt x="5336" y="626"/>
                </a:lnTo>
                <a:lnTo>
                  <a:pt x="5358" y="618"/>
                </a:lnTo>
                <a:lnTo>
                  <a:pt x="5378" y="608"/>
                </a:lnTo>
                <a:lnTo>
                  <a:pt x="5396" y="596"/>
                </a:lnTo>
                <a:lnTo>
                  <a:pt x="5412" y="582"/>
                </a:lnTo>
                <a:lnTo>
                  <a:pt x="5426" y="568"/>
                </a:lnTo>
                <a:lnTo>
                  <a:pt x="5438" y="552"/>
                </a:lnTo>
                <a:lnTo>
                  <a:pt x="5448" y="536"/>
                </a:lnTo>
                <a:lnTo>
                  <a:pt x="5456" y="518"/>
                </a:lnTo>
                <a:lnTo>
                  <a:pt x="5462" y="502"/>
                </a:lnTo>
                <a:lnTo>
                  <a:pt x="5466" y="486"/>
                </a:lnTo>
                <a:lnTo>
                  <a:pt x="5470" y="468"/>
                </a:lnTo>
                <a:lnTo>
                  <a:pt x="5472" y="452"/>
                </a:lnTo>
                <a:lnTo>
                  <a:pt x="5472" y="438"/>
                </a:lnTo>
                <a:lnTo>
                  <a:pt x="5472" y="422"/>
                </a:lnTo>
                <a:lnTo>
                  <a:pt x="5470" y="404"/>
                </a:lnTo>
                <a:lnTo>
                  <a:pt x="5466" y="388"/>
                </a:lnTo>
                <a:lnTo>
                  <a:pt x="5460" y="370"/>
                </a:lnTo>
                <a:lnTo>
                  <a:pt x="5454" y="354"/>
                </a:lnTo>
                <a:lnTo>
                  <a:pt x="5446" y="336"/>
                </a:lnTo>
                <a:lnTo>
                  <a:pt x="5436" y="320"/>
                </a:lnTo>
                <a:lnTo>
                  <a:pt x="5424" y="306"/>
                </a:lnTo>
                <a:lnTo>
                  <a:pt x="5410" y="292"/>
                </a:lnTo>
                <a:lnTo>
                  <a:pt x="5394" y="278"/>
                </a:lnTo>
                <a:lnTo>
                  <a:pt x="5376" y="266"/>
                </a:lnTo>
                <a:lnTo>
                  <a:pt x="5356" y="256"/>
                </a:lnTo>
                <a:lnTo>
                  <a:pt x="5334" y="248"/>
                </a:lnTo>
                <a:lnTo>
                  <a:pt x="5310" y="242"/>
                </a:lnTo>
                <a:lnTo>
                  <a:pt x="5282" y="238"/>
                </a:lnTo>
                <a:lnTo>
                  <a:pt x="5252" y="236"/>
                </a:lnTo>
                <a:lnTo>
                  <a:pt x="4938" y="236"/>
                </a:lnTo>
                <a:lnTo>
                  <a:pt x="4886" y="238"/>
                </a:lnTo>
                <a:lnTo>
                  <a:pt x="4840" y="246"/>
                </a:lnTo>
                <a:lnTo>
                  <a:pt x="4796" y="256"/>
                </a:lnTo>
                <a:lnTo>
                  <a:pt x="4758" y="270"/>
                </a:lnTo>
                <a:lnTo>
                  <a:pt x="4724" y="286"/>
                </a:lnTo>
                <a:lnTo>
                  <a:pt x="4692" y="306"/>
                </a:lnTo>
                <a:lnTo>
                  <a:pt x="4664" y="328"/>
                </a:lnTo>
                <a:lnTo>
                  <a:pt x="4640" y="354"/>
                </a:lnTo>
                <a:lnTo>
                  <a:pt x="4620" y="380"/>
                </a:lnTo>
                <a:lnTo>
                  <a:pt x="4602" y="408"/>
                </a:lnTo>
                <a:lnTo>
                  <a:pt x="4588" y="438"/>
                </a:lnTo>
                <a:lnTo>
                  <a:pt x="4578" y="468"/>
                </a:lnTo>
                <a:lnTo>
                  <a:pt x="4568" y="498"/>
                </a:lnTo>
                <a:lnTo>
                  <a:pt x="4562" y="528"/>
                </a:lnTo>
                <a:lnTo>
                  <a:pt x="4560" y="560"/>
                </a:lnTo>
                <a:lnTo>
                  <a:pt x="4558" y="590"/>
                </a:lnTo>
                <a:lnTo>
                  <a:pt x="4560" y="622"/>
                </a:lnTo>
                <a:lnTo>
                  <a:pt x="4564" y="654"/>
                </a:lnTo>
                <a:lnTo>
                  <a:pt x="4570" y="686"/>
                </a:lnTo>
                <a:lnTo>
                  <a:pt x="4578" y="718"/>
                </a:lnTo>
                <a:lnTo>
                  <a:pt x="4592" y="748"/>
                </a:lnTo>
                <a:lnTo>
                  <a:pt x="4606" y="778"/>
                </a:lnTo>
                <a:lnTo>
                  <a:pt x="4624" y="804"/>
                </a:lnTo>
                <a:lnTo>
                  <a:pt x="4646" y="830"/>
                </a:lnTo>
                <a:lnTo>
                  <a:pt x="4670" y="854"/>
                </a:lnTo>
                <a:lnTo>
                  <a:pt x="4698" y="876"/>
                </a:lnTo>
                <a:lnTo>
                  <a:pt x="4728" y="896"/>
                </a:lnTo>
                <a:lnTo>
                  <a:pt x="4764" y="912"/>
                </a:lnTo>
                <a:lnTo>
                  <a:pt x="4802" y="924"/>
                </a:lnTo>
                <a:lnTo>
                  <a:pt x="4842" y="934"/>
                </a:lnTo>
                <a:lnTo>
                  <a:pt x="4888" y="940"/>
                </a:lnTo>
                <a:lnTo>
                  <a:pt x="4938" y="942"/>
                </a:lnTo>
                <a:lnTo>
                  <a:pt x="5454" y="942"/>
                </a:lnTo>
                <a:lnTo>
                  <a:pt x="5454" y="922"/>
                </a:lnTo>
                <a:close/>
                <a:moveTo>
                  <a:pt x="4946" y="334"/>
                </a:moveTo>
                <a:lnTo>
                  <a:pt x="4946" y="334"/>
                </a:lnTo>
                <a:lnTo>
                  <a:pt x="5238" y="334"/>
                </a:lnTo>
                <a:lnTo>
                  <a:pt x="5256" y="336"/>
                </a:lnTo>
                <a:lnTo>
                  <a:pt x="5272" y="338"/>
                </a:lnTo>
                <a:lnTo>
                  <a:pt x="5286" y="340"/>
                </a:lnTo>
                <a:lnTo>
                  <a:pt x="5300" y="344"/>
                </a:lnTo>
                <a:lnTo>
                  <a:pt x="5312" y="350"/>
                </a:lnTo>
                <a:lnTo>
                  <a:pt x="5322" y="356"/>
                </a:lnTo>
                <a:lnTo>
                  <a:pt x="5330" y="364"/>
                </a:lnTo>
                <a:lnTo>
                  <a:pt x="5338" y="370"/>
                </a:lnTo>
                <a:lnTo>
                  <a:pt x="5350" y="388"/>
                </a:lnTo>
                <a:lnTo>
                  <a:pt x="5358" y="404"/>
                </a:lnTo>
                <a:lnTo>
                  <a:pt x="5362" y="422"/>
                </a:lnTo>
                <a:lnTo>
                  <a:pt x="5362" y="438"/>
                </a:lnTo>
                <a:lnTo>
                  <a:pt x="5362" y="452"/>
                </a:lnTo>
                <a:lnTo>
                  <a:pt x="5358" y="468"/>
                </a:lnTo>
                <a:lnTo>
                  <a:pt x="5350" y="486"/>
                </a:lnTo>
                <a:lnTo>
                  <a:pt x="5338" y="502"/>
                </a:lnTo>
                <a:lnTo>
                  <a:pt x="5332" y="510"/>
                </a:lnTo>
                <a:lnTo>
                  <a:pt x="5322" y="518"/>
                </a:lnTo>
                <a:lnTo>
                  <a:pt x="5312" y="524"/>
                </a:lnTo>
                <a:lnTo>
                  <a:pt x="5300" y="530"/>
                </a:lnTo>
                <a:lnTo>
                  <a:pt x="5288" y="534"/>
                </a:lnTo>
                <a:lnTo>
                  <a:pt x="5272" y="538"/>
                </a:lnTo>
                <a:lnTo>
                  <a:pt x="5256" y="540"/>
                </a:lnTo>
                <a:lnTo>
                  <a:pt x="5238" y="540"/>
                </a:lnTo>
                <a:lnTo>
                  <a:pt x="4670" y="540"/>
                </a:lnTo>
                <a:lnTo>
                  <a:pt x="4676" y="512"/>
                </a:lnTo>
                <a:lnTo>
                  <a:pt x="4680" y="496"/>
                </a:lnTo>
                <a:lnTo>
                  <a:pt x="4688" y="478"/>
                </a:lnTo>
                <a:lnTo>
                  <a:pt x="4696" y="462"/>
                </a:lnTo>
                <a:lnTo>
                  <a:pt x="4706" y="444"/>
                </a:lnTo>
                <a:lnTo>
                  <a:pt x="4718" y="428"/>
                </a:lnTo>
                <a:lnTo>
                  <a:pt x="4732" y="412"/>
                </a:lnTo>
                <a:lnTo>
                  <a:pt x="4750" y="396"/>
                </a:lnTo>
                <a:lnTo>
                  <a:pt x="4768" y="382"/>
                </a:lnTo>
                <a:lnTo>
                  <a:pt x="4790" y="368"/>
                </a:lnTo>
                <a:lnTo>
                  <a:pt x="4816" y="356"/>
                </a:lnTo>
                <a:lnTo>
                  <a:pt x="4844" y="348"/>
                </a:lnTo>
                <a:lnTo>
                  <a:pt x="4874" y="340"/>
                </a:lnTo>
                <a:lnTo>
                  <a:pt x="4908" y="336"/>
                </a:lnTo>
                <a:lnTo>
                  <a:pt x="4946" y="334"/>
                </a:lnTo>
                <a:close/>
                <a:moveTo>
                  <a:pt x="3760" y="898"/>
                </a:moveTo>
                <a:lnTo>
                  <a:pt x="3760" y="898"/>
                </a:lnTo>
                <a:lnTo>
                  <a:pt x="3740" y="924"/>
                </a:lnTo>
                <a:lnTo>
                  <a:pt x="3730" y="932"/>
                </a:lnTo>
                <a:lnTo>
                  <a:pt x="3720" y="940"/>
                </a:lnTo>
                <a:lnTo>
                  <a:pt x="3712" y="946"/>
                </a:lnTo>
                <a:lnTo>
                  <a:pt x="3702" y="950"/>
                </a:lnTo>
                <a:lnTo>
                  <a:pt x="3694" y="952"/>
                </a:lnTo>
                <a:lnTo>
                  <a:pt x="3684" y="952"/>
                </a:lnTo>
                <a:lnTo>
                  <a:pt x="3670" y="952"/>
                </a:lnTo>
                <a:lnTo>
                  <a:pt x="3660" y="948"/>
                </a:lnTo>
                <a:lnTo>
                  <a:pt x="3650" y="944"/>
                </a:lnTo>
                <a:lnTo>
                  <a:pt x="3642" y="938"/>
                </a:lnTo>
                <a:lnTo>
                  <a:pt x="3634" y="930"/>
                </a:lnTo>
                <a:lnTo>
                  <a:pt x="3624" y="920"/>
                </a:lnTo>
                <a:lnTo>
                  <a:pt x="3606" y="898"/>
                </a:lnTo>
                <a:lnTo>
                  <a:pt x="3124" y="236"/>
                </a:lnTo>
                <a:lnTo>
                  <a:pt x="3188" y="236"/>
                </a:lnTo>
                <a:lnTo>
                  <a:pt x="3212" y="238"/>
                </a:lnTo>
                <a:lnTo>
                  <a:pt x="3232" y="240"/>
                </a:lnTo>
                <a:lnTo>
                  <a:pt x="3250" y="246"/>
                </a:lnTo>
                <a:lnTo>
                  <a:pt x="3264" y="254"/>
                </a:lnTo>
                <a:lnTo>
                  <a:pt x="3276" y="264"/>
                </a:lnTo>
                <a:lnTo>
                  <a:pt x="3286" y="274"/>
                </a:lnTo>
                <a:lnTo>
                  <a:pt x="3308" y="302"/>
                </a:lnTo>
                <a:lnTo>
                  <a:pt x="3686" y="836"/>
                </a:lnTo>
                <a:lnTo>
                  <a:pt x="4066" y="300"/>
                </a:lnTo>
                <a:lnTo>
                  <a:pt x="4086" y="274"/>
                </a:lnTo>
                <a:lnTo>
                  <a:pt x="4098" y="262"/>
                </a:lnTo>
                <a:lnTo>
                  <a:pt x="4110" y="254"/>
                </a:lnTo>
                <a:lnTo>
                  <a:pt x="4124" y="246"/>
                </a:lnTo>
                <a:lnTo>
                  <a:pt x="4140" y="240"/>
                </a:lnTo>
                <a:lnTo>
                  <a:pt x="4160" y="238"/>
                </a:lnTo>
                <a:lnTo>
                  <a:pt x="4184" y="236"/>
                </a:lnTo>
                <a:lnTo>
                  <a:pt x="4242" y="236"/>
                </a:lnTo>
                <a:lnTo>
                  <a:pt x="3760" y="898"/>
                </a:lnTo>
                <a:close/>
                <a:moveTo>
                  <a:pt x="1002" y="942"/>
                </a:moveTo>
                <a:lnTo>
                  <a:pt x="1002" y="942"/>
                </a:lnTo>
                <a:lnTo>
                  <a:pt x="986" y="940"/>
                </a:lnTo>
                <a:lnTo>
                  <a:pt x="972" y="938"/>
                </a:lnTo>
                <a:lnTo>
                  <a:pt x="960" y="932"/>
                </a:lnTo>
                <a:lnTo>
                  <a:pt x="948" y="926"/>
                </a:lnTo>
                <a:lnTo>
                  <a:pt x="938" y="916"/>
                </a:lnTo>
                <a:lnTo>
                  <a:pt x="932" y="904"/>
                </a:lnTo>
                <a:lnTo>
                  <a:pt x="926" y="890"/>
                </a:lnTo>
                <a:lnTo>
                  <a:pt x="922" y="874"/>
                </a:lnTo>
                <a:lnTo>
                  <a:pt x="906" y="796"/>
                </a:lnTo>
                <a:lnTo>
                  <a:pt x="894" y="816"/>
                </a:lnTo>
                <a:lnTo>
                  <a:pt x="876" y="838"/>
                </a:lnTo>
                <a:lnTo>
                  <a:pt x="850" y="862"/>
                </a:lnTo>
                <a:lnTo>
                  <a:pt x="836" y="874"/>
                </a:lnTo>
                <a:lnTo>
                  <a:pt x="818" y="886"/>
                </a:lnTo>
                <a:lnTo>
                  <a:pt x="798" y="898"/>
                </a:lnTo>
                <a:lnTo>
                  <a:pt x="778" y="908"/>
                </a:lnTo>
                <a:lnTo>
                  <a:pt x="754" y="918"/>
                </a:lnTo>
                <a:lnTo>
                  <a:pt x="728" y="926"/>
                </a:lnTo>
                <a:lnTo>
                  <a:pt x="700" y="932"/>
                </a:lnTo>
                <a:lnTo>
                  <a:pt x="670" y="938"/>
                </a:lnTo>
                <a:lnTo>
                  <a:pt x="638" y="940"/>
                </a:lnTo>
                <a:lnTo>
                  <a:pt x="604" y="942"/>
                </a:lnTo>
                <a:lnTo>
                  <a:pt x="384" y="942"/>
                </a:lnTo>
                <a:lnTo>
                  <a:pt x="356" y="942"/>
                </a:lnTo>
                <a:lnTo>
                  <a:pt x="330" y="940"/>
                </a:lnTo>
                <a:lnTo>
                  <a:pt x="306" y="936"/>
                </a:lnTo>
                <a:lnTo>
                  <a:pt x="282" y="932"/>
                </a:lnTo>
                <a:lnTo>
                  <a:pt x="258" y="928"/>
                </a:lnTo>
                <a:lnTo>
                  <a:pt x="238" y="922"/>
                </a:lnTo>
                <a:lnTo>
                  <a:pt x="198" y="908"/>
                </a:lnTo>
                <a:lnTo>
                  <a:pt x="162" y="890"/>
                </a:lnTo>
                <a:lnTo>
                  <a:pt x="130" y="870"/>
                </a:lnTo>
                <a:lnTo>
                  <a:pt x="104" y="846"/>
                </a:lnTo>
                <a:lnTo>
                  <a:pt x="80" y="822"/>
                </a:lnTo>
                <a:lnTo>
                  <a:pt x="60" y="794"/>
                </a:lnTo>
                <a:lnTo>
                  <a:pt x="42" y="766"/>
                </a:lnTo>
                <a:lnTo>
                  <a:pt x="28" y="738"/>
                </a:lnTo>
                <a:lnTo>
                  <a:pt x="18" y="708"/>
                </a:lnTo>
                <a:lnTo>
                  <a:pt x="10" y="678"/>
                </a:lnTo>
                <a:lnTo>
                  <a:pt x="4" y="648"/>
                </a:lnTo>
                <a:lnTo>
                  <a:pt x="2" y="618"/>
                </a:lnTo>
                <a:lnTo>
                  <a:pt x="0" y="590"/>
                </a:lnTo>
                <a:lnTo>
                  <a:pt x="2" y="558"/>
                </a:lnTo>
                <a:lnTo>
                  <a:pt x="4" y="526"/>
                </a:lnTo>
                <a:lnTo>
                  <a:pt x="12" y="494"/>
                </a:lnTo>
                <a:lnTo>
                  <a:pt x="20" y="462"/>
                </a:lnTo>
                <a:lnTo>
                  <a:pt x="32" y="432"/>
                </a:lnTo>
                <a:lnTo>
                  <a:pt x="46" y="404"/>
                </a:lnTo>
                <a:lnTo>
                  <a:pt x="64" y="376"/>
                </a:lnTo>
                <a:lnTo>
                  <a:pt x="86" y="350"/>
                </a:lnTo>
                <a:lnTo>
                  <a:pt x="110" y="326"/>
                </a:lnTo>
                <a:lnTo>
                  <a:pt x="138" y="304"/>
                </a:lnTo>
                <a:lnTo>
                  <a:pt x="170" y="284"/>
                </a:lnTo>
                <a:lnTo>
                  <a:pt x="204" y="268"/>
                </a:lnTo>
                <a:lnTo>
                  <a:pt x="244" y="254"/>
                </a:lnTo>
                <a:lnTo>
                  <a:pt x="286" y="244"/>
                </a:lnTo>
                <a:lnTo>
                  <a:pt x="332" y="238"/>
                </a:lnTo>
                <a:lnTo>
                  <a:pt x="384" y="236"/>
                </a:lnTo>
                <a:lnTo>
                  <a:pt x="604" y="236"/>
                </a:lnTo>
                <a:lnTo>
                  <a:pt x="642" y="238"/>
                </a:lnTo>
                <a:lnTo>
                  <a:pt x="680" y="242"/>
                </a:lnTo>
                <a:lnTo>
                  <a:pt x="714" y="248"/>
                </a:lnTo>
                <a:lnTo>
                  <a:pt x="746" y="258"/>
                </a:lnTo>
                <a:lnTo>
                  <a:pt x="776" y="270"/>
                </a:lnTo>
                <a:lnTo>
                  <a:pt x="804" y="284"/>
                </a:lnTo>
                <a:lnTo>
                  <a:pt x="830" y="300"/>
                </a:lnTo>
                <a:lnTo>
                  <a:pt x="854" y="318"/>
                </a:lnTo>
                <a:lnTo>
                  <a:pt x="876" y="338"/>
                </a:lnTo>
                <a:lnTo>
                  <a:pt x="894" y="358"/>
                </a:lnTo>
                <a:lnTo>
                  <a:pt x="912" y="382"/>
                </a:lnTo>
                <a:lnTo>
                  <a:pt x="926" y="406"/>
                </a:lnTo>
                <a:lnTo>
                  <a:pt x="940" y="432"/>
                </a:lnTo>
                <a:lnTo>
                  <a:pt x="950" y="458"/>
                </a:lnTo>
                <a:lnTo>
                  <a:pt x="958" y="484"/>
                </a:lnTo>
                <a:lnTo>
                  <a:pt x="966" y="514"/>
                </a:lnTo>
                <a:lnTo>
                  <a:pt x="1046" y="942"/>
                </a:lnTo>
                <a:lnTo>
                  <a:pt x="1002" y="942"/>
                </a:lnTo>
                <a:close/>
                <a:moveTo>
                  <a:pt x="580" y="334"/>
                </a:moveTo>
                <a:lnTo>
                  <a:pt x="580" y="334"/>
                </a:lnTo>
                <a:lnTo>
                  <a:pt x="392" y="334"/>
                </a:lnTo>
                <a:lnTo>
                  <a:pt x="354" y="336"/>
                </a:lnTo>
                <a:lnTo>
                  <a:pt x="318" y="340"/>
                </a:lnTo>
                <a:lnTo>
                  <a:pt x="286" y="348"/>
                </a:lnTo>
                <a:lnTo>
                  <a:pt x="258" y="358"/>
                </a:lnTo>
                <a:lnTo>
                  <a:pt x="232" y="370"/>
                </a:lnTo>
                <a:lnTo>
                  <a:pt x="210" y="384"/>
                </a:lnTo>
                <a:lnTo>
                  <a:pt x="188" y="400"/>
                </a:lnTo>
                <a:lnTo>
                  <a:pt x="170" y="416"/>
                </a:lnTo>
                <a:lnTo>
                  <a:pt x="156" y="436"/>
                </a:lnTo>
                <a:lnTo>
                  <a:pt x="142" y="456"/>
                </a:lnTo>
                <a:lnTo>
                  <a:pt x="132" y="476"/>
                </a:lnTo>
                <a:lnTo>
                  <a:pt x="122" y="498"/>
                </a:lnTo>
                <a:lnTo>
                  <a:pt x="116" y="520"/>
                </a:lnTo>
                <a:lnTo>
                  <a:pt x="112" y="544"/>
                </a:lnTo>
                <a:lnTo>
                  <a:pt x="110" y="566"/>
                </a:lnTo>
                <a:lnTo>
                  <a:pt x="108" y="590"/>
                </a:lnTo>
                <a:lnTo>
                  <a:pt x="110" y="612"/>
                </a:lnTo>
                <a:lnTo>
                  <a:pt x="112" y="636"/>
                </a:lnTo>
                <a:lnTo>
                  <a:pt x="116" y="658"/>
                </a:lnTo>
                <a:lnTo>
                  <a:pt x="122" y="680"/>
                </a:lnTo>
                <a:lnTo>
                  <a:pt x="132" y="702"/>
                </a:lnTo>
                <a:lnTo>
                  <a:pt x="142" y="724"/>
                </a:lnTo>
                <a:lnTo>
                  <a:pt x="156" y="744"/>
                </a:lnTo>
                <a:lnTo>
                  <a:pt x="170" y="762"/>
                </a:lnTo>
                <a:lnTo>
                  <a:pt x="188" y="780"/>
                </a:lnTo>
                <a:lnTo>
                  <a:pt x="210" y="796"/>
                </a:lnTo>
                <a:lnTo>
                  <a:pt x="232" y="810"/>
                </a:lnTo>
                <a:lnTo>
                  <a:pt x="258" y="822"/>
                </a:lnTo>
                <a:lnTo>
                  <a:pt x="286" y="830"/>
                </a:lnTo>
                <a:lnTo>
                  <a:pt x="318" y="838"/>
                </a:lnTo>
                <a:lnTo>
                  <a:pt x="354" y="842"/>
                </a:lnTo>
                <a:lnTo>
                  <a:pt x="392" y="844"/>
                </a:lnTo>
                <a:lnTo>
                  <a:pt x="580" y="844"/>
                </a:lnTo>
                <a:lnTo>
                  <a:pt x="618" y="842"/>
                </a:lnTo>
                <a:lnTo>
                  <a:pt x="654" y="838"/>
                </a:lnTo>
                <a:lnTo>
                  <a:pt x="688" y="830"/>
                </a:lnTo>
                <a:lnTo>
                  <a:pt x="716" y="820"/>
                </a:lnTo>
                <a:lnTo>
                  <a:pt x="744" y="808"/>
                </a:lnTo>
                <a:lnTo>
                  <a:pt x="766" y="794"/>
                </a:lnTo>
                <a:lnTo>
                  <a:pt x="786" y="778"/>
                </a:lnTo>
                <a:lnTo>
                  <a:pt x="804" y="760"/>
                </a:lnTo>
                <a:lnTo>
                  <a:pt x="820" y="740"/>
                </a:lnTo>
                <a:lnTo>
                  <a:pt x="832" y="720"/>
                </a:lnTo>
                <a:lnTo>
                  <a:pt x="842" y="700"/>
                </a:lnTo>
                <a:lnTo>
                  <a:pt x="850" y="678"/>
                </a:lnTo>
                <a:lnTo>
                  <a:pt x="856" y="656"/>
                </a:lnTo>
                <a:lnTo>
                  <a:pt x="860" y="634"/>
                </a:lnTo>
                <a:lnTo>
                  <a:pt x="864" y="610"/>
                </a:lnTo>
                <a:lnTo>
                  <a:pt x="864" y="590"/>
                </a:lnTo>
                <a:lnTo>
                  <a:pt x="864" y="570"/>
                </a:lnTo>
                <a:lnTo>
                  <a:pt x="862" y="548"/>
                </a:lnTo>
                <a:lnTo>
                  <a:pt x="858" y="528"/>
                </a:lnTo>
                <a:lnTo>
                  <a:pt x="852" y="506"/>
                </a:lnTo>
                <a:lnTo>
                  <a:pt x="844" y="484"/>
                </a:lnTo>
                <a:lnTo>
                  <a:pt x="834" y="464"/>
                </a:lnTo>
                <a:lnTo>
                  <a:pt x="822" y="444"/>
                </a:lnTo>
                <a:lnTo>
                  <a:pt x="806" y="424"/>
                </a:lnTo>
                <a:lnTo>
                  <a:pt x="790" y="406"/>
                </a:lnTo>
                <a:lnTo>
                  <a:pt x="770" y="388"/>
                </a:lnTo>
                <a:lnTo>
                  <a:pt x="746" y="372"/>
                </a:lnTo>
                <a:lnTo>
                  <a:pt x="720" y="360"/>
                </a:lnTo>
                <a:lnTo>
                  <a:pt x="690" y="350"/>
                </a:lnTo>
                <a:lnTo>
                  <a:pt x="656" y="342"/>
                </a:lnTo>
                <a:lnTo>
                  <a:pt x="620" y="336"/>
                </a:lnTo>
                <a:lnTo>
                  <a:pt x="580" y="334"/>
                </a:lnTo>
                <a:close/>
                <a:moveTo>
                  <a:pt x="4384" y="156"/>
                </a:moveTo>
                <a:lnTo>
                  <a:pt x="4384" y="156"/>
                </a:lnTo>
                <a:lnTo>
                  <a:pt x="4394" y="154"/>
                </a:lnTo>
                <a:lnTo>
                  <a:pt x="4404" y="152"/>
                </a:lnTo>
                <a:lnTo>
                  <a:pt x="4414" y="148"/>
                </a:lnTo>
                <a:lnTo>
                  <a:pt x="4422" y="142"/>
                </a:lnTo>
                <a:lnTo>
                  <a:pt x="4430" y="134"/>
                </a:lnTo>
                <a:lnTo>
                  <a:pt x="4434" y="124"/>
                </a:lnTo>
                <a:lnTo>
                  <a:pt x="4438" y="112"/>
                </a:lnTo>
                <a:lnTo>
                  <a:pt x="4438" y="100"/>
                </a:lnTo>
                <a:lnTo>
                  <a:pt x="4438" y="76"/>
                </a:lnTo>
                <a:lnTo>
                  <a:pt x="4438" y="64"/>
                </a:lnTo>
                <a:lnTo>
                  <a:pt x="4434" y="52"/>
                </a:lnTo>
                <a:lnTo>
                  <a:pt x="4430" y="42"/>
                </a:lnTo>
                <a:lnTo>
                  <a:pt x="4422" y="34"/>
                </a:lnTo>
                <a:lnTo>
                  <a:pt x="4414" y="28"/>
                </a:lnTo>
                <a:lnTo>
                  <a:pt x="4404" y="24"/>
                </a:lnTo>
                <a:lnTo>
                  <a:pt x="4394" y="22"/>
                </a:lnTo>
                <a:lnTo>
                  <a:pt x="4384" y="20"/>
                </a:lnTo>
                <a:lnTo>
                  <a:pt x="4372" y="22"/>
                </a:lnTo>
                <a:lnTo>
                  <a:pt x="4362" y="24"/>
                </a:lnTo>
                <a:lnTo>
                  <a:pt x="4352" y="28"/>
                </a:lnTo>
                <a:lnTo>
                  <a:pt x="4344" y="34"/>
                </a:lnTo>
                <a:lnTo>
                  <a:pt x="4338" y="42"/>
                </a:lnTo>
                <a:lnTo>
                  <a:pt x="4332" y="52"/>
                </a:lnTo>
                <a:lnTo>
                  <a:pt x="4328" y="64"/>
                </a:lnTo>
                <a:lnTo>
                  <a:pt x="4328" y="76"/>
                </a:lnTo>
                <a:lnTo>
                  <a:pt x="4328" y="100"/>
                </a:lnTo>
                <a:lnTo>
                  <a:pt x="4328" y="112"/>
                </a:lnTo>
                <a:lnTo>
                  <a:pt x="4332" y="124"/>
                </a:lnTo>
                <a:lnTo>
                  <a:pt x="4336" y="134"/>
                </a:lnTo>
                <a:lnTo>
                  <a:pt x="4344" y="142"/>
                </a:lnTo>
                <a:lnTo>
                  <a:pt x="4352" y="148"/>
                </a:lnTo>
                <a:lnTo>
                  <a:pt x="4362" y="152"/>
                </a:lnTo>
                <a:lnTo>
                  <a:pt x="4372" y="154"/>
                </a:lnTo>
                <a:lnTo>
                  <a:pt x="4384" y="156"/>
                </a:lnTo>
                <a:close/>
                <a:moveTo>
                  <a:pt x="4328" y="236"/>
                </a:moveTo>
                <a:lnTo>
                  <a:pt x="4328" y="236"/>
                </a:lnTo>
                <a:lnTo>
                  <a:pt x="4354" y="236"/>
                </a:lnTo>
                <a:lnTo>
                  <a:pt x="4372" y="238"/>
                </a:lnTo>
                <a:lnTo>
                  <a:pt x="4388" y="242"/>
                </a:lnTo>
                <a:lnTo>
                  <a:pt x="4402" y="248"/>
                </a:lnTo>
                <a:lnTo>
                  <a:pt x="4414" y="256"/>
                </a:lnTo>
                <a:lnTo>
                  <a:pt x="4424" y="268"/>
                </a:lnTo>
                <a:lnTo>
                  <a:pt x="4432" y="284"/>
                </a:lnTo>
                <a:lnTo>
                  <a:pt x="4436" y="304"/>
                </a:lnTo>
                <a:lnTo>
                  <a:pt x="4438" y="328"/>
                </a:lnTo>
                <a:lnTo>
                  <a:pt x="4438" y="942"/>
                </a:lnTo>
                <a:lnTo>
                  <a:pt x="4410" y="942"/>
                </a:lnTo>
                <a:lnTo>
                  <a:pt x="4390" y="940"/>
                </a:lnTo>
                <a:lnTo>
                  <a:pt x="4374" y="936"/>
                </a:lnTo>
                <a:lnTo>
                  <a:pt x="4360" y="930"/>
                </a:lnTo>
                <a:lnTo>
                  <a:pt x="4348" y="920"/>
                </a:lnTo>
                <a:lnTo>
                  <a:pt x="4340" y="908"/>
                </a:lnTo>
                <a:lnTo>
                  <a:pt x="4334" y="892"/>
                </a:lnTo>
                <a:lnTo>
                  <a:pt x="4330" y="874"/>
                </a:lnTo>
                <a:lnTo>
                  <a:pt x="4328" y="852"/>
                </a:lnTo>
                <a:lnTo>
                  <a:pt x="4328" y="236"/>
                </a:lnTo>
                <a:close/>
                <a:moveTo>
                  <a:pt x="1210" y="328"/>
                </a:moveTo>
                <a:lnTo>
                  <a:pt x="1210" y="328"/>
                </a:lnTo>
                <a:lnTo>
                  <a:pt x="1230" y="312"/>
                </a:lnTo>
                <a:lnTo>
                  <a:pt x="1252" y="296"/>
                </a:lnTo>
                <a:lnTo>
                  <a:pt x="1280" y="280"/>
                </a:lnTo>
                <a:lnTo>
                  <a:pt x="1310" y="266"/>
                </a:lnTo>
                <a:lnTo>
                  <a:pt x="1344" y="254"/>
                </a:lnTo>
                <a:lnTo>
                  <a:pt x="1382" y="244"/>
                </a:lnTo>
                <a:lnTo>
                  <a:pt x="1424" y="238"/>
                </a:lnTo>
                <a:lnTo>
                  <a:pt x="1472" y="236"/>
                </a:lnTo>
                <a:lnTo>
                  <a:pt x="1692" y="236"/>
                </a:lnTo>
                <a:lnTo>
                  <a:pt x="1718" y="238"/>
                </a:lnTo>
                <a:lnTo>
                  <a:pt x="1744" y="238"/>
                </a:lnTo>
                <a:lnTo>
                  <a:pt x="1770" y="242"/>
                </a:lnTo>
                <a:lnTo>
                  <a:pt x="1794" y="246"/>
                </a:lnTo>
                <a:lnTo>
                  <a:pt x="1816" y="250"/>
                </a:lnTo>
                <a:lnTo>
                  <a:pt x="1838" y="256"/>
                </a:lnTo>
                <a:lnTo>
                  <a:pt x="1878" y="270"/>
                </a:lnTo>
                <a:lnTo>
                  <a:pt x="1912" y="288"/>
                </a:lnTo>
                <a:lnTo>
                  <a:pt x="1944" y="308"/>
                </a:lnTo>
                <a:lnTo>
                  <a:pt x="1972" y="332"/>
                </a:lnTo>
                <a:lnTo>
                  <a:pt x="1996" y="356"/>
                </a:lnTo>
                <a:lnTo>
                  <a:pt x="2016" y="384"/>
                </a:lnTo>
                <a:lnTo>
                  <a:pt x="2032" y="412"/>
                </a:lnTo>
                <a:lnTo>
                  <a:pt x="2046" y="440"/>
                </a:lnTo>
                <a:lnTo>
                  <a:pt x="2058" y="470"/>
                </a:lnTo>
                <a:lnTo>
                  <a:pt x="2066" y="500"/>
                </a:lnTo>
                <a:lnTo>
                  <a:pt x="2070" y="530"/>
                </a:lnTo>
                <a:lnTo>
                  <a:pt x="2074" y="560"/>
                </a:lnTo>
                <a:lnTo>
                  <a:pt x="2074" y="590"/>
                </a:lnTo>
                <a:lnTo>
                  <a:pt x="2074" y="620"/>
                </a:lnTo>
                <a:lnTo>
                  <a:pt x="2070" y="652"/>
                </a:lnTo>
                <a:lnTo>
                  <a:pt x="2064" y="684"/>
                </a:lnTo>
                <a:lnTo>
                  <a:pt x="2054" y="716"/>
                </a:lnTo>
                <a:lnTo>
                  <a:pt x="2042" y="746"/>
                </a:lnTo>
                <a:lnTo>
                  <a:pt x="2028" y="774"/>
                </a:lnTo>
                <a:lnTo>
                  <a:pt x="2010" y="802"/>
                </a:lnTo>
                <a:lnTo>
                  <a:pt x="1988" y="828"/>
                </a:lnTo>
                <a:lnTo>
                  <a:pt x="1964" y="852"/>
                </a:lnTo>
                <a:lnTo>
                  <a:pt x="1936" y="874"/>
                </a:lnTo>
                <a:lnTo>
                  <a:pt x="1906" y="894"/>
                </a:lnTo>
                <a:lnTo>
                  <a:pt x="1870" y="910"/>
                </a:lnTo>
                <a:lnTo>
                  <a:pt x="1832" y="924"/>
                </a:lnTo>
                <a:lnTo>
                  <a:pt x="1788" y="934"/>
                </a:lnTo>
                <a:lnTo>
                  <a:pt x="1742" y="940"/>
                </a:lnTo>
                <a:lnTo>
                  <a:pt x="1692" y="942"/>
                </a:lnTo>
                <a:lnTo>
                  <a:pt x="1472" y="942"/>
                </a:lnTo>
                <a:lnTo>
                  <a:pt x="1432" y="940"/>
                </a:lnTo>
                <a:lnTo>
                  <a:pt x="1394" y="936"/>
                </a:lnTo>
                <a:lnTo>
                  <a:pt x="1358" y="928"/>
                </a:lnTo>
                <a:lnTo>
                  <a:pt x="1324" y="916"/>
                </a:lnTo>
                <a:lnTo>
                  <a:pt x="1290" y="904"/>
                </a:lnTo>
                <a:lnTo>
                  <a:pt x="1260" y="886"/>
                </a:lnTo>
                <a:lnTo>
                  <a:pt x="1232" y="868"/>
                </a:lnTo>
                <a:lnTo>
                  <a:pt x="1206" y="846"/>
                </a:lnTo>
                <a:lnTo>
                  <a:pt x="1184" y="822"/>
                </a:lnTo>
                <a:lnTo>
                  <a:pt x="1162" y="796"/>
                </a:lnTo>
                <a:lnTo>
                  <a:pt x="1144" y="766"/>
                </a:lnTo>
                <a:lnTo>
                  <a:pt x="1130" y="734"/>
                </a:lnTo>
                <a:lnTo>
                  <a:pt x="1118" y="702"/>
                </a:lnTo>
                <a:lnTo>
                  <a:pt x="1110" y="666"/>
                </a:lnTo>
                <a:lnTo>
                  <a:pt x="1104" y="628"/>
                </a:lnTo>
                <a:lnTo>
                  <a:pt x="1102" y="590"/>
                </a:lnTo>
                <a:lnTo>
                  <a:pt x="1102" y="0"/>
                </a:lnTo>
                <a:lnTo>
                  <a:pt x="1136" y="0"/>
                </a:lnTo>
                <a:lnTo>
                  <a:pt x="1154" y="0"/>
                </a:lnTo>
                <a:lnTo>
                  <a:pt x="1168" y="4"/>
                </a:lnTo>
                <a:lnTo>
                  <a:pt x="1180" y="10"/>
                </a:lnTo>
                <a:lnTo>
                  <a:pt x="1192" y="18"/>
                </a:lnTo>
                <a:lnTo>
                  <a:pt x="1200" y="28"/>
                </a:lnTo>
                <a:lnTo>
                  <a:pt x="1206" y="40"/>
                </a:lnTo>
                <a:lnTo>
                  <a:pt x="1210" y="54"/>
                </a:lnTo>
                <a:lnTo>
                  <a:pt x="1210" y="70"/>
                </a:lnTo>
                <a:lnTo>
                  <a:pt x="1210" y="328"/>
                </a:lnTo>
                <a:close/>
                <a:moveTo>
                  <a:pt x="1496" y="844"/>
                </a:moveTo>
                <a:lnTo>
                  <a:pt x="1496" y="844"/>
                </a:lnTo>
                <a:lnTo>
                  <a:pt x="1684" y="844"/>
                </a:lnTo>
                <a:lnTo>
                  <a:pt x="1722" y="842"/>
                </a:lnTo>
                <a:lnTo>
                  <a:pt x="1756" y="838"/>
                </a:lnTo>
                <a:lnTo>
                  <a:pt x="1788" y="830"/>
                </a:lnTo>
                <a:lnTo>
                  <a:pt x="1816" y="820"/>
                </a:lnTo>
                <a:lnTo>
                  <a:pt x="1842" y="810"/>
                </a:lnTo>
                <a:lnTo>
                  <a:pt x="1866" y="796"/>
                </a:lnTo>
                <a:lnTo>
                  <a:pt x="1886" y="780"/>
                </a:lnTo>
                <a:lnTo>
                  <a:pt x="1904" y="762"/>
                </a:lnTo>
                <a:lnTo>
                  <a:pt x="1920" y="742"/>
                </a:lnTo>
                <a:lnTo>
                  <a:pt x="1932" y="722"/>
                </a:lnTo>
                <a:lnTo>
                  <a:pt x="1944" y="702"/>
                </a:lnTo>
                <a:lnTo>
                  <a:pt x="1952" y="680"/>
                </a:lnTo>
                <a:lnTo>
                  <a:pt x="1958" y="658"/>
                </a:lnTo>
                <a:lnTo>
                  <a:pt x="1964" y="634"/>
                </a:lnTo>
                <a:lnTo>
                  <a:pt x="1966" y="612"/>
                </a:lnTo>
                <a:lnTo>
                  <a:pt x="1966" y="590"/>
                </a:lnTo>
                <a:lnTo>
                  <a:pt x="1966" y="566"/>
                </a:lnTo>
                <a:lnTo>
                  <a:pt x="1964" y="544"/>
                </a:lnTo>
                <a:lnTo>
                  <a:pt x="1958" y="520"/>
                </a:lnTo>
                <a:lnTo>
                  <a:pt x="1952" y="498"/>
                </a:lnTo>
                <a:lnTo>
                  <a:pt x="1944" y="476"/>
                </a:lnTo>
                <a:lnTo>
                  <a:pt x="1932" y="456"/>
                </a:lnTo>
                <a:lnTo>
                  <a:pt x="1920" y="436"/>
                </a:lnTo>
                <a:lnTo>
                  <a:pt x="1904" y="416"/>
                </a:lnTo>
                <a:lnTo>
                  <a:pt x="1886" y="398"/>
                </a:lnTo>
                <a:lnTo>
                  <a:pt x="1866" y="382"/>
                </a:lnTo>
                <a:lnTo>
                  <a:pt x="1842" y="370"/>
                </a:lnTo>
                <a:lnTo>
                  <a:pt x="1816" y="358"/>
                </a:lnTo>
                <a:lnTo>
                  <a:pt x="1788" y="348"/>
                </a:lnTo>
                <a:lnTo>
                  <a:pt x="1756" y="340"/>
                </a:lnTo>
                <a:lnTo>
                  <a:pt x="1722" y="336"/>
                </a:lnTo>
                <a:lnTo>
                  <a:pt x="1684" y="334"/>
                </a:lnTo>
                <a:lnTo>
                  <a:pt x="1496" y="334"/>
                </a:lnTo>
                <a:lnTo>
                  <a:pt x="1456" y="336"/>
                </a:lnTo>
                <a:lnTo>
                  <a:pt x="1420" y="340"/>
                </a:lnTo>
                <a:lnTo>
                  <a:pt x="1388" y="348"/>
                </a:lnTo>
                <a:lnTo>
                  <a:pt x="1358" y="358"/>
                </a:lnTo>
                <a:lnTo>
                  <a:pt x="1332" y="370"/>
                </a:lnTo>
                <a:lnTo>
                  <a:pt x="1308" y="384"/>
                </a:lnTo>
                <a:lnTo>
                  <a:pt x="1288" y="402"/>
                </a:lnTo>
                <a:lnTo>
                  <a:pt x="1270" y="418"/>
                </a:lnTo>
                <a:lnTo>
                  <a:pt x="1256" y="438"/>
                </a:lnTo>
                <a:lnTo>
                  <a:pt x="1242" y="458"/>
                </a:lnTo>
                <a:lnTo>
                  <a:pt x="1232" y="480"/>
                </a:lnTo>
                <a:lnTo>
                  <a:pt x="1224" y="500"/>
                </a:lnTo>
                <a:lnTo>
                  <a:pt x="1218" y="524"/>
                </a:lnTo>
                <a:lnTo>
                  <a:pt x="1214" y="546"/>
                </a:lnTo>
                <a:lnTo>
                  <a:pt x="1212" y="568"/>
                </a:lnTo>
                <a:lnTo>
                  <a:pt x="1210" y="590"/>
                </a:lnTo>
                <a:lnTo>
                  <a:pt x="1212" y="608"/>
                </a:lnTo>
                <a:lnTo>
                  <a:pt x="1214" y="630"/>
                </a:lnTo>
                <a:lnTo>
                  <a:pt x="1218" y="650"/>
                </a:lnTo>
                <a:lnTo>
                  <a:pt x="1224" y="672"/>
                </a:lnTo>
                <a:lnTo>
                  <a:pt x="1232" y="694"/>
                </a:lnTo>
                <a:lnTo>
                  <a:pt x="1242" y="714"/>
                </a:lnTo>
                <a:lnTo>
                  <a:pt x="1254" y="736"/>
                </a:lnTo>
                <a:lnTo>
                  <a:pt x="1268" y="754"/>
                </a:lnTo>
                <a:lnTo>
                  <a:pt x="1286" y="774"/>
                </a:lnTo>
                <a:lnTo>
                  <a:pt x="1306" y="790"/>
                </a:lnTo>
                <a:lnTo>
                  <a:pt x="1328" y="806"/>
                </a:lnTo>
                <a:lnTo>
                  <a:pt x="1356" y="818"/>
                </a:lnTo>
                <a:lnTo>
                  <a:pt x="1384" y="830"/>
                </a:lnTo>
                <a:lnTo>
                  <a:pt x="1418" y="838"/>
                </a:lnTo>
                <a:lnTo>
                  <a:pt x="1456" y="842"/>
                </a:lnTo>
                <a:lnTo>
                  <a:pt x="1496" y="844"/>
                </a:lnTo>
                <a:close/>
                <a:moveTo>
                  <a:pt x="2294" y="328"/>
                </a:moveTo>
                <a:lnTo>
                  <a:pt x="2294" y="328"/>
                </a:lnTo>
                <a:lnTo>
                  <a:pt x="2312" y="312"/>
                </a:lnTo>
                <a:lnTo>
                  <a:pt x="2336" y="296"/>
                </a:lnTo>
                <a:lnTo>
                  <a:pt x="2362" y="280"/>
                </a:lnTo>
                <a:lnTo>
                  <a:pt x="2392" y="266"/>
                </a:lnTo>
                <a:lnTo>
                  <a:pt x="2426" y="254"/>
                </a:lnTo>
                <a:lnTo>
                  <a:pt x="2464" y="244"/>
                </a:lnTo>
                <a:lnTo>
                  <a:pt x="2506" y="238"/>
                </a:lnTo>
                <a:lnTo>
                  <a:pt x="2554" y="236"/>
                </a:lnTo>
                <a:lnTo>
                  <a:pt x="2774" y="236"/>
                </a:lnTo>
                <a:lnTo>
                  <a:pt x="2800" y="238"/>
                </a:lnTo>
                <a:lnTo>
                  <a:pt x="2828" y="238"/>
                </a:lnTo>
                <a:lnTo>
                  <a:pt x="2852" y="242"/>
                </a:lnTo>
                <a:lnTo>
                  <a:pt x="2876" y="246"/>
                </a:lnTo>
                <a:lnTo>
                  <a:pt x="2898" y="250"/>
                </a:lnTo>
                <a:lnTo>
                  <a:pt x="2920" y="256"/>
                </a:lnTo>
                <a:lnTo>
                  <a:pt x="2960" y="270"/>
                </a:lnTo>
                <a:lnTo>
                  <a:pt x="2996" y="288"/>
                </a:lnTo>
                <a:lnTo>
                  <a:pt x="3026" y="308"/>
                </a:lnTo>
                <a:lnTo>
                  <a:pt x="3054" y="332"/>
                </a:lnTo>
                <a:lnTo>
                  <a:pt x="3078" y="356"/>
                </a:lnTo>
                <a:lnTo>
                  <a:pt x="3098" y="384"/>
                </a:lnTo>
                <a:lnTo>
                  <a:pt x="3114" y="412"/>
                </a:lnTo>
                <a:lnTo>
                  <a:pt x="3128" y="440"/>
                </a:lnTo>
                <a:lnTo>
                  <a:pt x="3140" y="470"/>
                </a:lnTo>
                <a:lnTo>
                  <a:pt x="3148" y="500"/>
                </a:lnTo>
                <a:lnTo>
                  <a:pt x="3152" y="530"/>
                </a:lnTo>
                <a:lnTo>
                  <a:pt x="3156" y="560"/>
                </a:lnTo>
                <a:lnTo>
                  <a:pt x="3158" y="590"/>
                </a:lnTo>
                <a:lnTo>
                  <a:pt x="3156" y="620"/>
                </a:lnTo>
                <a:lnTo>
                  <a:pt x="3152" y="652"/>
                </a:lnTo>
                <a:lnTo>
                  <a:pt x="3146" y="684"/>
                </a:lnTo>
                <a:lnTo>
                  <a:pt x="3136" y="716"/>
                </a:lnTo>
                <a:lnTo>
                  <a:pt x="3126" y="746"/>
                </a:lnTo>
                <a:lnTo>
                  <a:pt x="3110" y="774"/>
                </a:lnTo>
                <a:lnTo>
                  <a:pt x="3092" y="802"/>
                </a:lnTo>
                <a:lnTo>
                  <a:pt x="3072" y="828"/>
                </a:lnTo>
                <a:lnTo>
                  <a:pt x="3046" y="852"/>
                </a:lnTo>
                <a:lnTo>
                  <a:pt x="3018" y="874"/>
                </a:lnTo>
                <a:lnTo>
                  <a:pt x="2988" y="894"/>
                </a:lnTo>
                <a:lnTo>
                  <a:pt x="2952" y="910"/>
                </a:lnTo>
                <a:lnTo>
                  <a:pt x="2914" y="924"/>
                </a:lnTo>
                <a:lnTo>
                  <a:pt x="2872" y="934"/>
                </a:lnTo>
                <a:lnTo>
                  <a:pt x="2824" y="940"/>
                </a:lnTo>
                <a:lnTo>
                  <a:pt x="2774" y="942"/>
                </a:lnTo>
                <a:lnTo>
                  <a:pt x="2554" y="942"/>
                </a:lnTo>
                <a:lnTo>
                  <a:pt x="2514" y="940"/>
                </a:lnTo>
                <a:lnTo>
                  <a:pt x="2476" y="936"/>
                </a:lnTo>
                <a:lnTo>
                  <a:pt x="2440" y="928"/>
                </a:lnTo>
                <a:lnTo>
                  <a:pt x="2406" y="916"/>
                </a:lnTo>
                <a:lnTo>
                  <a:pt x="2374" y="904"/>
                </a:lnTo>
                <a:lnTo>
                  <a:pt x="2342" y="886"/>
                </a:lnTo>
                <a:lnTo>
                  <a:pt x="2314" y="868"/>
                </a:lnTo>
                <a:lnTo>
                  <a:pt x="2288" y="846"/>
                </a:lnTo>
                <a:lnTo>
                  <a:pt x="2266" y="822"/>
                </a:lnTo>
                <a:lnTo>
                  <a:pt x="2246" y="796"/>
                </a:lnTo>
                <a:lnTo>
                  <a:pt x="2228" y="766"/>
                </a:lnTo>
                <a:lnTo>
                  <a:pt x="2212" y="734"/>
                </a:lnTo>
                <a:lnTo>
                  <a:pt x="2200" y="702"/>
                </a:lnTo>
                <a:lnTo>
                  <a:pt x="2192" y="666"/>
                </a:lnTo>
                <a:lnTo>
                  <a:pt x="2186" y="628"/>
                </a:lnTo>
                <a:lnTo>
                  <a:pt x="2184" y="590"/>
                </a:lnTo>
                <a:lnTo>
                  <a:pt x="2184" y="0"/>
                </a:lnTo>
                <a:lnTo>
                  <a:pt x="2218" y="0"/>
                </a:lnTo>
                <a:lnTo>
                  <a:pt x="2236" y="0"/>
                </a:lnTo>
                <a:lnTo>
                  <a:pt x="2250" y="4"/>
                </a:lnTo>
                <a:lnTo>
                  <a:pt x="2264" y="10"/>
                </a:lnTo>
                <a:lnTo>
                  <a:pt x="2274" y="18"/>
                </a:lnTo>
                <a:lnTo>
                  <a:pt x="2282" y="28"/>
                </a:lnTo>
                <a:lnTo>
                  <a:pt x="2288" y="40"/>
                </a:lnTo>
                <a:lnTo>
                  <a:pt x="2292" y="54"/>
                </a:lnTo>
                <a:lnTo>
                  <a:pt x="2294" y="70"/>
                </a:lnTo>
                <a:lnTo>
                  <a:pt x="2294" y="328"/>
                </a:lnTo>
                <a:close/>
                <a:moveTo>
                  <a:pt x="2578" y="844"/>
                </a:moveTo>
                <a:lnTo>
                  <a:pt x="2578" y="844"/>
                </a:lnTo>
                <a:lnTo>
                  <a:pt x="2766" y="844"/>
                </a:lnTo>
                <a:lnTo>
                  <a:pt x="2804" y="842"/>
                </a:lnTo>
                <a:lnTo>
                  <a:pt x="2838" y="838"/>
                </a:lnTo>
                <a:lnTo>
                  <a:pt x="2870" y="830"/>
                </a:lnTo>
                <a:lnTo>
                  <a:pt x="2900" y="820"/>
                </a:lnTo>
                <a:lnTo>
                  <a:pt x="2924" y="810"/>
                </a:lnTo>
                <a:lnTo>
                  <a:pt x="2948" y="796"/>
                </a:lnTo>
                <a:lnTo>
                  <a:pt x="2968" y="780"/>
                </a:lnTo>
                <a:lnTo>
                  <a:pt x="2986" y="762"/>
                </a:lnTo>
                <a:lnTo>
                  <a:pt x="3002" y="742"/>
                </a:lnTo>
                <a:lnTo>
                  <a:pt x="3014" y="722"/>
                </a:lnTo>
                <a:lnTo>
                  <a:pt x="3026" y="702"/>
                </a:lnTo>
                <a:lnTo>
                  <a:pt x="3034" y="680"/>
                </a:lnTo>
                <a:lnTo>
                  <a:pt x="3040" y="658"/>
                </a:lnTo>
                <a:lnTo>
                  <a:pt x="3046" y="634"/>
                </a:lnTo>
                <a:lnTo>
                  <a:pt x="3048" y="612"/>
                </a:lnTo>
                <a:lnTo>
                  <a:pt x="3048" y="590"/>
                </a:lnTo>
                <a:lnTo>
                  <a:pt x="3048" y="566"/>
                </a:lnTo>
                <a:lnTo>
                  <a:pt x="3046" y="544"/>
                </a:lnTo>
                <a:lnTo>
                  <a:pt x="3040" y="520"/>
                </a:lnTo>
                <a:lnTo>
                  <a:pt x="3034" y="498"/>
                </a:lnTo>
                <a:lnTo>
                  <a:pt x="3026" y="476"/>
                </a:lnTo>
                <a:lnTo>
                  <a:pt x="3014" y="456"/>
                </a:lnTo>
                <a:lnTo>
                  <a:pt x="3002" y="436"/>
                </a:lnTo>
                <a:lnTo>
                  <a:pt x="2986" y="416"/>
                </a:lnTo>
                <a:lnTo>
                  <a:pt x="2968" y="398"/>
                </a:lnTo>
                <a:lnTo>
                  <a:pt x="2948" y="382"/>
                </a:lnTo>
                <a:lnTo>
                  <a:pt x="2924" y="370"/>
                </a:lnTo>
                <a:lnTo>
                  <a:pt x="2900" y="358"/>
                </a:lnTo>
                <a:lnTo>
                  <a:pt x="2870" y="348"/>
                </a:lnTo>
                <a:lnTo>
                  <a:pt x="2838" y="340"/>
                </a:lnTo>
                <a:lnTo>
                  <a:pt x="2804" y="336"/>
                </a:lnTo>
                <a:lnTo>
                  <a:pt x="2766" y="334"/>
                </a:lnTo>
                <a:lnTo>
                  <a:pt x="2578" y="334"/>
                </a:lnTo>
                <a:lnTo>
                  <a:pt x="2538" y="336"/>
                </a:lnTo>
                <a:lnTo>
                  <a:pt x="2502" y="340"/>
                </a:lnTo>
                <a:lnTo>
                  <a:pt x="2470" y="348"/>
                </a:lnTo>
                <a:lnTo>
                  <a:pt x="2440" y="358"/>
                </a:lnTo>
                <a:lnTo>
                  <a:pt x="2414" y="370"/>
                </a:lnTo>
                <a:lnTo>
                  <a:pt x="2390" y="384"/>
                </a:lnTo>
                <a:lnTo>
                  <a:pt x="2370" y="402"/>
                </a:lnTo>
                <a:lnTo>
                  <a:pt x="2352" y="418"/>
                </a:lnTo>
                <a:lnTo>
                  <a:pt x="2338" y="438"/>
                </a:lnTo>
                <a:lnTo>
                  <a:pt x="2326" y="458"/>
                </a:lnTo>
                <a:lnTo>
                  <a:pt x="2314" y="480"/>
                </a:lnTo>
                <a:lnTo>
                  <a:pt x="2306" y="500"/>
                </a:lnTo>
                <a:lnTo>
                  <a:pt x="2300" y="524"/>
                </a:lnTo>
                <a:lnTo>
                  <a:pt x="2296" y="546"/>
                </a:lnTo>
                <a:lnTo>
                  <a:pt x="2294" y="568"/>
                </a:lnTo>
                <a:lnTo>
                  <a:pt x="2294" y="590"/>
                </a:lnTo>
                <a:lnTo>
                  <a:pt x="2294" y="608"/>
                </a:lnTo>
                <a:lnTo>
                  <a:pt x="2296" y="630"/>
                </a:lnTo>
                <a:lnTo>
                  <a:pt x="2300" y="650"/>
                </a:lnTo>
                <a:lnTo>
                  <a:pt x="2306" y="672"/>
                </a:lnTo>
                <a:lnTo>
                  <a:pt x="2314" y="694"/>
                </a:lnTo>
                <a:lnTo>
                  <a:pt x="2324" y="714"/>
                </a:lnTo>
                <a:lnTo>
                  <a:pt x="2336" y="736"/>
                </a:lnTo>
                <a:lnTo>
                  <a:pt x="2350" y="754"/>
                </a:lnTo>
                <a:lnTo>
                  <a:pt x="2368" y="774"/>
                </a:lnTo>
                <a:lnTo>
                  <a:pt x="2388" y="790"/>
                </a:lnTo>
                <a:lnTo>
                  <a:pt x="2412" y="806"/>
                </a:lnTo>
                <a:lnTo>
                  <a:pt x="2438" y="818"/>
                </a:lnTo>
                <a:lnTo>
                  <a:pt x="2468" y="830"/>
                </a:lnTo>
                <a:lnTo>
                  <a:pt x="2500" y="838"/>
                </a:lnTo>
                <a:lnTo>
                  <a:pt x="2538" y="842"/>
                </a:lnTo>
                <a:lnTo>
                  <a:pt x="2578" y="8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0" hangingPunct="0"/>
            <a:endParaRPr lang="en-GB" sz="1800" b="0" dirty="0">
              <a:solidFill>
                <a:srgbClr val="071D49"/>
              </a:solidFill>
              <a:latin typeface="Calibri"/>
              <a:ea typeface="ＭＳ Ｐゴシック" panose="020B0600070205080204" pitchFamily="34" charset="-128"/>
              <a:cs typeface="+mn-cs"/>
            </a:endParaRPr>
          </a:p>
        </p:txBody>
      </p:sp>
      <p:sp>
        <p:nvSpPr>
          <p:cNvPr id="18" name="Line 8"/>
          <p:cNvSpPr>
            <a:spLocks noChangeShapeType="1"/>
          </p:cNvSpPr>
          <p:nvPr/>
        </p:nvSpPr>
        <p:spPr bwMode="auto">
          <a:xfrm>
            <a:off x="464346" y="958850"/>
            <a:ext cx="9822657" cy="0"/>
          </a:xfrm>
          <a:prstGeom prst="line">
            <a:avLst/>
          </a:prstGeom>
          <a:noFill/>
          <a:ln w="9525">
            <a:solidFill>
              <a:srgbClr val="071D4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fontAlgn="auto">
              <a:spcBef>
                <a:spcPts val="0"/>
              </a:spcBef>
              <a:spcAft>
                <a:spcPts val="0"/>
              </a:spcAft>
              <a:defRPr/>
            </a:pPr>
            <a:endParaRPr lang="en-US" sz="1800" b="0" dirty="0">
              <a:solidFill>
                <a:srgbClr val="071D49"/>
              </a:solidFill>
              <a:latin typeface="Calibri"/>
              <a:ea typeface="ＭＳ Ｐゴシック" charset="0"/>
              <a:cs typeface="+mn-cs"/>
            </a:endParaRPr>
          </a:p>
        </p:txBody>
      </p:sp>
    </p:spTree>
    <p:extLst>
      <p:ext uri="{BB962C8B-B14F-4D97-AF65-F5344CB8AC3E}">
        <p14:creationId xmlns:p14="http://schemas.microsoft.com/office/powerpoint/2010/main" val="215395061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Lst>
  <p:transition/>
  <p:txStyles>
    <p:titleStyle>
      <a:lvl1pPr algn="l" rtl="0" eaLnBrk="0" fontAlgn="base" hangingPunct="0">
        <a:lnSpc>
          <a:spcPct val="90000"/>
        </a:lnSpc>
        <a:spcBef>
          <a:spcPct val="0"/>
        </a:spcBef>
        <a:spcAft>
          <a:spcPct val="0"/>
        </a:spcAft>
        <a:defRPr sz="2400">
          <a:solidFill>
            <a:schemeClr val="tx1"/>
          </a:solidFill>
          <a:latin typeface="+mj-lt"/>
          <a:ea typeface="+mj-ea"/>
          <a:cs typeface="+mj-cs"/>
        </a:defRPr>
      </a:lvl1pPr>
      <a:lvl2pPr algn="l" rtl="0" eaLnBrk="0" fontAlgn="base" hangingPunct="0">
        <a:lnSpc>
          <a:spcPct val="90000"/>
        </a:lnSpc>
        <a:spcBef>
          <a:spcPct val="0"/>
        </a:spcBef>
        <a:spcAft>
          <a:spcPct val="0"/>
        </a:spcAft>
        <a:defRPr sz="2400">
          <a:solidFill>
            <a:schemeClr val="tx1"/>
          </a:solidFill>
          <a:latin typeface="Calibri" pitchFamily="34" charset="0"/>
        </a:defRPr>
      </a:lvl2pPr>
      <a:lvl3pPr algn="l" rtl="0" eaLnBrk="0" fontAlgn="base" hangingPunct="0">
        <a:lnSpc>
          <a:spcPct val="90000"/>
        </a:lnSpc>
        <a:spcBef>
          <a:spcPct val="0"/>
        </a:spcBef>
        <a:spcAft>
          <a:spcPct val="0"/>
        </a:spcAft>
        <a:defRPr sz="2400">
          <a:solidFill>
            <a:schemeClr val="tx1"/>
          </a:solidFill>
          <a:latin typeface="Calibri" pitchFamily="34" charset="0"/>
        </a:defRPr>
      </a:lvl3pPr>
      <a:lvl4pPr algn="l" rtl="0" eaLnBrk="0" fontAlgn="base" hangingPunct="0">
        <a:lnSpc>
          <a:spcPct val="90000"/>
        </a:lnSpc>
        <a:spcBef>
          <a:spcPct val="0"/>
        </a:spcBef>
        <a:spcAft>
          <a:spcPct val="0"/>
        </a:spcAft>
        <a:defRPr sz="2400">
          <a:solidFill>
            <a:schemeClr val="tx1"/>
          </a:solidFill>
          <a:latin typeface="Calibri" pitchFamily="34" charset="0"/>
        </a:defRPr>
      </a:lvl4pPr>
      <a:lvl5pPr algn="l" rtl="0" eaLnBrk="0" fontAlgn="base" hangingPunct="0">
        <a:lnSpc>
          <a:spcPct val="90000"/>
        </a:lnSpc>
        <a:spcBef>
          <a:spcPct val="0"/>
        </a:spcBef>
        <a:spcAft>
          <a:spcPct val="0"/>
        </a:spcAft>
        <a:defRPr sz="2400">
          <a:solidFill>
            <a:schemeClr val="tx1"/>
          </a:solidFill>
          <a:latin typeface="Calibri" pitchFamily="34" charset="0"/>
        </a:defRPr>
      </a:lvl5pPr>
      <a:lvl6pPr marL="457200" algn="l" rtl="0" eaLnBrk="1" fontAlgn="base" hangingPunct="1">
        <a:lnSpc>
          <a:spcPct val="90000"/>
        </a:lnSpc>
        <a:spcBef>
          <a:spcPct val="0"/>
        </a:spcBef>
        <a:spcAft>
          <a:spcPct val="0"/>
        </a:spcAft>
        <a:defRPr sz="2800">
          <a:solidFill>
            <a:schemeClr val="tx2"/>
          </a:solidFill>
          <a:latin typeface="Arial" charset="0"/>
        </a:defRPr>
      </a:lvl6pPr>
      <a:lvl7pPr marL="914400" algn="l" rtl="0" eaLnBrk="1" fontAlgn="base" hangingPunct="1">
        <a:lnSpc>
          <a:spcPct val="90000"/>
        </a:lnSpc>
        <a:spcBef>
          <a:spcPct val="0"/>
        </a:spcBef>
        <a:spcAft>
          <a:spcPct val="0"/>
        </a:spcAft>
        <a:defRPr sz="2800">
          <a:solidFill>
            <a:schemeClr val="tx2"/>
          </a:solidFill>
          <a:latin typeface="Arial" charset="0"/>
        </a:defRPr>
      </a:lvl7pPr>
      <a:lvl8pPr marL="1371600" algn="l" rtl="0" eaLnBrk="1" fontAlgn="base" hangingPunct="1">
        <a:lnSpc>
          <a:spcPct val="90000"/>
        </a:lnSpc>
        <a:spcBef>
          <a:spcPct val="0"/>
        </a:spcBef>
        <a:spcAft>
          <a:spcPct val="0"/>
        </a:spcAft>
        <a:defRPr sz="2800">
          <a:solidFill>
            <a:schemeClr val="tx2"/>
          </a:solidFill>
          <a:latin typeface="Arial" charset="0"/>
        </a:defRPr>
      </a:lvl8pPr>
      <a:lvl9pPr marL="1828800" algn="l" rtl="0" eaLnBrk="1" fontAlgn="base" hangingPunct="1">
        <a:lnSpc>
          <a:spcPct val="90000"/>
        </a:lnSpc>
        <a:spcBef>
          <a:spcPct val="0"/>
        </a:spcBef>
        <a:spcAft>
          <a:spcPct val="0"/>
        </a:spcAft>
        <a:defRPr sz="2800">
          <a:solidFill>
            <a:schemeClr val="tx2"/>
          </a:solidFill>
          <a:latin typeface="Arial" charset="0"/>
        </a:defRPr>
      </a:lvl9pPr>
    </p:titleStyle>
    <p:bodyStyle>
      <a:lvl1pPr marL="268288" indent="-268288" algn="l" rtl="0" eaLnBrk="0" fontAlgn="base" hangingPunct="0">
        <a:spcBef>
          <a:spcPts val="600"/>
        </a:spcBef>
        <a:spcAft>
          <a:spcPts val="600"/>
        </a:spcAft>
        <a:buClr>
          <a:schemeClr val="tx1"/>
        </a:buClr>
        <a:buSzPct val="110000"/>
        <a:buFont typeface="Arial" panose="020B0604020202020204" pitchFamily="34" charset="0"/>
        <a:buChar char="•"/>
        <a:defRPr sz="2200">
          <a:solidFill>
            <a:srgbClr val="000000"/>
          </a:solidFill>
          <a:latin typeface="+mn-lt"/>
          <a:ea typeface="+mn-ea"/>
          <a:cs typeface="+mn-cs"/>
        </a:defRPr>
      </a:lvl1pPr>
      <a:lvl2pPr marL="401638" indent="-169863" algn="l" rtl="0" eaLnBrk="0" fontAlgn="base" hangingPunct="0">
        <a:spcBef>
          <a:spcPct val="0"/>
        </a:spcBef>
        <a:spcAft>
          <a:spcPts val="300"/>
        </a:spcAft>
        <a:buFont typeface="Arial" panose="020B0604020202020204" pitchFamily="34" charset="0"/>
        <a:buChar char="•"/>
        <a:defRPr sz="2200">
          <a:solidFill>
            <a:srgbClr val="000000"/>
          </a:solidFill>
          <a:latin typeface="+mn-lt"/>
        </a:defRPr>
      </a:lvl2pPr>
      <a:lvl3pPr marL="622300" indent="-173038" algn="l" rtl="0" eaLnBrk="0" fontAlgn="base" hangingPunct="0">
        <a:spcBef>
          <a:spcPct val="0"/>
        </a:spcBef>
        <a:spcAft>
          <a:spcPts val="300"/>
        </a:spcAft>
        <a:buSzPct val="90000"/>
        <a:buFont typeface="Calibri" panose="020F0502020204030204" pitchFamily="34" charset="0"/>
        <a:buChar char="–"/>
        <a:defRPr sz="2100">
          <a:solidFill>
            <a:srgbClr val="000000"/>
          </a:solidFill>
          <a:latin typeface="+mn-lt"/>
        </a:defRPr>
      </a:lvl3pPr>
      <a:lvl4pPr marL="860425" indent="-171450" algn="l" rtl="0" eaLnBrk="0" fontAlgn="base" hangingPunct="0">
        <a:spcBef>
          <a:spcPct val="0"/>
        </a:spcBef>
        <a:spcAft>
          <a:spcPts val="300"/>
        </a:spcAft>
        <a:buSzPct val="90000"/>
        <a:buFont typeface="Calibri" panose="020F0502020204030204" pitchFamily="34" charset="0"/>
        <a:buChar char="–"/>
        <a:defRPr sz="2000">
          <a:solidFill>
            <a:srgbClr val="000000"/>
          </a:solidFill>
          <a:latin typeface="+mn-lt"/>
        </a:defRPr>
      </a:lvl4pPr>
      <a:lvl5pPr marL="1082675" indent="-166688" algn="l" rtl="0" eaLnBrk="0" fontAlgn="base" hangingPunct="0">
        <a:spcBef>
          <a:spcPct val="0"/>
        </a:spcBef>
        <a:spcAft>
          <a:spcPts val="300"/>
        </a:spcAft>
        <a:buFont typeface="Calibri" panose="020F0502020204030204" pitchFamily="34" charset="0"/>
        <a:buChar char="–"/>
        <a:defRPr>
          <a:solidFill>
            <a:srgbClr val="000000"/>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514484" y="238125"/>
            <a:ext cx="9173625"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506445" y="1517650"/>
            <a:ext cx="9181664"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0287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025"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2"/>
            <a:ext cx="10287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025" dirty="0"/>
          </a:p>
        </p:txBody>
      </p:sp>
      <p:cxnSp>
        <p:nvCxnSpPr>
          <p:cNvPr id="7" name="Straight Connector 6">
            <a:extLst>
              <a:ext uri="{FF2B5EF4-FFF2-40B4-BE49-F238E27FC236}">
                <a16:creationId xmlns:a16="http://schemas.microsoft.com/office/drawing/2014/main" id="{6B5B1E8D-4769-4B1C-A30F-94F399EA1CE7}"/>
              </a:ext>
            </a:extLst>
          </p:cNvPr>
          <p:cNvCxnSpPr/>
          <p:nvPr userDrawn="1"/>
        </p:nvCxnSpPr>
        <p:spPr>
          <a:xfrm>
            <a:off x="1" y="6745288"/>
            <a:ext cx="10287000" cy="0"/>
          </a:xfrm>
          <a:prstGeom prst="line">
            <a:avLst/>
          </a:prstGeom>
          <a:ln w="19050">
            <a:solidFill>
              <a:srgbClr val="00853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825583"/>
      </p:ext>
    </p:extLst>
  </p:cSld>
  <p:clrMap bg1="dk2" tx1="lt1" bg2="dk1" tx2="lt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Lst>
  <p:txStyles>
    <p:titleStyle>
      <a:lvl1pPr algn="l" rtl="0" eaLnBrk="1" fontAlgn="base" hangingPunct="1">
        <a:spcBef>
          <a:spcPct val="0"/>
        </a:spcBef>
        <a:spcAft>
          <a:spcPct val="0"/>
        </a:spcAft>
        <a:defRPr sz="3038"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038" b="1">
          <a:solidFill>
            <a:schemeClr val="tx2"/>
          </a:solidFill>
          <a:latin typeface="Arial" charset="0"/>
        </a:defRPr>
      </a:lvl2pPr>
      <a:lvl3pPr algn="l" rtl="0" eaLnBrk="1" fontAlgn="base" hangingPunct="1">
        <a:spcBef>
          <a:spcPct val="0"/>
        </a:spcBef>
        <a:spcAft>
          <a:spcPct val="0"/>
        </a:spcAft>
        <a:defRPr sz="3038" b="1">
          <a:solidFill>
            <a:schemeClr val="tx2"/>
          </a:solidFill>
          <a:latin typeface="Arial" charset="0"/>
        </a:defRPr>
      </a:lvl3pPr>
      <a:lvl4pPr algn="l" rtl="0" eaLnBrk="1" fontAlgn="base" hangingPunct="1">
        <a:spcBef>
          <a:spcPct val="0"/>
        </a:spcBef>
        <a:spcAft>
          <a:spcPct val="0"/>
        </a:spcAft>
        <a:defRPr sz="3038" b="1">
          <a:solidFill>
            <a:schemeClr val="tx2"/>
          </a:solidFill>
          <a:latin typeface="Arial" charset="0"/>
        </a:defRPr>
      </a:lvl4pPr>
      <a:lvl5pPr algn="l" rtl="0" eaLnBrk="1" fontAlgn="base" hangingPunct="1">
        <a:spcBef>
          <a:spcPct val="0"/>
        </a:spcBef>
        <a:spcAft>
          <a:spcPct val="0"/>
        </a:spcAft>
        <a:defRPr sz="3038" b="1">
          <a:solidFill>
            <a:schemeClr val="tx2"/>
          </a:solidFill>
          <a:latin typeface="Arial" charset="0"/>
        </a:defRPr>
      </a:lvl5pPr>
      <a:lvl6pPr marL="385785" algn="l" rtl="0" eaLnBrk="1" fontAlgn="base" hangingPunct="1">
        <a:spcBef>
          <a:spcPct val="0"/>
        </a:spcBef>
        <a:spcAft>
          <a:spcPct val="0"/>
        </a:spcAft>
        <a:defRPr sz="2953" b="1">
          <a:solidFill>
            <a:schemeClr val="tx2"/>
          </a:solidFill>
          <a:latin typeface="Arial" charset="0"/>
        </a:defRPr>
      </a:lvl6pPr>
      <a:lvl7pPr marL="771571" algn="l" rtl="0" eaLnBrk="1" fontAlgn="base" hangingPunct="1">
        <a:spcBef>
          <a:spcPct val="0"/>
        </a:spcBef>
        <a:spcAft>
          <a:spcPct val="0"/>
        </a:spcAft>
        <a:defRPr sz="2953" b="1">
          <a:solidFill>
            <a:schemeClr val="tx2"/>
          </a:solidFill>
          <a:latin typeface="Arial" charset="0"/>
        </a:defRPr>
      </a:lvl7pPr>
      <a:lvl8pPr marL="1157356" algn="l" rtl="0" eaLnBrk="1" fontAlgn="base" hangingPunct="1">
        <a:spcBef>
          <a:spcPct val="0"/>
        </a:spcBef>
        <a:spcAft>
          <a:spcPct val="0"/>
        </a:spcAft>
        <a:defRPr sz="2953" b="1">
          <a:solidFill>
            <a:schemeClr val="tx2"/>
          </a:solidFill>
          <a:latin typeface="Arial" charset="0"/>
        </a:defRPr>
      </a:lvl8pPr>
      <a:lvl9pPr marL="1543141" algn="l" rtl="0" eaLnBrk="1" fontAlgn="base" hangingPunct="1">
        <a:spcBef>
          <a:spcPct val="0"/>
        </a:spcBef>
        <a:spcAft>
          <a:spcPct val="0"/>
        </a:spcAft>
        <a:defRPr sz="2953" b="1">
          <a:solidFill>
            <a:schemeClr val="tx2"/>
          </a:solidFill>
          <a:latin typeface="Arial" charset="0"/>
        </a:defRPr>
      </a:lvl9pPr>
    </p:titleStyle>
    <p:bodyStyle>
      <a:lvl1pPr marL="289339" indent="-289339" algn="l" rtl="0" eaLnBrk="1" fontAlgn="base" hangingPunct="1">
        <a:lnSpc>
          <a:spcPct val="90000"/>
        </a:lnSpc>
        <a:spcBef>
          <a:spcPts val="844"/>
        </a:spcBef>
        <a:spcAft>
          <a:spcPts val="591"/>
        </a:spcAft>
        <a:buClr>
          <a:schemeClr val="bg1"/>
        </a:buClr>
        <a:buFont typeface="Wingdings" panose="05000000000000000000" pitchFamily="2" charset="2"/>
        <a:buChar char="§"/>
        <a:defRPr sz="2363">
          <a:solidFill>
            <a:schemeClr val="bg1"/>
          </a:solidFill>
          <a:latin typeface="Calibri" panose="020F0502020204030204" pitchFamily="34" charset="0"/>
          <a:ea typeface="+mn-ea"/>
          <a:cs typeface="+mn-cs"/>
        </a:defRPr>
      </a:lvl1pPr>
      <a:lvl2pPr marL="626901" indent="-241116" algn="l" rtl="0" eaLnBrk="1" fontAlgn="base" hangingPunct="1">
        <a:lnSpc>
          <a:spcPct val="90000"/>
        </a:lnSpc>
        <a:spcBef>
          <a:spcPts val="844"/>
        </a:spcBef>
        <a:spcAft>
          <a:spcPts val="591"/>
        </a:spcAft>
        <a:buClr>
          <a:schemeClr val="bg1"/>
        </a:buClr>
        <a:buFont typeface="Arial" panose="020B0604020202020204" pitchFamily="34" charset="0"/>
        <a:buChar char="‒"/>
        <a:defRPr sz="2194">
          <a:solidFill>
            <a:schemeClr val="bg1"/>
          </a:solidFill>
          <a:latin typeface="Calibri" panose="020F0502020204030204" pitchFamily="34" charset="0"/>
        </a:defRPr>
      </a:lvl2pPr>
      <a:lvl3pPr marL="964463" indent="-192893" algn="l" rtl="0" eaLnBrk="1" fontAlgn="base" hangingPunct="1">
        <a:lnSpc>
          <a:spcPct val="90000"/>
        </a:lnSpc>
        <a:spcBef>
          <a:spcPts val="844"/>
        </a:spcBef>
        <a:spcAft>
          <a:spcPts val="591"/>
        </a:spcAft>
        <a:buClr>
          <a:schemeClr val="bg1"/>
        </a:buClr>
        <a:buFont typeface="Arial" panose="020B0604020202020204" pitchFamily="34" charset="0"/>
        <a:buChar char="‒"/>
        <a:defRPr sz="2025">
          <a:solidFill>
            <a:schemeClr val="bg1"/>
          </a:solidFill>
          <a:latin typeface="Calibri" panose="020F0502020204030204" pitchFamily="34" charset="0"/>
        </a:defRPr>
      </a:lvl3pPr>
      <a:lvl4pPr marL="1350249" indent="-192893" algn="l" rtl="0" eaLnBrk="1" fontAlgn="base" hangingPunct="1">
        <a:lnSpc>
          <a:spcPct val="90000"/>
        </a:lnSpc>
        <a:spcBef>
          <a:spcPts val="844"/>
        </a:spcBef>
        <a:spcAft>
          <a:spcPts val="591"/>
        </a:spcAft>
        <a:buClr>
          <a:schemeClr val="bg1"/>
        </a:buClr>
        <a:buFont typeface="Arial" panose="020B0604020202020204" pitchFamily="34" charset="0"/>
        <a:buChar char="‒"/>
        <a:defRPr sz="1856">
          <a:solidFill>
            <a:schemeClr val="bg1"/>
          </a:solidFill>
          <a:latin typeface="Calibri" panose="020F0502020204030204" pitchFamily="34" charset="0"/>
        </a:defRPr>
      </a:lvl4pPr>
      <a:lvl5pPr marL="1736034" indent="-192893" algn="l" rtl="0" eaLnBrk="1" fontAlgn="base" hangingPunct="1">
        <a:lnSpc>
          <a:spcPct val="90000"/>
        </a:lnSpc>
        <a:spcBef>
          <a:spcPts val="844"/>
        </a:spcBef>
        <a:spcAft>
          <a:spcPts val="591"/>
        </a:spcAft>
        <a:buClr>
          <a:schemeClr val="bg1"/>
        </a:buClr>
        <a:buFont typeface="Arial" panose="020B0604020202020204" pitchFamily="34" charset="0"/>
        <a:buChar char="‒"/>
        <a:defRPr sz="1688">
          <a:solidFill>
            <a:schemeClr val="bg1"/>
          </a:solidFill>
          <a:latin typeface="Calibri" panose="020F0502020204030204" pitchFamily="34" charset="0"/>
        </a:defRPr>
      </a:lvl5pPr>
      <a:lvl6pPr marL="2121819" indent="-192893" algn="l" rtl="0" eaLnBrk="1" fontAlgn="base" hangingPunct="1">
        <a:lnSpc>
          <a:spcPct val="90000"/>
        </a:lnSpc>
        <a:spcBef>
          <a:spcPct val="35000"/>
        </a:spcBef>
        <a:spcAft>
          <a:spcPct val="25000"/>
        </a:spcAft>
        <a:buClr>
          <a:schemeClr val="accent2"/>
        </a:buClr>
        <a:buFont typeface="Arial" charset="0"/>
        <a:buChar char="–"/>
        <a:defRPr sz="1181">
          <a:solidFill>
            <a:schemeClr val="tx1"/>
          </a:solidFill>
          <a:latin typeface="+mn-lt"/>
        </a:defRPr>
      </a:lvl6pPr>
      <a:lvl7pPr marL="2507605" indent="-192893" algn="l" rtl="0" eaLnBrk="1" fontAlgn="base" hangingPunct="1">
        <a:lnSpc>
          <a:spcPct val="90000"/>
        </a:lnSpc>
        <a:spcBef>
          <a:spcPct val="35000"/>
        </a:spcBef>
        <a:spcAft>
          <a:spcPct val="25000"/>
        </a:spcAft>
        <a:buClr>
          <a:schemeClr val="accent2"/>
        </a:buClr>
        <a:buFont typeface="Arial" charset="0"/>
        <a:buChar char="–"/>
        <a:defRPr sz="1181">
          <a:solidFill>
            <a:schemeClr val="tx1"/>
          </a:solidFill>
          <a:latin typeface="+mn-lt"/>
        </a:defRPr>
      </a:lvl7pPr>
      <a:lvl8pPr marL="2893390" indent="-192893" algn="l" rtl="0" eaLnBrk="1" fontAlgn="base" hangingPunct="1">
        <a:lnSpc>
          <a:spcPct val="90000"/>
        </a:lnSpc>
        <a:spcBef>
          <a:spcPct val="35000"/>
        </a:spcBef>
        <a:spcAft>
          <a:spcPct val="25000"/>
        </a:spcAft>
        <a:buClr>
          <a:schemeClr val="accent2"/>
        </a:buClr>
        <a:buFont typeface="Arial" charset="0"/>
        <a:buChar char="–"/>
        <a:defRPr sz="1181">
          <a:solidFill>
            <a:schemeClr val="tx1"/>
          </a:solidFill>
          <a:latin typeface="+mn-lt"/>
        </a:defRPr>
      </a:lvl8pPr>
      <a:lvl9pPr marL="3279176" indent="-192893" algn="l" rtl="0" eaLnBrk="1" fontAlgn="base" hangingPunct="1">
        <a:lnSpc>
          <a:spcPct val="90000"/>
        </a:lnSpc>
        <a:spcBef>
          <a:spcPct val="35000"/>
        </a:spcBef>
        <a:spcAft>
          <a:spcPct val="25000"/>
        </a:spcAft>
        <a:buClr>
          <a:schemeClr val="accent2"/>
        </a:buClr>
        <a:buFont typeface="Arial" charset="0"/>
        <a:buChar char="–"/>
        <a:defRPr sz="1181">
          <a:solidFill>
            <a:schemeClr val="tx1"/>
          </a:solidFill>
          <a:latin typeface="+mn-lt"/>
        </a:defRPr>
      </a:lvl9pPr>
    </p:bodyStyle>
    <p:otherStyle>
      <a:defPPr>
        <a:defRPr lang="en-US"/>
      </a:defPPr>
      <a:lvl1pPr marL="0" algn="l" defTabSz="771571" rtl="0" eaLnBrk="1" latinLnBrk="0" hangingPunct="1">
        <a:defRPr sz="1519" kern="1200">
          <a:solidFill>
            <a:schemeClr val="tx1"/>
          </a:solidFill>
          <a:latin typeface="+mn-lt"/>
          <a:ea typeface="+mn-ea"/>
          <a:cs typeface="+mn-cs"/>
        </a:defRPr>
      </a:lvl1pPr>
      <a:lvl2pPr marL="385785" algn="l" defTabSz="771571" rtl="0" eaLnBrk="1" latinLnBrk="0" hangingPunct="1">
        <a:defRPr sz="1519" kern="1200">
          <a:solidFill>
            <a:schemeClr val="tx1"/>
          </a:solidFill>
          <a:latin typeface="+mn-lt"/>
          <a:ea typeface="+mn-ea"/>
          <a:cs typeface="+mn-cs"/>
        </a:defRPr>
      </a:lvl2pPr>
      <a:lvl3pPr marL="771571" algn="l" defTabSz="771571" rtl="0" eaLnBrk="1" latinLnBrk="0" hangingPunct="1">
        <a:defRPr sz="1519" kern="1200">
          <a:solidFill>
            <a:schemeClr val="tx1"/>
          </a:solidFill>
          <a:latin typeface="+mn-lt"/>
          <a:ea typeface="+mn-ea"/>
          <a:cs typeface="+mn-cs"/>
        </a:defRPr>
      </a:lvl3pPr>
      <a:lvl4pPr marL="1157356" algn="l" defTabSz="771571" rtl="0" eaLnBrk="1" latinLnBrk="0" hangingPunct="1">
        <a:defRPr sz="1519" kern="1200">
          <a:solidFill>
            <a:schemeClr val="tx1"/>
          </a:solidFill>
          <a:latin typeface="+mn-lt"/>
          <a:ea typeface="+mn-ea"/>
          <a:cs typeface="+mn-cs"/>
        </a:defRPr>
      </a:lvl4pPr>
      <a:lvl5pPr marL="1543141" algn="l" defTabSz="771571" rtl="0" eaLnBrk="1" latinLnBrk="0" hangingPunct="1">
        <a:defRPr sz="1519" kern="1200">
          <a:solidFill>
            <a:schemeClr val="tx1"/>
          </a:solidFill>
          <a:latin typeface="+mn-lt"/>
          <a:ea typeface="+mn-ea"/>
          <a:cs typeface="+mn-cs"/>
        </a:defRPr>
      </a:lvl5pPr>
      <a:lvl6pPr marL="1928927" algn="l" defTabSz="771571" rtl="0" eaLnBrk="1" latinLnBrk="0" hangingPunct="1">
        <a:defRPr sz="1519" kern="1200">
          <a:solidFill>
            <a:schemeClr val="tx1"/>
          </a:solidFill>
          <a:latin typeface="+mn-lt"/>
          <a:ea typeface="+mn-ea"/>
          <a:cs typeface="+mn-cs"/>
        </a:defRPr>
      </a:lvl6pPr>
      <a:lvl7pPr marL="2314712" algn="l" defTabSz="771571" rtl="0" eaLnBrk="1" latinLnBrk="0" hangingPunct="1">
        <a:defRPr sz="1519" kern="1200">
          <a:solidFill>
            <a:schemeClr val="tx1"/>
          </a:solidFill>
          <a:latin typeface="+mn-lt"/>
          <a:ea typeface="+mn-ea"/>
          <a:cs typeface="+mn-cs"/>
        </a:defRPr>
      </a:lvl7pPr>
      <a:lvl8pPr marL="2700498" algn="l" defTabSz="771571" rtl="0" eaLnBrk="1" latinLnBrk="0" hangingPunct="1">
        <a:defRPr sz="1519" kern="1200">
          <a:solidFill>
            <a:schemeClr val="tx1"/>
          </a:solidFill>
          <a:latin typeface="+mn-lt"/>
          <a:ea typeface="+mn-ea"/>
          <a:cs typeface="+mn-cs"/>
        </a:defRPr>
      </a:lvl8pPr>
      <a:lvl9pPr marL="3086283" algn="l" defTabSz="771571" rtl="0" eaLnBrk="1" latinLnBrk="0" hangingPunct="1">
        <a:defRPr sz="151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Rectangle 15"/>
          <p:cNvSpPr/>
          <p:nvPr/>
        </p:nvSpPr>
        <p:spPr>
          <a:xfrm>
            <a:off x="530424" y="1201739"/>
            <a:ext cx="9756576" cy="6508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17" name="Rectangle 16"/>
          <p:cNvSpPr/>
          <p:nvPr/>
        </p:nvSpPr>
        <p:spPr>
          <a:xfrm>
            <a:off x="1" y="1201739"/>
            <a:ext cx="498277" cy="650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b="0">
              <a:solidFill>
                <a:prstClr val="white"/>
              </a:solidFill>
            </a:endParaRPr>
          </a:p>
        </p:txBody>
      </p:sp>
      <p:sp>
        <p:nvSpPr>
          <p:cNvPr id="3076" name="Title Placeholder 1"/>
          <p:cNvSpPr>
            <a:spLocks noGrp="1"/>
          </p:cNvSpPr>
          <p:nvPr>
            <p:ph type="title"/>
          </p:nvPr>
        </p:nvSpPr>
        <p:spPr bwMode="auto">
          <a:xfrm>
            <a:off x="514350" y="466725"/>
            <a:ext cx="9258300"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3077" name="Text Placeholder 2"/>
          <p:cNvSpPr>
            <a:spLocks noGrp="1"/>
          </p:cNvSpPr>
          <p:nvPr>
            <p:ph type="body" idx="1"/>
          </p:nvPr>
        </p:nvSpPr>
        <p:spPr bwMode="auto">
          <a:xfrm>
            <a:off x="514350" y="1524000"/>
            <a:ext cx="92583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Date Placeholder 3"/>
          <p:cNvSpPr>
            <a:spLocks noGrp="1"/>
          </p:cNvSpPr>
          <p:nvPr>
            <p:ph type="dt" sz="half" idx="2"/>
          </p:nvPr>
        </p:nvSpPr>
        <p:spPr>
          <a:xfrm>
            <a:off x="5229225" y="6537326"/>
            <a:ext cx="685800" cy="168275"/>
          </a:xfrm>
          <a:prstGeom prst="rect">
            <a:avLst/>
          </a:prstGeom>
        </p:spPr>
        <p:txBody>
          <a:bodyPr vert="horz" lIns="0" tIns="0" rIns="0" bIns="0" rtlCol="0" anchor="b"/>
          <a:lstStyle>
            <a:lvl1pPr algn="r" fontAlgn="auto">
              <a:spcBef>
                <a:spcPts val="0"/>
              </a:spcBef>
              <a:spcAft>
                <a:spcPts val="0"/>
              </a:spcAft>
              <a:defRPr sz="800">
                <a:solidFill>
                  <a:prstClr val="black">
                    <a:lumMod val="50000"/>
                    <a:lumOff val="50000"/>
                  </a:prstClr>
                </a:solidFill>
                <a:latin typeface="+mn-lt"/>
                <a:cs typeface="+mn-cs"/>
              </a:defRPr>
            </a:lvl1pPr>
          </a:lstStyle>
          <a:p>
            <a:pPr>
              <a:defRPr/>
            </a:pPr>
            <a:fld id="{A7A2B3B8-E6F5-41A9-BBCD-31FB41464D3C}" type="datetime1">
              <a:rPr lang="en-US" b="0"/>
              <a:pPr>
                <a:defRPr/>
              </a:pPr>
              <a:t>9/28/2023</a:t>
            </a:fld>
            <a:endParaRPr lang="en-US" b="0" dirty="0"/>
          </a:p>
        </p:txBody>
      </p:sp>
      <p:sp>
        <p:nvSpPr>
          <p:cNvPr id="26" name="Footer Placeholder 4"/>
          <p:cNvSpPr>
            <a:spLocks noGrp="1"/>
          </p:cNvSpPr>
          <p:nvPr>
            <p:ph type="ftr" sz="quarter" idx="3"/>
          </p:nvPr>
        </p:nvSpPr>
        <p:spPr>
          <a:xfrm>
            <a:off x="514350" y="6537325"/>
            <a:ext cx="3429000" cy="165100"/>
          </a:xfrm>
          <a:prstGeom prst="rect">
            <a:avLst/>
          </a:prstGeom>
        </p:spPr>
        <p:txBody>
          <a:bodyPr vert="horz" lIns="0" tIns="0" rIns="0" bIns="0" rtlCol="0" anchor="b"/>
          <a:lstStyle>
            <a:lvl1pPr algn="l" fontAlgn="auto">
              <a:spcBef>
                <a:spcPts val="0"/>
              </a:spcBef>
              <a:spcAft>
                <a:spcPts val="0"/>
              </a:spcAft>
              <a:defRPr sz="800">
                <a:solidFill>
                  <a:prstClr val="black">
                    <a:lumMod val="50000"/>
                    <a:lumOff val="50000"/>
                  </a:prstClr>
                </a:solidFill>
                <a:latin typeface="+mn-lt"/>
                <a:cs typeface="+mn-cs"/>
              </a:defRPr>
            </a:lvl1pPr>
          </a:lstStyle>
          <a:p>
            <a:pPr>
              <a:defRPr/>
            </a:pPr>
            <a:r>
              <a:rPr lang="en-US" b="0"/>
              <a:t>Author’s Last Name, Conference Name, Year, Presentation #</a:t>
            </a:r>
            <a:endParaRPr lang="en-US" b="0" dirty="0"/>
          </a:p>
        </p:txBody>
      </p:sp>
      <p:sp>
        <p:nvSpPr>
          <p:cNvPr id="27" name="Slide Number Placeholder 5"/>
          <p:cNvSpPr>
            <a:spLocks noGrp="1"/>
          </p:cNvSpPr>
          <p:nvPr>
            <p:ph type="sldNum" sz="quarter" idx="4"/>
          </p:nvPr>
        </p:nvSpPr>
        <p:spPr>
          <a:xfrm>
            <a:off x="9494044" y="6537326"/>
            <a:ext cx="278606" cy="168275"/>
          </a:xfrm>
          <a:prstGeom prst="rect">
            <a:avLst/>
          </a:prstGeom>
        </p:spPr>
        <p:txBody>
          <a:bodyPr vert="horz" lIns="0" tIns="0" rIns="0" bIns="0" rtlCol="0" anchor="b"/>
          <a:lstStyle>
            <a:lvl1pPr algn="r" fontAlgn="auto">
              <a:spcBef>
                <a:spcPts val="0"/>
              </a:spcBef>
              <a:spcAft>
                <a:spcPts val="0"/>
              </a:spcAft>
              <a:defRPr sz="800">
                <a:solidFill>
                  <a:prstClr val="black"/>
                </a:solidFill>
                <a:latin typeface="+mn-lt"/>
                <a:cs typeface="+mn-cs"/>
              </a:defRPr>
            </a:lvl1pPr>
          </a:lstStyle>
          <a:p>
            <a:pPr>
              <a:defRPr/>
            </a:pPr>
            <a:fld id="{C540047F-E6A1-4DB1-A605-DEAA2C500E0C}" type="slidenum">
              <a:rPr lang="en-US" b="0"/>
              <a:pPr>
                <a:defRPr/>
              </a:pPr>
              <a:t>‹#›</a:t>
            </a:fld>
            <a:endParaRPr lang="en-US" b="0" dirty="0"/>
          </a:p>
        </p:txBody>
      </p:sp>
    </p:spTree>
    <p:extLst>
      <p:ext uri="{BB962C8B-B14F-4D97-AF65-F5344CB8AC3E}">
        <p14:creationId xmlns:p14="http://schemas.microsoft.com/office/powerpoint/2010/main" val="144249357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 id="2147483817" r:id="rId31"/>
    <p:sldLayoutId id="2147483818" r:id="rId32"/>
    <p:sldLayoutId id="2147483819" r:id="rId33"/>
    <p:sldLayoutId id="2147483820" r:id="rId34"/>
    <p:sldLayoutId id="2147483821" r:id="rId35"/>
    <p:sldLayoutId id="2147483822" r:id="rId36"/>
    <p:sldLayoutId id="2147483823" r:id="rId37"/>
    <p:sldLayoutId id="2147483824" r:id="rId38"/>
    <p:sldLayoutId id="2147483825" r:id="rId39"/>
  </p:sldLayoutIdLst>
  <p:hf hdr="0" dt="0"/>
  <p:txStyles>
    <p:titleStyle>
      <a:lvl1pPr algn="l" rtl="0" eaLnBrk="0" fontAlgn="base" hangingPunct="0">
        <a:lnSpc>
          <a:spcPct val="90000"/>
        </a:lnSpc>
        <a:spcBef>
          <a:spcPct val="0"/>
        </a:spcBef>
        <a:spcAft>
          <a:spcPct val="0"/>
        </a:spcAft>
        <a:defRPr sz="2400" kern="1200">
          <a:solidFill>
            <a:schemeClr val="tx2"/>
          </a:solidFill>
          <a:latin typeface="+mj-lt"/>
          <a:ea typeface="+mj-ea"/>
          <a:cs typeface="+mj-cs"/>
        </a:defRPr>
      </a:lvl1pPr>
      <a:lvl2pPr algn="l" rtl="0" eaLnBrk="0" fontAlgn="base" hangingPunct="0">
        <a:lnSpc>
          <a:spcPct val="90000"/>
        </a:lnSpc>
        <a:spcBef>
          <a:spcPct val="0"/>
        </a:spcBef>
        <a:spcAft>
          <a:spcPct val="0"/>
        </a:spcAft>
        <a:defRPr sz="2400">
          <a:solidFill>
            <a:schemeClr val="tx2"/>
          </a:solidFill>
          <a:latin typeface="Arial" charset="0"/>
        </a:defRPr>
      </a:lvl2pPr>
      <a:lvl3pPr algn="l" rtl="0" eaLnBrk="0" fontAlgn="base" hangingPunct="0">
        <a:lnSpc>
          <a:spcPct val="90000"/>
        </a:lnSpc>
        <a:spcBef>
          <a:spcPct val="0"/>
        </a:spcBef>
        <a:spcAft>
          <a:spcPct val="0"/>
        </a:spcAft>
        <a:defRPr sz="2400">
          <a:solidFill>
            <a:schemeClr val="tx2"/>
          </a:solidFill>
          <a:latin typeface="Arial" charset="0"/>
        </a:defRPr>
      </a:lvl3pPr>
      <a:lvl4pPr algn="l" rtl="0" eaLnBrk="0" fontAlgn="base" hangingPunct="0">
        <a:lnSpc>
          <a:spcPct val="90000"/>
        </a:lnSpc>
        <a:spcBef>
          <a:spcPct val="0"/>
        </a:spcBef>
        <a:spcAft>
          <a:spcPct val="0"/>
        </a:spcAft>
        <a:defRPr sz="2400">
          <a:solidFill>
            <a:schemeClr val="tx2"/>
          </a:solidFill>
          <a:latin typeface="Arial" charset="0"/>
        </a:defRPr>
      </a:lvl4pPr>
      <a:lvl5pPr algn="l" rtl="0" eaLnBrk="0" fontAlgn="base" hangingPunct="0">
        <a:lnSpc>
          <a:spcPct val="90000"/>
        </a:lnSpc>
        <a:spcBef>
          <a:spcPct val="0"/>
        </a:spcBef>
        <a:spcAft>
          <a:spcPct val="0"/>
        </a:spcAft>
        <a:defRPr sz="2400">
          <a:solidFill>
            <a:schemeClr val="tx2"/>
          </a:solidFill>
          <a:latin typeface="Arial" charset="0"/>
        </a:defRPr>
      </a:lvl5pPr>
      <a:lvl6pPr marL="457200" algn="l" rtl="0" fontAlgn="base">
        <a:lnSpc>
          <a:spcPct val="90000"/>
        </a:lnSpc>
        <a:spcBef>
          <a:spcPct val="0"/>
        </a:spcBef>
        <a:spcAft>
          <a:spcPct val="0"/>
        </a:spcAft>
        <a:defRPr sz="2400">
          <a:solidFill>
            <a:schemeClr val="tx2"/>
          </a:solidFill>
          <a:latin typeface="Arial" charset="0"/>
        </a:defRPr>
      </a:lvl6pPr>
      <a:lvl7pPr marL="914400" algn="l" rtl="0" fontAlgn="base">
        <a:lnSpc>
          <a:spcPct val="90000"/>
        </a:lnSpc>
        <a:spcBef>
          <a:spcPct val="0"/>
        </a:spcBef>
        <a:spcAft>
          <a:spcPct val="0"/>
        </a:spcAft>
        <a:defRPr sz="2400">
          <a:solidFill>
            <a:schemeClr val="tx2"/>
          </a:solidFill>
          <a:latin typeface="Arial" charset="0"/>
        </a:defRPr>
      </a:lvl7pPr>
      <a:lvl8pPr marL="1371600" algn="l" rtl="0" fontAlgn="base">
        <a:lnSpc>
          <a:spcPct val="90000"/>
        </a:lnSpc>
        <a:spcBef>
          <a:spcPct val="0"/>
        </a:spcBef>
        <a:spcAft>
          <a:spcPct val="0"/>
        </a:spcAft>
        <a:defRPr sz="2400">
          <a:solidFill>
            <a:schemeClr val="tx2"/>
          </a:solidFill>
          <a:latin typeface="Arial" charset="0"/>
        </a:defRPr>
      </a:lvl8pPr>
      <a:lvl9pPr marL="1828800" algn="l" rtl="0" fontAlgn="base">
        <a:lnSpc>
          <a:spcPct val="90000"/>
        </a:lnSpc>
        <a:spcBef>
          <a:spcPct val="0"/>
        </a:spcBef>
        <a:spcAft>
          <a:spcPct val="0"/>
        </a:spcAft>
        <a:defRPr sz="2400">
          <a:solidFill>
            <a:schemeClr val="tx2"/>
          </a:solidFill>
          <a:latin typeface="Arial" charset="0"/>
        </a:defRPr>
      </a:lvl9pPr>
    </p:titleStyle>
    <p:bodyStyle>
      <a:lvl1pPr marL="228600" indent="-228600" algn="l" rtl="0" eaLnBrk="0" fontAlgn="base" hangingPunct="0">
        <a:lnSpc>
          <a:spcPct val="90000"/>
        </a:lnSpc>
        <a:spcBef>
          <a:spcPts val="1200"/>
        </a:spcBef>
        <a:spcAft>
          <a:spcPct val="0"/>
        </a:spcAft>
        <a:buClr>
          <a:srgbClr val="A9A9A9"/>
        </a:buClr>
        <a:buSzPct val="90000"/>
        <a:buFont typeface="Wingdings" pitchFamily="2" charset="2"/>
        <a:buChar char="§"/>
        <a:defRPr sz="2000" kern="1200">
          <a:solidFill>
            <a:schemeClr val="tx1"/>
          </a:solidFill>
          <a:latin typeface="+mn-lt"/>
          <a:ea typeface="+mn-ea"/>
          <a:cs typeface="+mn-cs"/>
        </a:defRPr>
      </a:lvl1pPr>
      <a:lvl2pPr marL="501650" indent="-228600" algn="l" rtl="0" eaLnBrk="0" fontAlgn="base" hangingPunct="0">
        <a:lnSpc>
          <a:spcPct val="90000"/>
        </a:lnSpc>
        <a:spcBef>
          <a:spcPts val="800"/>
        </a:spcBef>
        <a:spcAft>
          <a:spcPct val="0"/>
        </a:spcAft>
        <a:buClr>
          <a:srgbClr val="A9A9A9"/>
        </a:buClr>
        <a:buSzPct val="90000"/>
        <a:buFont typeface="Arial" charset="0"/>
        <a:buChar char="–"/>
        <a:defRPr kern="1200">
          <a:solidFill>
            <a:schemeClr val="tx1"/>
          </a:solidFill>
          <a:latin typeface="+mn-lt"/>
          <a:ea typeface="+mn-ea"/>
          <a:cs typeface="+mn-cs"/>
        </a:defRPr>
      </a:lvl2pPr>
      <a:lvl3pPr marL="730250" indent="-182563" algn="l" rtl="0" eaLnBrk="0" fontAlgn="base" hangingPunct="0">
        <a:lnSpc>
          <a:spcPct val="90000"/>
        </a:lnSpc>
        <a:spcBef>
          <a:spcPts val="600"/>
        </a:spcBef>
        <a:spcAft>
          <a:spcPct val="0"/>
        </a:spcAft>
        <a:buClr>
          <a:srgbClr val="A9A9A9"/>
        </a:buClr>
        <a:buSzPct val="90000"/>
        <a:buFont typeface="Wingdings" pitchFamily="2" charset="2"/>
        <a:buChar char="§"/>
        <a:defRPr sz="1600" kern="1200">
          <a:solidFill>
            <a:schemeClr val="tx1"/>
          </a:solidFill>
          <a:latin typeface="+mn-lt"/>
          <a:ea typeface="+mn-ea"/>
          <a:cs typeface="+mn-cs"/>
        </a:defRPr>
      </a:lvl3pPr>
      <a:lvl4pPr marL="958850" indent="-182563" algn="l" rtl="0" eaLnBrk="0" fontAlgn="base" hangingPunct="0">
        <a:lnSpc>
          <a:spcPct val="90000"/>
        </a:lnSpc>
        <a:spcBef>
          <a:spcPts val="600"/>
        </a:spcBef>
        <a:spcAft>
          <a:spcPct val="0"/>
        </a:spcAft>
        <a:buClr>
          <a:srgbClr val="A9A9A9"/>
        </a:buClr>
        <a:buSzPct val="90000"/>
        <a:buFont typeface="Arial" charset="0"/>
        <a:buChar char="–"/>
        <a:defRPr sz="1400" kern="1200">
          <a:solidFill>
            <a:schemeClr val="tx1"/>
          </a:solidFill>
          <a:latin typeface="+mn-lt"/>
          <a:ea typeface="+mn-ea"/>
          <a:cs typeface="+mn-cs"/>
        </a:defRPr>
      </a:lvl4pPr>
      <a:lvl5pPr marL="1187450" indent="-182563" algn="l" rtl="0" eaLnBrk="0" fontAlgn="base" hangingPunct="0">
        <a:lnSpc>
          <a:spcPct val="90000"/>
        </a:lnSpc>
        <a:spcBef>
          <a:spcPts val="600"/>
        </a:spcBef>
        <a:spcAft>
          <a:spcPct val="0"/>
        </a:spcAft>
        <a:buClr>
          <a:srgbClr val="A9A9A9"/>
        </a:buClr>
        <a:buSzPct val="90000"/>
        <a:buFont typeface="Wingdings" pitchFamily="2" charset="2"/>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bg2">
            <a:lumMod val="75000"/>
          </a:schemeClr>
        </a:buClr>
        <a:buSzPct val="90000"/>
        <a:buFont typeface="Arial" panose="020B060402020202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bg2">
            <a:lumMod val="75000"/>
          </a:schemeClr>
        </a:buClr>
        <a:buSzPct val="90000"/>
        <a:buFont typeface="Wingdings" panose="05000000000000000000" pitchFamily="2" charset="2"/>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bg2">
            <a:lumMod val="75000"/>
          </a:schemeClr>
        </a:buClr>
        <a:buSzPct val="90000"/>
        <a:buFont typeface="Arial" panose="020B060402020202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bg2">
            <a:lumMod val="75000"/>
          </a:schemeClr>
        </a:buClr>
        <a:buSzPct val="90000"/>
        <a:buFont typeface="Wingdings" panose="05000000000000000000" pitchFamily="2"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4AD925-8E4F-41E2-A5A3-10592E1B3D31}"/>
              </a:ext>
            </a:extLst>
          </p:cNvPr>
          <p:cNvSpPr>
            <a:spLocks noGrp="1"/>
          </p:cNvSpPr>
          <p:nvPr>
            <p:ph type="title"/>
          </p:nvPr>
        </p:nvSpPr>
        <p:spPr>
          <a:xfrm>
            <a:off x="707231" y="365126"/>
            <a:ext cx="8872538" cy="1325563"/>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a:extLst>
              <a:ext uri="{FF2B5EF4-FFF2-40B4-BE49-F238E27FC236}">
                <a16:creationId xmlns:a16="http://schemas.microsoft.com/office/drawing/2014/main" id="{3C3FE5D7-8096-4DED-AAD6-1D5CDA996CCE}"/>
              </a:ext>
            </a:extLst>
          </p:cNvPr>
          <p:cNvSpPr>
            <a:spLocks noGrp="1"/>
          </p:cNvSpPr>
          <p:nvPr>
            <p:ph type="body" idx="1"/>
          </p:nvPr>
        </p:nvSpPr>
        <p:spPr>
          <a:xfrm>
            <a:off x="707231" y="1825625"/>
            <a:ext cx="8872538"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a:extLst>
              <a:ext uri="{FF2B5EF4-FFF2-40B4-BE49-F238E27FC236}">
                <a16:creationId xmlns:a16="http://schemas.microsoft.com/office/drawing/2014/main" id="{D5AC4E23-B842-42BD-82C1-745825CCD249}"/>
              </a:ext>
            </a:extLst>
          </p:cNvPr>
          <p:cNvSpPr>
            <a:spLocks noGrp="1"/>
          </p:cNvSpPr>
          <p:nvPr>
            <p:ph type="dt" sz="half" idx="2"/>
          </p:nvPr>
        </p:nvSpPr>
        <p:spPr>
          <a:xfrm>
            <a:off x="707231" y="6356351"/>
            <a:ext cx="2314575" cy="365125"/>
          </a:xfrm>
          <a:prstGeom prst="rect">
            <a:avLst/>
          </a:prstGeom>
        </p:spPr>
        <p:txBody>
          <a:bodyPr vert="horz" lIns="91440" tIns="45720" rIns="91440" bIns="45720" rtlCol="0" anchor="ctr"/>
          <a:lstStyle>
            <a:lvl1pPr algn="l">
              <a:defRPr sz="1013">
                <a:solidFill>
                  <a:schemeClr val="tx1">
                    <a:tint val="75000"/>
                  </a:schemeClr>
                </a:solidFill>
              </a:defRPr>
            </a:lvl1pPr>
          </a:lstStyle>
          <a:p>
            <a:fld id="{2B214E69-25F4-494E-8310-8A0CAA2D77E7}" type="datetimeFigureOut">
              <a:rPr lang="el-GR" smtClean="0"/>
              <a:t>28/9/2023</a:t>
            </a:fld>
            <a:endParaRPr lang="el-GR"/>
          </a:p>
        </p:txBody>
      </p:sp>
      <p:sp>
        <p:nvSpPr>
          <p:cNvPr id="5" name="Footer Placeholder 4">
            <a:extLst>
              <a:ext uri="{FF2B5EF4-FFF2-40B4-BE49-F238E27FC236}">
                <a16:creationId xmlns:a16="http://schemas.microsoft.com/office/drawing/2014/main" id="{CE8D755F-6ACB-4120-8E32-4A2DB95FDCF1}"/>
              </a:ext>
            </a:extLst>
          </p:cNvPr>
          <p:cNvSpPr>
            <a:spLocks noGrp="1"/>
          </p:cNvSpPr>
          <p:nvPr>
            <p:ph type="ftr" sz="quarter" idx="3"/>
          </p:nvPr>
        </p:nvSpPr>
        <p:spPr>
          <a:xfrm>
            <a:off x="3407569" y="6356351"/>
            <a:ext cx="3471863" cy="365125"/>
          </a:xfrm>
          <a:prstGeom prst="rect">
            <a:avLst/>
          </a:prstGeom>
        </p:spPr>
        <p:txBody>
          <a:bodyPr vert="horz" lIns="91440" tIns="45720" rIns="91440" bIns="45720" rtlCol="0" anchor="ctr"/>
          <a:lstStyle>
            <a:lvl1pPr algn="ctr">
              <a:defRPr sz="1013">
                <a:solidFill>
                  <a:schemeClr val="tx1">
                    <a:tint val="75000"/>
                  </a:schemeClr>
                </a:solidFill>
              </a:defRPr>
            </a:lvl1pPr>
          </a:lstStyle>
          <a:p>
            <a:endParaRPr lang="el-GR"/>
          </a:p>
        </p:txBody>
      </p:sp>
      <p:sp>
        <p:nvSpPr>
          <p:cNvPr id="6" name="Slide Number Placeholder 5">
            <a:extLst>
              <a:ext uri="{FF2B5EF4-FFF2-40B4-BE49-F238E27FC236}">
                <a16:creationId xmlns:a16="http://schemas.microsoft.com/office/drawing/2014/main" id="{3A803130-9446-44EF-B8E7-3D9C3FABBE08}"/>
              </a:ext>
            </a:extLst>
          </p:cNvPr>
          <p:cNvSpPr>
            <a:spLocks noGrp="1"/>
          </p:cNvSpPr>
          <p:nvPr>
            <p:ph type="sldNum" sz="quarter" idx="4"/>
          </p:nvPr>
        </p:nvSpPr>
        <p:spPr>
          <a:xfrm>
            <a:off x="7265194" y="6356351"/>
            <a:ext cx="2314575" cy="365125"/>
          </a:xfrm>
          <a:prstGeom prst="rect">
            <a:avLst/>
          </a:prstGeom>
        </p:spPr>
        <p:txBody>
          <a:bodyPr vert="horz" lIns="91440" tIns="45720" rIns="91440" bIns="45720" rtlCol="0" anchor="ctr"/>
          <a:lstStyle>
            <a:lvl1pPr algn="r">
              <a:defRPr sz="1013">
                <a:solidFill>
                  <a:schemeClr val="tx1">
                    <a:tint val="75000"/>
                  </a:schemeClr>
                </a:solidFill>
              </a:defRPr>
            </a:lvl1pPr>
          </a:lstStyle>
          <a:p>
            <a:fld id="{9A4451B5-06E3-4066-AD22-B4B7F2CC396C}" type="slidenum">
              <a:rPr lang="el-GR" smtClean="0"/>
              <a:t>‹#›</a:t>
            </a:fld>
            <a:endParaRPr lang="el-GR"/>
          </a:p>
        </p:txBody>
      </p:sp>
    </p:spTree>
    <p:extLst>
      <p:ext uri="{BB962C8B-B14F-4D97-AF65-F5344CB8AC3E}">
        <p14:creationId xmlns:p14="http://schemas.microsoft.com/office/powerpoint/2010/main" val="267342274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Lst>
  <p:txStyles>
    <p:titleStyle>
      <a:lvl1pPr algn="l" defTabSz="771571" rtl="0" eaLnBrk="1" latinLnBrk="0" hangingPunct="1">
        <a:lnSpc>
          <a:spcPct val="90000"/>
        </a:lnSpc>
        <a:spcBef>
          <a:spcPct val="0"/>
        </a:spcBef>
        <a:buNone/>
        <a:defRPr sz="3713" kern="1200">
          <a:solidFill>
            <a:schemeClr val="tx1"/>
          </a:solidFill>
          <a:latin typeface="+mj-lt"/>
          <a:ea typeface="+mj-ea"/>
          <a:cs typeface="+mj-cs"/>
        </a:defRPr>
      </a:lvl1pPr>
    </p:titleStyle>
    <p:bodyStyle>
      <a:lvl1pPr marL="192893" indent="-192893" algn="l" defTabSz="771571" rtl="0" eaLnBrk="1" latinLnBrk="0" hangingPunct="1">
        <a:lnSpc>
          <a:spcPct val="90000"/>
        </a:lnSpc>
        <a:spcBef>
          <a:spcPts val="844"/>
        </a:spcBef>
        <a:buFont typeface="Arial" panose="020B0604020202020204" pitchFamily="34" charset="0"/>
        <a:buChar char="•"/>
        <a:defRPr sz="2363" kern="1200">
          <a:solidFill>
            <a:schemeClr val="tx1"/>
          </a:solidFill>
          <a:latin typeface="+mn-lt"/>
          <a:ea typeface="+mn-ea"/>
          <a:cs typeface="+mn-cs"/>
        </a:defRPr>
      </a:lvl1pPr>
      <a:lvl2pPr marL="578678" indent="-192893" algn="l" defTabSz="771571" rtl="0" eaLnBrk="1" latinLnBrk="0" hangingPunct="1">
        <a:lnSpc>
          <a:spcPct val="90000"/>
        </a:lnSpc>
        <a:spcBef>
          <a:spcPts val="422"/>
        </a:spcBef>
        <a:buFont typeface="Arial" panose="020B0604020202020204" pitchFamily="34" charset="0"/>
        <a:buChar char="•"/>
        <a:defRPr sz="2025" kern="1200">
          <a:solidFill>
            <a:schemeClr val="tx1"/>
          </a:solidFill>
          <a:latin typeface="+mn-lt"/>
          <a:ea typeface="+mn-ea"/>
          <a:cs typeface="+mn-cs"/>
        </a:defRPr>
      </a:lvl2pPr>
      <a:lvl3pPr marL="964463" indent="-192893" algn="l" defTabSz="771571" rtl="0" eaLnBrk="1" latinLnBrk="0" hangingPunct="1">
        <a:lnSpc>
          <a:spcPct val="90000"/>
        </a:lnSpc>
        <a:spcBef>
          <a:spcPts val="422"/>
        </a:spcBef>
        <a:buFont typeface="Arial" panose="020B0604020202020204" pitchFamily="34" charset="0"/>
        <a:buChar char="•"/>
        <a:defRPr sz="1688" kern="1200">
          <a:solidFill>
            <a:schemeClr val="tx1"/>
          </a:solidFill>
          <a:latin typeface="+mn-lt"/>
          <a:ea typeface="+mn-ea"/>
          <a:cs typeface="+mn-cs"/>
        </a:defRPr>
      </a:lvl3pPr>
      <a:lvl4pPr marL="1350249"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4pPr>
      <a:lvl5pPr marL="1736034"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5pPr>
      <a:lvl6pPr marL="2121819"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6pPr>
      <a:lvl7pPr marL="2507605"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7pPr>
      <a:lvl8pPr marL="2893390"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8pPr>
      <a:lvl9pPr marL="3279176"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9pPr>
    </p:bodyStyle>
    <p:otherStyle>
      <a:defPPr>
        <a:defRPr lang="el-GR"/>
      </a:defPPr>
      <a:lvl1pPr marL="0" algn="l" defTabSz="771571" rtl="0" eaLnBrk="1" latinLnBrk="0" hangingPunct="1">
        <a:defRPr sz="1519" kern="1200">
          <a:solidFill>
            <a:schemeClr val="tx1"/>
          </a:solidFill>
          <a:latin typeface="+mn-lt"/>
          <a:ea typeface="+mn-ea"/>
          <a:cs typeface="+mn-cs"/>
        </a:defRPr>
      </a:lvl1pPr>
      <a:lvl2pPr marL="385785" algn="l" defTabSz="771571" rtl="0" eaLnBrk="1" latinLnBrk="0" hangingPunct="1">
        <a:defRPr sz="1519" kern="1200">
          <a:solidFill>
            <a:schemeClr val="tx1"/>
          </a:solidFill>
          <a:latin typeface="+mn-lt"/>
          <a:ea typeface="+mn-ea"/>
          <a:cs typeface="+mn-cs"/>
        </a:defRPr>
      </a:lvl2pPr>
      <a:lvl3pPr marL="771571" algn="l" defTabSz="771571" rtl="0" eaLnBrk="1" latinLnBrk="0" hangingPunct="1">
        <a:defRPr sz="1519" kern="1200">
          <a:solidFill>
            <a:schemeClr val="tx1"/>
          </a:solidFill>
          <a:latin typeface="+mn-lt"/>
          <a:ea typeface="+mn-ea"/>
          <a:cs typeface="+mn-cs"/>
        </a:defRPr>
      </a:lvl3pPr>
      <a:lvl4pPr marL="1157356" algn="l" defTabSz="771571" rtl="0" eaLnBrk="1" latinLnBrk="0" hangingPunct="1">
        <a:defRPr sz="1519" kern="1200">
          <a:solidFill>
            <a:schemeClr val="tx1"/>
          </a:solidFill>
          <a:latin typeface="+mn-lt"/>
          <a:ea typeface="+mn-ea"/>
          <a:cs typeface="+mn-cs"/>
        </a:defRPr>
      </a:lvl4pPr>
      <a:lvl5pPr marL="1543141" algn="l" defTabSz="771571" rtl="0" eaLnBrk="1" latinLnBrk="0" hangingPunct="1">
        <a:defRPr sz="1519" kern="1200">
          <a:solidFill>
            <a:schemeClr val="tx1"/>
          </a:solidFill>
          <a:latin typeface="+mn-lt"/>
          <a:ea typeface="+mn-ea"/>
          <a:cs typeface="+mn-cs"/>
        </a:defRPr>
      </a:lvl5pPr>
      <a:lvl6pPr marL="1928927" algn="l" defTabSz="771571" rtl="0" eaLnBrk="1" latinLnBrk="0" hangingPunct="1">
        <a:defRPr sz="1519" kern="1200">
          <a:solidFill>
            <a:schemeClr val="tx1"/>
          </a:solidFill>
          <a:latin typeface="+mn-lt"/>
          <a:ea typeface="+mn-ea"/>
          <a:cs typeface="+mn-cs"/>
        </a:defRPr>
      </a:lvl6pPr>
      <a:lvl7pPr marL="2314712" algn="l" defTabSz="771571" rtl="0" eaLnBrk="1" latinLnBrk="0" hangingPunct="1">
        <a:defRPr sz="1519" kern="1200">
          <a:solidFill>
            <a:schemeClr val="tx1"/>
          </a:solidFill>
          <a:latin typeface="+mn-lt"/>
          <a:ea typeface="+mn-ea"/>
          <a:cs typeface="+mn-cs"/>
        </a:defRPr>
      </a:lvl7pPr>
      <a:lvl8pPr marL="2700498" algn="l" defTabSz="771571" rtl="0" eaLnBrk="1" latinLnBrk="0" hangingPunct="1">
        <a:defRPr sz="1519" kern="1200">
          <a:solidFill>
            <a:schemeClr val="tx1"/>
          </a:solidFill>
          <a:latin typeface="+mn-lt"/>
          <a:ea typeface="+mn-ea"/>
          <a:cs typeface="+mn-cs"/>
        </a:defRPr>
      </a:lvl8pPr>
      <a:lvl9pPr marL="3086283" algn="l" defTabSz="771571" rtl="0" eaLnBrk="1" latinLnBrk="0" hangingPunct="1">
        <a:defRPr sz="151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40000"/>
                <a:invGamma/>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2ADB227-7D90-423F-BBA9-979D8FA27C34}"/>
              </a:ext>
            </a:extLst>
          </p:cNvPr>
          <p:cNvSpPr>
            <a:spLocks noGrp="1" noChangeArrowheads="1"/>
          </p:cNvSpPr>
          <p:nvPr>
            <p:ph type="title"/>
          </p:nvPr>
        </p:nvSpPr>
        <p:spPr bwMode="auto">
          <a:xfrm>
            <a:off x="771525" y="609600"/>
            <a:ext cx="874395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p>
            <a:pPr lvl="0"/>
            <a:r>
              <a:rPr lang="el-GR" altLang="el-GR"/>
              <a:t>Click to edit Master title style</a:t>
            </a:r>
          </a:p>
        </p:txBody>
      </p:sp>
      <p:sp>
        <p:nvSpPr>
          <p:cNvPr id="1027" name="Rectangle 3">
            <a:extLst>
              <a:ext uri="{FF2B5EF4-FFF2-40B4-BE49-F238E27FC236}">
                <a16:creationId xmlns:a16="http://schemas.microsoft.com/office/drawing/2014/main" id="{89FAD3A2-C728-4C5A-B80C-5E0225BC4661}"/>
              </a:ext>
            </a:extLst>
          </p:cNvPr>
          <p:cNvSpPr>
            <a:spLocks noGrp="1" noChangeArrowheads="1"/>
          </p:cNvSpPr>
          <p:nvPr>
            <p:ph type="body" idx="1"/>
          </p:nvPr>
        </p:nvSpPr>
        <p:spPr bwMode="auto">
          <a:xfrm>
            <a:off x="771525" y="1981200"/>
            <a:ext cx="874395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lvl="0"/>
            <a:r>
              <a:rPr lang="el-GR" altLang="el-GR"/>
              <a:t>Click to edit Master text styles</a:t>
            </a:r>
          </a:p>
          <a:p>
            <a:pPr lvl="1"/>
            <a:r>
              <a:rPr lang="el-GR" altLang="el-GR"/>
              <a:t>Second level</a:t>
            </a:r>
          </a:p>
          <a:p>
            <a:pPr lvl="2"/>
            <a:r>
              <a:rPr lang="el-GR" altLang="el-GR"/>
              <a:t>Third level</a:t>
            </a:r>
          </a:p>
          <a:p>
            <a:pPr lvl="3"/>
            <a:r>
              <a:rPr lang="el-GR" altLang="el-GR"/>
              <a:t>Fourth level</a:t>
            </a:r>
          </a:p>
          <a:p>
            <a:pPr lvl="4"/>
            <a:r>
              <a:rPr lang="el-GR" altLang="el-GR"/>
              <a:t>Fifth level</a:t>
            </a:r>
          </a:p>
        </p:txBody>
      </p:sp>
      <p:sp>
        <p:nvSpPr>
          <p:cNvPr id="1028" name="Rectangle 4">
            <a:extLst>
              <a:ext uri="{FF2B5EF4-FFF2-40B4-BE49-F238E27FC236}">
                <a16:creationId xmlns:a16="http://schemas.microsoft.com/office/drawing/2014/main" id="{8DCFC2E4-ECBB-4B09-9C89-743D564DDEB3}"/>
              </a:ext>
            </a:extLst>
          </p:cNvPr>
          <p:cNvSpPr>
            <a:spLocks noGrp="1" noChangeArrowheads="1"/>
          </p:cNvSpPr>
          <p:nvPr>
            <p:ph type="dt" sz="half" idx="2"/>
          </p:nvPr>
        </p:nvSpPr>
        <p:spPr bwMode="auto">
          <a:xfrm>
            <a:off x="771525" y="6248400"/>
            <a:ext cx="21431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2075" tIns="46038" rIns="92075" bIns="46038" numCol="1" anchor="ctr" anchorCtr="0" compatLnSpc="1">
            <a:prstTxWarp prst="textNoShape">
              <a:avLst/>
            </a:prstTxWarp>
          </a:bodyPr>
          <a:lstStyle>
            <a:lvl1pPr defTabSz="762000">
              <a:defRPr sz="1400"/>
            </a:lvl1pPr>
          </a:lstStyle>
          <a:p>
            <a:endParaRPr lang="el-GR" altLang="el-GR"/>
          </a:p>
        </p:txBody>
      </p:sp>
      <p:sp>
        <p:nvSpPr>
          <p:cNvPr id="1029" name="Rectangle 5">
            <a:extLst>
              <a:ext uri="{FF2B5EF4-FFF2-40B4-BE49-F238E27FC236}">
                <a16:creationId xmlns:a16="http://schemas.microsoft.com/office/drawing/2014/main" id="{75EFC635-557B-4B8E-8676-56B0D3D31F8E}"/>
              </a:ext>
            </a:extLst>
          </p:cNvPr>
          <p:cNvSpPr>
            <a:spLocks noGrp="1" noChangeArrowheads="1"/>
          </p:cNvSpPr>
          <p:nvPr>
            <p:ph type="ftr" sz="quarter" idx="3"/>
          </p:nvPr>
        </p:nvSpPr>
        <p:spPr bwMode="auto">
          <a:xfrm>
            <a:off x="3514725" y="6248400"/>
            <a:ext cx="32575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2075" tIns="46038" rIns="92075" bIns="46038" numCol="1" anchor="ctr" anchorCtr="0" compatLnSpc="1">
            <a:prstTxWarp prst="textNoShape">
              <a:avLst/>
            </a:prstTxWarp>
          </a:bodyPr>
          <a:lstStyle>
            <a:lvl1pPr algn="ctr" defTabSz="762000">
              <a:defRPr sz="1400"/>
            </a:lvl1pPr>
          </a:lstStyle>
          <a:p>
            <a:endParaRPr lang="el-GR" altLang="el-GR"/>
          </a:p>
        </p:txBody>
      </p:sp>
      <p:sp>
        <p:nvSpPr>
          <p:cNvPr id="1030" name="Rectangle 6">
            <a:extLst>
              <a:ext uri="{FF2B5EF4-FFF2-40B4-BE49-F238E27FC236}">
                <a16:creationId xmlns:a16="http://schemas.microsoft.com/office/drawing/2014/main" id="{181D4772-891E-41F8-B9E4-CADB5E2A99FD}"/>
              </a:ext>
            </a:extLst>
          </p:cNvPr>
          <p:cNvSpPr>
            <a:spLocks noGrp="1" noChangeArrowheads="1"/>
          </p:cNvSpPr>
          <p:nvPr>
            <p:ph type="sldNum" sz="quarter" idx="4"/>
          </p:nvPr>
        </p:nvSpPr>
        <p:spPr bwMode="auto">
          <a:xfrm>
            <a:off x="7372350" y="6248400"/>
            <a:ext cx="21431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2075" tIns="46038" rIns="92075" bIns="46038" numCol="1" anchor="ctr" anchorCtr="0" compatLnSpc="1">
            <a:prstTxWarp prst="textNoShape">
              <a:avLst/>
            </a:prstTxWarp>
          </a:bodyPr>
          <a:lstStyle>
            <a:lvl1pPr algn="r" defTabSz="762000">
              <a:defRPr sz="1400"/>
            </a:lvl1pPr>
          </a:lstStyle>
          <a:p>
            <a:fld id="{DED4B7A0-1F24-454B-AEFD-8921D292874E}" type="slidenum">
              <a:rPr lang="el-GR" altLang="el-GR"/>
              <a:pPr/>
              <a:t>‹#›</a:t>
            </a:fld>
            <a:endParaRPr lang="el-GR" altLang="el-GR"/>
          </a:p>
        </p:txBody>
      </p:sp>
    </p:spTree>
    <p:extLst>
      <p:ext uri="{BB962C8B-B14F-4D97-AF65-F5344CB8AC3E}">
        <p14:creationId xmlns:p14="http://schemas.microsoft.com/office/powerpoint/2010/main" val="2937184843"/>
      </p:ext>
    </p:extLst>
  </p:cSld>
  <p:clrMap bg1="dk2" tx1="lt1" bg2="dk1" tx2="lt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Lst>
  <p:transition>
    <p:wipe dir="r"/>
  </p:transition>
  <p:txStyles>
    <p:titleStyle>
      <a:lvl1pPr algn="ctr" defTabSz="762000" rtl="0" eaLnBrk="0" fontAlgn="base" hangingPunct="0">
        <a:spcBef>
          <a:spcPct val="0"/>
        </a:spcBef>
        <a:spcAft>
          <a:spcPct val="0"/>
        </a:spcAft>
        <a:defRPr sz="4400" kern="1200">
          <a:solidFill>
            <a:schemeClr val="tx2"/>
          </a:solidFill>
          <a:latin typeface="+mj-lt"/>
          <a:ea typeface="+mj-ea"/>
          <a:cs typeface="+mj-cs"/>
        </a:defRPr>
      </a:lvl1pPr>
      <a:lvl2pPr algn="ctr" defTabSz="762000" rtl="0" eaLnBrk="0" fontAlgn="base" hangingPunct="0">
        <a:spcBef>
          <a:spcPct val="0"/>
        </a:spcBef>
        <a:spcAft>
          <a:spcPct val="0"/>
        </a:spcAft>
        <a:defRPr sz="4400">
          <a:solidFill>
            <a:schemeClr val="tx2"/>
          </a:solidFill>
          <a:latin typeface="Arial" panose="020B0604020202020204" pitchFamily="34" charset="0"/>
        </a:defRPr>
      </a:lvl2pPr>
      <a:lvl3pPr algn="ctr" defTabSz="762000" rtl="0" eaLnBrk="0" fontAlgn="base" hangingPunct="0">
        <a:spcBef>
          <a:spcPct val="0"/>
        </a:spcBef>
        <a:spcAft>
          <a:spcPct val="0"/>
        </a:spcAft>
        <a:defRPr sz="4400">
          <a:solidFill>
            <a:schemeClr val="tx2"/>
          </a:solidFill>
          <a:latin typeface="Arial" panose="020B0604020202020204" pitchFamily="34" charset="0"/>
        </a:defRPr>
      </a:lvl3pPr>
      <a:lvl4pPr algn="ctr" defTabSz="762000" rtl="0" eaLnBrk="0" fontAlgn="base" hangingPunct="0">
        <a:spcBef>
          <a:spcPct val="0"/>
        </a:spcBef>
        <a:spcAft>
          <a:spcPct val="0"/>
        </a:spcAft>
        <a:defRPr sz="4400">
          <a:solidFill>
            <a:schemeClr val="tx2"/>
          </a:solidFill>
          <a:latin typeface="Arial" panose="020B0604020202020204" pitchFamily="34" charset="0"/>
        </a:defRPr>
      </a:lvl4pPr>
      <a:lvl5pPr algn="ctr" defTabSz="762000" rtl="0" eaLnBrk="0" fontAlgn="base" hangingPunct="0">
        <a:spcBef>
          <a:spcPct val="0"/>
        </a:spcBef>
        <a:spcAft>
          <a:spcPct val="0"/>
        </a:spcAft>
        <a:defRPr sz="4400">
          <a:solidFill>
            <a:schemeClr val="tx2"/>
          </a:solidFill>
          <a:latin typeface="Arial" panose="020B0604020202020204" pitchFamily="34" charset="0"/>
        </a:defRPr>
      </a:lvl5pPr>
      <a:lvl6pPr marL="457200" algn="ctr" defTabSz="762000" rtl="0" eaLnBrk="0" fontAlgn="base" hangingPunct="0">
        <a:spcBef>
          <a:spcPct val="0"/>
        </a:spcBef>
        <a:spcAft>
          <a:spcPct val="0"/>
        </a:spcAft>
        <a:defRPr sz="4400">
          <a:solidFill>
            <a:schemeClr val="tx2"/>
          </a:solidFill>
          <a:latin typeface="Arial" panose="020B0604020202020204" pitchFamily="34" charset="0"/>
        </a:defRPr>
      </a:lvl6pPr>
      <a:lvl7pPr marL="914400" algn="ctr" defTabSz="762000" rtl="0" eaLnBrk="0" fontAlgn="base" hangingPunct="0">
        <a:spcBef>
          <a:spcPct val="0"/>
        </a:spcBef>
        <a:spcAft>
          <a:spcPct val="0"/>
        </a:spcAft>
        <a:defRPr sz="4400">
          <a:solidFill>
            <a:schemeClr val="tx2"/>
          </a:solidFill>
          <a:latin typeface="Arial" panose="020B0604020202020204" pitchFamily="34" charset="0"/>
        </a:defRPr>
      </a:lvl7pPr>
      <a:lvl8pPr marL="1371600" algn="ctr" defTabSz="762000" rtl="0" eaLnBrk="0" fontAlgn="base" hangingPunct="0">
        <a:spcBef>
          <a:spcPct val="0"/>
        </a:spcBef>
        <a:spcAft>
          <a:spcPct val="0"/>
        </a:spcAft>
        <a:defRPr sz="4400">
          <a:solidFill>
            <a:schemeClr val="tx2"/>
          </a:solidFill>
          <a:latin typeface="Arial" panose="020B0604020202020204" pitchFamily="34" charset="0"/>
        </a:defRPr>
      </a:lvl8pPr>
      <a:lvl9pPr marL="1828800" algn="ctr" defTabSz="762000" rtl="0" eaLnBrk="0" fontAlgn="base" hangingPunct="0">
        <a:spcBef>
          <a:spcPct val="0"/>
        </a:spcBef>
        <a:spcAft>
          <a:spcPct val="0"/>
        </a:spcAft>
        <a:defRPr sz="4400">
          <a:solidFill>
            <a:schemeClr val="tx2"/>
          </a:solidFill>
          <a:latin typeface="Arial" panose="020B0604020202020204" pitchFamily="34" charset="0"/>
        </a:defRPr>
      </a:lvl9pPr>
    </p:titleStyle>
    <p:bodyStyle>
      <a:lvl1pPr marL="342900" indent="-342900" algn="l" defTabSz="762000" rtl="0" eaLnBrk="0" fontAlgn="base" hangingPunct="0">
        <a:spcBef>
          <a:spcPct val="20000"/>
        </a:spcBef>
        <a:spcAft>
          <a:spcPct val="0"/>
        </a:spcAft>
        <a:buChar char="•"/>
        <a:defRPr sz="3200" kern="1200">
          <a:solidFill>
            <a:schemeClr val="tx1"/>
          </a:solidFill>
          <a:latin typeface="+mn-lt"/>
          <a:ea typeface="+mn-ea"/>
          <a:cs typeface="+mn-cs"/>
        </a:defRPr>
      </a:lvl1pPr>
      <a:lvl2pPr marL="742950" indent="-285750" algn="l" defTabSz="762000" rtl="0" eaLnBrk="0" fontAlgn="base" hangingPunct="0">
        <a:spcBef>
          <a:spcPct val="20000"/>
        </a:spcBef>
        <a:spcAft>
          <a:spcPct val="0"/>
        </a:spcAft>
        <a:buChar char="–"/>
        <a:defRPr sz="2800" kern="1200">
          <a:solidFill>
            <a:schemeClr val="tx1"/>
          </a:solidFill>
          <a:latin typeface="+mn-lt"/>
          <a:ea typeface="+mn-ea"/>
          <a:cs typeface="+mn-cs"/>
        </a:defRPr>
      </a:lvl2pPr>
      <a:lvl3pPr marL="1143000" indent="-228600" algn="l" defTabSz="762000" rtl="0" eaLnBrk="0" fontAlgn="base" hangingPunct="0">
        <a:spcBef>
          <a:spcPct val="20000"/>
        </a:spcBef>
        <a:spcAft>
          <a:spcPct val="0"/>
        </a:spcAft>
        <a:buChar char="•"/>
        <a:defRPr sz="2400" kern="1200">
          <a:solidFill>
            <a:schemeClr val="tx1"/>
          </a:solidFill>
          <a:latin typeface="+mn-lt"/>
          <a:ea typeface="+mn-ea"/>
          <a:cs typeface="+mn-cs"/>
        </a:defRPr>
      </a:lvl3pPr>
      <a:lvl4pPr marL="1600200" indent="-228600" algn="l" defTabSz="762000" rtl="0" eaLnBrk="0" fontAlgn="base" hangingPunct="0">
        <a:spcBef>
          <a:spcPct val="20000"/>
        </a:spcBef>
        <a:spcAft>
          <a:spcPct val="0"/>
        </a:spcAft>
        <a:buChar char="–"/>
        <a:defRPr sz="2000" kern="1200">
          <a:solidFill>
            <a:schemeClr val="tx1"/>
          </a:solidFill>
          <a:latin typeface="+mn-lt"/>
          <a:ea typeface="+mn-ea"/>
          <a:cs typeface="+mn-cs"/>
        </a:defRPr>
      </a:lvl4pPr>
      <a:lvl5pPr marL="2057400" indent="-228600" algn="l" defTabSz="762000" rtl="0" eaLnBrk="0" fontAlgn="base" hangingPunct="0">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invGray">
      <p:bgPr>
        <a:solidFill>
          <a:schemeClr val="tx1"/>
        </a:solidFill>
        <a:effectLst/>
      </p:bgPr>
    </p:bg>
    <p:spTree>
      <p:nvGrpSpPr>
        <p:cNvPr id="1" name=""/>
        <p:cNvGrpSpPr/>
        <p:nvPr/>
      </p:nvGrpSpPr>
      <p:grpSpPr>
        <a:xfrm>
          <a:off x="0" y="0"/>
          <a:ext cx="0" cy="0"/>
          <a:chOff x="0" y="0"/>
          <a:chExt cx="0" cy="0"/>
        </a:xfrm>
      </p:grpSpPr>
      <p:sp>
        <p:nvSpPr>
          <p:cNvPr id="5124" name="Rectangle 2"/>
          <p:cNvSpPr>
            <a:spLocks noGrp="1" noChangeArrowheads="1"/>
          </p:cNvSpPr>
          <p:nvPr>
            <p:ph type="title"/>
          </p:nvPr>
        </p:nvSpPr>
        <p:spPr bwMode="auto">
          <a:xfrm>
            <a:off x="364331" y="692151"/>
            <a:ext cx="9879806"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de-DE" dirty="0"/>
              <a:t>Click to edit Master title style</a:t>
            </a:r>
          </a:p>
        </p:txBody>
      </p:sp>
      <p:sp>
        <p:nvSpPr>
          <p:cNvPr id="5125" name="Rectangle 3"/>
          <p:cNvSpPr>
            <a:spLocks noGrp="1" noChangeArrowheads="1"/>
          </p:cNvSpPr>
          <p:nvPr>
            <p:ph type="body" idx="1"/>
          </p:nvPr>
        </p:nvSpPr>
        <p:spPr bwMode="auto">
          <a:xfrm>
            <a:off x="282178" y="1700213"/>
            <a:ext cx="9815513" cy="488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de-DE" dirty="0"/>
              <a:t>Click to edit Master text styles</a:t>
            </a:r>
          </a:p>
          <a:p>
            <a:pPr lvl="1"/>
            <a:r>
              <a:rPr lang="en-US" altLang="de-DE" dirty="0"/>
              <a:t>Second level</a:t>
            </a:r>
          </a:p>
          <a:p>
            <a:pPr lvl="2"/>
            <a:r>
              <a:rPr lang="en-US" altLang="de-DE" dirty="0"/>
              <a:t>Third level</a:t>
            </a:r>
          </a:p>
          <a:p>
            <a:pPr lvl="3"/>
            <a:r>
              <a:rPr lang="en-US" altLang="de-DE" dirty="0"/>
              <a:t>Fourth level</a:t>
            </a:r>
          </a:p>
          <a:p>
            <a:pPr lvl="4"/>
            <a:r>
              <a:rPr lang="en-US" altLang="de-DE" dirty="0"/>
              <a:t>Fifth level</a:t>
            </a:r>
          </a:p>
        </p:txBody>
      </p:sp>
      <p:sp>
        <p:nvSpPr>
          <p:cNvPr id="7" name="Rectangle 5"/>
          <p:cNvSpPr>
            <a:spLocks noGrp="1" noChangeArrowheads="1"/>
          </p:cNvSpPr>
          <p:nvPr>
            <p:ph type="sldNum" sz="quarter" idx="4"/>
          </p:nvPr>
        </p:nvSpPr>
        <p:spPr bwMode="auto">
          <a:xfrm>
            <a:off x="7372350" y="6245225"/>
            <a:ext cx="24003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eaLnBrk="1" hangingPunct="1">
              <a:defRPr sz="1400">
                <a:solidFill>
                  <a:srgbClr val="FFFFFF"/>
                </a:solidFill>
                <a:latin typeface="Arial" pitchFamily="34" charset="0"/>
                <a:cs typeface="Arial" panose="020B0604020202020204" pitchFamily="34" charset="0"/>
              </a:defRPr>
            </a:lvl1pPr>
          </a:lstStyle>
          <a:p>
            <a:pPr>
              <a:defRPr/>
            </a:pPr>
            <a:fld id="{72F0EFEE-D434-4DA9-BEB4-8D1A23152C58}" type="slidenum">
              <a:rPr lang="de-DE" altLang="de-DE" smtClean="0"/>
              <a:pPr>
                <a:defRPr/>
              </a:pPr>
              <a:t>‹#›</a:t>
            </a:fld>
            <a:endParaRPr lang="de-DE" altLang="de-DE" dirty="0"/>
          </a:p>
        </p:txBody>
      </p:sp>
    </p:spTree>
    <p:extLst>
      <p:ext uri="{BB962C8B-B14F-4D97-AF65-F5344CB8AC3E}">
        <p14:creationId xmlns:p14="http://schemas.microsoft.com/office/powerpoint/2010/main" val="1191580591"/>
      </p:ext>
    </p:extLst>
  </p:cSld>
  <p:clrMap bg1="dk2" tx1="lt1" bg2="dk1"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Lst>
  <p:transition>
    <p:wipe dir="r"/>
  </p:transition>
  <p:txStyles>
    <p:titleStyle>
      <a:lvl1pPr algn="ctr" rtl="0" eaLnBrk="0" fontAlgn="base" hangingPunct="0">
        <a:lnSpc>
          <a:spcPct val="85000"/>
        </a:lnSpc>
        <a:spcBef>
          <a:spcPct val="0"/>
        </a:spcBef>
        <a:spcAft>
          <a:spcPct val="0"/>
        </a:spcAft>
        <a:buClr>
          <a:srgbClr val="FFFF00"/>
        </a:buClr>
        <a:defRPr sz="3600" b="1">
          <a:solidFill>
            <a:schemeClr val="bg2"/>
          </a:solidFill>
          <a:latin typeface="Arial" panose="020B0604020202020204" pitchFamily="34" charset="0"/>
          <a:ea typeface="+mj-ea"/>
          <a:cs typeface="+mj-cs"/>
        </a:defRPr>
      </a:lvl1pPr>
      <a:lvl2pPr algn="ctr" rtl="0" eaLnBrk="0" fontAlgn="base" hangingPunct="0">
        <a:lnSpc>
          <a:spcPct val="85000"/>
        </a:lnSpc>
        <a:spcBef>
          <a:spcPct val="0"/>
        </a:spcBef>
        <a:spcAft>
          <a:spcPct val="0"/>
        </a:spcAft>
        <a:buClr>
          <a:srgbClr val="FFFF00"/>
        </a:buClr>
        <a:defRPr sz="3000" b="1">
          <a:solidFill>
            <a:schemeClr val="bg2"/>
          </a:solidFill>
          <a:latin typeface="Arial" pitchFamily="34" charset="0"/>
        </a:defRPr>
      </a:lvl2pPr>
      <a:lvl3pPr algn="ctr" rtl="0" eaLnBrk="0" fontAlgn="base" hangingPunct="0">
        <a:lnSpc>
          <a:spcPct val="85000"/>
        </a:lnSpc>
        <a:spcBef>
          <a:spcPct val="0"/>
        </a:spcBef>
        <a:spcAft>
          <a:spcPct val="0"/>
        </a:spcAft>
        <a:buClr>
          <a:srgbClr val="FFFF00"/>
        </a:buClr>
        <a:defRPr sz="3000" b="1">
          <a:solidFill>
            <a:schemeClr val="bg2"/>
          </a:solidFill>
          <a:latin typeface="Arial" pitchFamily="34" charset="0"/>
        </a:defRPr>
      </a:lvl3pPr>
      <a:lvl4pPr algn="ctr" rtl="0" eaLnBrk="0" fontAlgn="base" hangingPunct="0">
        <a:lnSpc>
          <a:spcPct val="85000"/>
        </a:lnSpc>
        <a:spcBef>
          <a:spcPct val="0"/>
        </a:spcBef>
        <a:spcAft>
          <a:spcPct val="0"/>
        </a:spcAft>
        <a:buClr>
          <a:srgbClr val="FFFF00"/>
        </a:buClr>
        <a:defRPr sz="3000" b="1">
          <a:solidFill>
            <a:schemeClr val="bg2"/>
          </a:solidFill>
          <a:latin typeface="Arial" pitchFamily="34" charset="0"/>
        </a:defRPr>
      </a:lvl4pPr>
      <a:lvl5pPr algn="ctr" rtl="0" eaLnBrk="0" fontAlgn="base" hangingPunct="0">
        <a:lnSpc>
          <a:spcPct val="85000"/>
        </a:lnSpc>
        <a:spcBef>
          <a:spcPct val="0"/>
        </a:spcBef>
        <a:spcAft>
          <a:spcPct val="0"/>
        </a:spcAft>
        <a:buClr>
          <a:srgbClr val="FFFF00"/>
        </a:buClr>
        <a:defRPr sz="3000" b="1">
          <a:solidFill>
            <a:schemeClr val="bg2"/>
          </a:solidFill>
          <a:latin typeface="Arial" pitchFamily="34" charset="0"/>
        </a:defRPr>
      </a:lvl5pPr>
      <a:lvl6pPr marL="457200" algn="ctr" rtl="0" eaLnBrk="0" fontAlgn="base" hangingPunct="0">
        <a:lnSpc>
          <a:spcPct val="85000"/>
        </a:lnSpc>
        <a:spcBef>
          <a:spcPct val="0"/>
        </a:spcBef>
        <a:spcAft>
          <a:spcPct val="0"/>
        </a:spcAft>
        <a:buClr>
          <a:srgbClr val="FFFF00"/>
        </a:buClr>
        <a:defRPr sz="3600" b="1">
          <a:solidFill>
            <a:schemeClr val="bg2"/>
          </a:solidFill>
          <a:latin typeface="Arial" pitchFamily="34" charset="0"/>
        </a:defRPr>
      </a:lvl6pPr>
      <a:lvl7pPr marL="914400" algn="ctr" rtl="0" eaLnBrk="0" fontAlgn="base" hangingPunct="0">
        <a:lnSpc>
          <a:spcPct val="85000"/>
        </a:lnSpc>
        <a:spcBef>
          <a:spcPct val="0"/>
        </a:spcBef>
        <a:spcAft>
          <a:spcPct val="0"/>
        </a:spcAft>
        <a:buClr>
          <a:srgbClr val="FFFF00"/>
        </a:buClr>
        <a:defRPr sz="3600" b="1">
          <a:solidFill>
            <a:schemeClr val="bg2"/>
          </a:solidFill>
          <a:latin typeface="Arial" pitchFamily="34" charset="0"/>
        </a:defRPr>
      </a:lvl7pPr>
      <a:lvl8pPr marL="1371600" algn="ctr" rtl="0" eaLnBrk="0" fontAlgn="base" hangingPunct="0">
        <a:lnSpc>
          <a:spcPct val="85000"/>
        </a:lnSpc>
        <a:spcBef>
          <a:spcPct val="0"/>
        </a:spcBef>
        <a:spcAft>
          <a:spcPct val="0"/>
        </a:spcAft>
        <a:buClr>
          <a:srgbClr val="FFFF00"/>
        </a:buClr>
        <a:defRPr sz="3600" b="1">
          <a:solidFill>
            <a:schemeClr val="bg2"/>
          </a:solidFill>
          <a:latin typeface="Arial" pitchFamily="34" charset="0"/>
        </a:defRPr>
      </a:lvl8pPr>
      <a:lvl9pPr marL="1828800" algn="ctr" rtl="0" eaLnBrk="0" fontAlgn="base" hangingPunct="0">
        <a:lnSpc>
          <a:spcPct val="85000"/>
        </a:lnSpc>
        <a:spcBef>
          <a:spcPct val="0"/>
        </a:spcBef>
        <a:spcAft>
          <a:spcPct val="0"/>
        </a:spcAft>
        <a:buClr>
          <a:srgbClr val="FFFF00"/>
        </a:buClr>
        <a:defRPr sz="3600" b="1">
          <a:solidFill>
            <a:schemeClr val="bg2"/>
          </a:solidFill>
          <a:latin typeface="Arial" pitchFamily="34" charset="0"/>
        </a:defRPr>
      </a:lvl9pPr>
    </p:titleStyle>
    <p:bodyStyle>
      <a:lvl1pPr marL="355600" indent="-355600" algn="l" rtl="0" eaLnBrk="0" fontAlgn="base" hangingPunct="0">
        <a:spcBef>
          <a:spcPct val="0"/>
        </a:spcBef>
        <a:spcAft>
          <a:spcPct val="25000"/>
        </a:spcAft>
        <a:buChar char="•"/>
        <a:defRPr sz="2800">
          <a:solidFill>
            <a:schemeClr val="bg2"/>
          </a:solidFill>
          <a:latin typeface="Arial" panose="020B0604020202020204" pitchFamily="34" charset="0"/>
          <a:ea typeface="+mn-ea"/>
          <a:cs typeface="+mn-cs"/>
        </a:defRPr>
      </a:lvl1pPr>
      <a:lvl2pPr marL="688975" indent="-219075" algn="l" rtl="0" eaLnBrk="0" fontAlgn="base" hangingPunct="0">
        <a:spcBef>
          <a:spcPct val="0"/>
        </a:spcBef>
        <a:spcAft>
          <a:spcPct val="25000"/>
        </a:spcAft>
        <a:buFont typeface="Arial" pitchFamily="34" charset="0"/>
        <a:buChar char="–"/>
        <a:defRPr sz="2400">
          <a:solidFill>
            <a:schemeClr val="bg2"/>
          </a:solidFill>
          <a:latin typeface="Arial" panose="020B0604020202020204" pitchFamily="34" charset="0"/>
        </a:defRPr>
      </a:lvl2pPr>
      <a:lvl3pPr marL="1081088" indent="-166688" algn="l" rtl="0" eaLnBrk="0" fontAlgn="base" hangingPunct="0">
        <a:spcBef>
          <a:spcPct val="0"/>
        </a:spcBef>
        <a:spcAft>
          <a:spcPct val="25000"/>
        </a:spcAft>
        <a:buChar char="•"/>
        <a:defRPr sz="2000">
          <a:solidFill>
            <a:schemeClr val="bg2"/>
          </a:solidFill>
          <a:latin typeface="Arial" panose="020B0604020202020204" pitchFamily="34" charset="0"/>
        </a:defRPr>
      </a:lvl3pPr>
      <a:lvl4pPr marL="1433513" indent="-238125" algn="l" rtl="0" eaLnBrk="0" fontAlgn="base" hangingPunct="0">
        <a:spcBef>
          <a:spcPct val="0"/>
        </a:spcBef>
        <a:spcAft>
          <a:spcPct val="25000"/>
        </a:spcAft>
        <a:buFont typeface="Arial" pitchFamily="34" charset="0"/>
        <a:buChar char="–"/>
        <a:defRPr>
          <a:solidFill>
            <a:schemeClr val="bg2"/>
          </a:solidFill>
          <a:latin typeface="Arial" panose="020B0604020202020204" pitchFamily="34" charset="0"/>
        </a:defRPr>
      </a:lvl4pPr>
      <a:lvl5pPr marL="1773238" indent="-225425" algn="l" rtl="0" eaLnBrk="0" fontAlgn="base" hangingPunct="0">
        <a:spcBef>
          <a:spcPct val="0"/>
        </a:spcBef>
        <a:spcAft>
          <a:spcPct val="25000"/>
        </a:spcAft>
        <a:buChar char="•"/>
        <a:defRPr>
          <a:solidFill>
            <a:schemeClr val="bg2"/>
          </a:solidFill>
          <a:latin typeface="Arial" panose="020B0604020202020204" pitchFamily="34" charset="0"/>
        </a:defRPr>
      </a:lvl5pPr>
      <a:lvl6pPr marL="2230438" indent="-225425" algn="l" rtl="0" eaLnBrk="0" fontAlgn="base" hangingPunct="0">
        <a:spcBef>
          <a:spcPct val="0"/>
        </a:spcBef>
        <a:spcAft>
          <a:spcPct val="25000"/>
        </a:spcAft>
        <a:buClr>
          <a:srgbClr val="FFFF00"/>
        </a:buClr>
        <a:buChar char="•"/>
        <a:defRPr>
          <a:solidFill>
            <a:schemeClr val="tx1"/>
          </a:solidFill>
          <a:latin typeface="+mn-lt"/>
        </a:defRPr>
      </a:lvl6pPr>
      <a:lvl7pPr marL="2687638" indent="-225425" algn="l" rtl="0" eaLnBrk="0" fontAlgn="base" hangingPunct="0">
        <a:spcBef>
          <a:spcPct val="0"/>
        </a:spcBef>
        <a:spcAft>
          <a:spcPct val="25000"/>
        </a:spcAft>
        <a:buClr>
          <a:srgbClr val="FFFF00"/>
        </a:buClr>
        <a:buChar char="•"/>
        <a:defRPr>
          <a:solidFill>
            <a:schemeClr val="tx1"/>
          </a:solidFill>
          <a:latin typeface="+mn-lt"/>
        </a:defRPr>
      </a:lvl7pPr>
      <a:lvl8pPr marL="3144838" indent="-225425" algn="l" rtl="0" eaLnBrk="0" fontAlgn="base" hangingPunct="0">
        <a:spcBef>
          <a:spcPct val="0"/>
        </a:spcBef>
        <a:spcAft>
          <a:spcPct val="25000"/>
        </a:spcAft>
        <a:buClr>
          <a:srgbClr val="FFFF00"/>
        </a:buClr>
        <a:buChar char="•"/>
        <a:defRPr>
          <a:solidFill>
            <a:schemeClr val="tx1"/>
          </a:solidFill>
          <a:latin typeface="+mn-lt"/>
        </a:defRPr>
      </a:lvl8pPr>
      <a:lvl9pPr marL="3602038" indent="-225425" algn="l" rtl="0" eaLnBrk="0" fontAlgn="base" hangingPunct="0">
        <a:spcBef>
          <a:spcPct val="0"/>
        </a:spcBef>
        <a:spcAft>
          <a:spcPct val="25000"/>
        </a:spcAft>
        <a:buClr>
          <a:srgbClr val="FFFF00"/>
        </a:buClr>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Espace réservé du titre 1">
            <a:extLst>
              <a:ext uri="{FF2B5EF4-FFF2-40B4-BE49-F238E27FC236}">
                <a16:creationId xmlns:a16="http://schemas.microsoft.com/office/drawing/2014/main" id="{B049EE01-1415-4843-9DCD-427A8C91E1C0}"/>
              </a:ext>
            </a:extLst>
          </p:cNvPr>
          <p:cNvSpPr>
            <a:spLocks noGrp="1" noChangeArrowheads="1"/>
          </p:cNvSpPr>
          <p:nvPr>
            <p:ph type="title"/>
          </p:nvPr>
        </p:nvSpPr>
        <p:spPr bwMode="auto">
          <a:xfrm>
            <a:off x="706438" y="98425"/>
            <a:ext cx="8874125" cy="110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el-GR"/>
              <a:t>Cliquez et modifiez le titre</a:t>
            </a:r>
          </a:p>
        </p:txBody>
      </p:sp>
      <p:sp>
        <p:nvSpPr>
          <p:cNvPr id="2051" name="Espace réservé du texte 2">
            <a:extLst>
              <a:ext uri="{FF2B5EF4-FFF2-40B4-BE49-F238E27FC236}">
                <a16:creationId xmlns:a16="http://schemas.microsoft.com/office/drawing/2014/main" id="{C41D1FD5-ED91-4260-A575-176C682D7AA9}"/>
              </a:ext>
            </a:extLst>
          </p:cNvPr>
          <p:cNvSpPr>
            <a:spLocks noGrp="1" noChangeArrowheads="1"/>
          </p:cNvSpPr>
          <p:nvPr>
            <p:ph type="body" idx="1"/>
          </p:nvPr>
        </p:nvSpPr>
        <p:spPr bwMode="auto">
          <a:xfrm>
            <a:off x="706438" y="1501775"/>
            <a:ext cx="8874125" cy="467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el-GR"/>
              <a:t>Cliquez pour modifier les styles du texte du masque</a:t>
            </a:r>
          </a:p>
          <a:p>
            <a:pPr lvl="1"/>
            <a:r>
              <a:rPr lang="fr-FR" altLang="el-GR"/>
              <a:t>Deuxième niveau</a:t>
            </a:r>
          </a:p>
          <a:p>
            <a:pPr lvl="2"/>
            <a:r>
              <a:rPr lang="fr-FR" altLang="el-GR"/>
              <a:t>Troisième niveau</a:t>
            </a:r>
          </a:p>
          <a:p>
            <a:pPr lvl="3"/>
            <a:r>
              <a:rPr lang="fr-FR" altLang="el-GR"/>
              <a:t>Quatrième niveau</a:t>
            </a:r>
          </a:p>
          <a:p>
            <a:pPr lvl="4"/>
            <a:r>
              <a:rPr lang="fr-FR" altLang="el-GR"/>
              <a:t>Cinquième niveau</a:t>
            </a:r>
          </a:p>
        </p:txBody>
      </p:sp>
      <p:sp>
        <p:nvSpPr>
          <p:cNvPr id="4" name="Espace réservé de la date 3">
            <a:extLst>
              <a:ext uri="{FF2B5EF4-FFF2-40B4-BE49-F238E27FC236}">
                <a16:creationId xmlns:a16="http://schemas.microsoft.com/office/drawing/2014/main" id="{55A0F4DB-8FB0-44AA-B4C9-17F6AD5DDB96}"/>
              </a:ext>
            </a:extLst>
          </p:cNvPr>
          <p:cNvSpPr>
            <a:spLocks noGrp="1"/>
          </p:cNvSpPr>
          <p:nvPr>
            <p:ph type="dt" sz="half" idx="2"/>
          </p:nvPr>
        </p:nvSpPr>
        <p:spPr>
          <a:xfrm>
            <a:off x="706438" y="6356350"/>
            <a:ext cx="2314575" cy="365125"/>
          </a:xfrm>
          <a:prstGeom prst="rect">
            <a:avLst/>
          </a:prstGeom>
        </p:spPr>
        <p:txBody>
          <a:bodyPr vert="horz" lIns="91440" tIns="45720" rIns="91440" bIns="45720" rtlCol="0" anchor="ctr"/>
          <a:lstStyle>
            <a:lvl1pPr algn="l">
              <a:defRPr sz="1013">
                <a:solidFill>
                  <a:schemeClr val="tx1">
                    <a:tint val="75000"/>
                  </a:schemeClr>
                </a:solidFill>
              </a:defRPr>
            </a:lvl1pPr>
          </a:lstStyle>
          <a:p>
            <a:pPr>
              <a:defRPr/>
            </a:pPr>
            <a:fld id="{7F9246F7-665B-406C-8889-C2CF0FC04999}" type="datetimeFigureOut">
              <a:rPr lang="fr-FR"/>
              <a:pPr>
                <a:defRPr/>
              </a:pPr>
              <a:t>28/09/2023</a:t>
            </a:fld>
            <a:endParaRPr lang="fr-FR"/>
          </a:p>
        </p:txBody>
      </p:sp>
      <p:sp>
        <p:nvSpPr>
          <p:cNvPr id="5" name="Espace réservé du pied de page 4">
            <a:extLst>
              <a:ext uri="{FF2B5EF4-FFF2-40B4-BE49-F238E27FC236}">
                <a16:creationId xmlns:a16="http://schemas.microsoft.com/office/drawing/2014/main" id="{6EA6DC17-8779-48D3-B915-B19331F04BD0}"/>
              </a:ext>
            </a:extLst>
          </p:cNvPr>
          <p:cNvSpPr>
            <a:spLocks noGrp="1"/>
          </p:cNvSpPr>
          <p:nvPr>
            <p:ph type="ftr" sz="quarter" idx="3"/>
          </p:nvPr>
        </p:nvSpPr>
        <p:spPr>
          <a:xfrm>
            <a:off x="3408363" y="6356350"/>
            <a:ext cx="3471862" cy="365125"/>
          </a:xfrm>
          <a:prstGeom prst="rect">
            <a:avLst/>
          </a:prstGeom>
        </p:spPr>
        <p:txBody>
          <a:bodyPr vert="horz" lIns="91440" tIns="45720" rIns="91440" bIns="45720" rtlCol="0" anchor="ctr"/>
          <a:lstStyle>
            <a:lvl1pPr algn="ctr">
              <a:defRPr sz="1013">
                <a:solidFill>
                  <a:schemeClr val="tx1">
                    <a:tint val="75000"/>
                  </a:schemeClr>
                </a:solidFill>
              </a:defRPr>
            </a:lvl1pPr>
          </a:lstStyle>
          <a:p>
            <a:pPr>
              <a:defRPr/>
            </a:pPr>
            <a:endParaRPr lang="fr-FR"/>
          </a:p>
        </p:txBody>
      </p:sp>
      <p:sp>
        <p:nvSpPr>
          <p:cNvPr id="6" name="Espace réservé du numéro de diapositive 5">
            <a:extLst>
              <a:ext uri="{FF2B5EF4-FFF2-40B4-BE49-F238E27FC236}">
                <a16:creationId xmlns:a16="http://schemas.microsoft.com/office/drawing/2014/main" id="{8D91B470-7F2B-4A09-9A0C-6617881476BC}"/>
              </a:ext>
            </a:extLst>
          </p:cNvPr>
          <p:cNvSpPr>
            <a:spLocks noGrp="1"/>
          </p:cNvSpPr>
          <p:nvPr>
            <p:ph type="sldNum" sz="quarter" idx="4"/>
          </p:nvPr>
        </p:nvSpPr>
        <p:spPr>
          <a:xfrm>
            <a:off x="7265988" y="6356350"/>
            <a:ext cx="2314575"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defRPr>
            </a:lvl1pPr>
          </a:lstStyle>
          <a:p>
            <a:fld id="{ADB918AE-9D14-40CF-9A03-628BB50528AA}" type="slidenum">
              <a:rPr lang="fr-FR" altLang="el-GR"/>
              <a:pPr/>
              <a:t>‹#›</a:t>
            </a:fld>
            <a:endParaRPr lang="fr-FR" altLang="el-GR"/>
          </a:p>
        </p:txBody>
      </p:sp>
    </p:spTree>
    <p:extLst>
      <p:ext uri="{BB962C8B-B14F-4D97-AF65-F5344CB8AC3E}">
        <p14:creationId xmlns:p14="http://schemas.microsoft.com/office/powerpoint/2010/main" val="162978351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Lst>
  <p:transition spd="med">
    <p:fade/>
  </p:transition>
  <p:txStyles>
    <p:titleStyle>
      <a:lvl1pPr algn="l" defTabSz="771525" rtl="0" eaLnBrk="0" fontAlgn="base" hangingPunct="0">
        <a:lnSpc>
          <a:spcPct val="90000"/>
        </a:lnSpc>
        <a:spcBef>
          <a:spcPct val="0"/>
        </a:spcBef>
        <a:spcAft>
          <a:spcPct val="0"/>
        </a:spcAft>
        <a:defRPr sz="2300" b="1" kern="1200">
          <a:solidFill>
            <a:srgbClr val="002060"/>
          </a:solidFill>
          <a:latin typeface="+mn-lt"/>
          <a:ea typeface="+mj-ea"/>
          <a:cs typeface="+mj-cs"/>
        </a:defRPr>
      </a:lvl1pPr>
      <a:lvl2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2pPr>
      <a:lvl3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3pPr>
      <a:lvl4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4pPr>
      <a:lvl5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5pPr>
      <a:lvl6pPr marL="457200" algn="l" defTabSz="771525" rtl="0" fontAlgn="base">
        <a:lnSpc>
          <a:spcPct val="90000"/>
        </a:lnSpc>
        <a:spcBef>
          <a:spcPct val="0"/>
        </a:spcBef>
        <a:spcAft>
          <a:spcPct val="0"/>
        </a:spcAft>
        <a:defRPr sz="2300" b="1">
          <a:solidFill>
            <a:srgbClr val="002060"/>
          </a:solidFill>
          <a:latin typeface="Calibri" panose="020F0502020204030204" pitchFamily="34" charset="0"/>
        </a:defRPr>
      </a:lvl6pPr>
      <a:lvl7pPr marL="914400" algn="l" defTabSz="771525" rtl="0" fontAlgn="base">
        <a:lnSpc>
          <a:spcPct val="90000"/>
        </a:lnSpc>
        <a:spcBef>
          <a:spcPct val="0"/>
        </a:spcBef>
        <a:spcAft>
          <a:spcPct val="0"/>
        </a:spcAft>
        <a:defRPr sz="2300" b="1">
          <a:solidFill>
            <a:srgbClr val="002060"/>
          </a:solidFill>
          <a:latin typeface="Calibri" panose="020F0502020204030204" pitchFamily="34" charset="0"/>
        </a:defRPr>
      </a:lvl7pPr>
      <a:lvl8pPr marL="1371600" algn="l" defTabSz="771525" rtl="0" fontAlgn="base">
        <a:lnSpc>
          <a:spcPct val="90000"/>
        </a:lnSpc>
        <a:spcBef>
          <a:spcPct val="0"/>
        </a:spcBef>
        <a:spcAft>
          <a:spcPct val="0"/>
        </a:spcAft>
        <a:defRPr sz="2300" b="1">
          <a:solidFill>
            <a:srgbClr val="002060"/>
          </a:solidFill>
          <a:latin typeface="Calibri" panose="020F0502020204030204" pitchFamily="34" charset="0"/>
        </a:defRPr>
      </a:lvl8pPr>
      <a:lvl9pPr marL="1828800" algn="l" defTabSz="771525" rtl="0" fontAlgn="base">
        <a:lnSpc>
          <a:spcPct val="90000"/>
        </a:lnSpc>
        <a:spcBef>
          <a:spcPct val="0"/>
        </a:spcBef>
        <a:spcAft>
          <a:spcPct val="0"/>
        </a:spcAft>
        <a:defRPr sz="2300" b="1">
          <a:solidFill>
            <a:srgbClr val="002060"/>
          </a:solidFill>
          <a:latin typeface="Calibri" panose="020F0502020204030204" pitchFamily="34" charset="0"/>
        </a:defRPr>
      </a:lvl9pPr>
    </p:titleStyle>
    <p:bodyStyle>
      <a:lvl1pPr marL="192088" indent="-192088" algn="l" defTabSz="771525" rtl="0" eaLnBrk="0" fontAlgn="base" hangingPunct="0">
        <a:lnSpc>
          <a:spcPct val="90000"/>
        </a:lnSpc>
        <a:spcBef>
          <a:spcPts val="850"/>
        </a:spcBef>
        <a:spcAft>
          <a:spcPct val="0"/>
        </a:spcAft>
        <a:buFont typeface="Arial" panose="020B0604020202020204" pitchFamily="34" charset="0"/>
        <a:buChar char="•"/>
        <a:defRPr sz="2300" kern="1200">
          <a:solidFill>
            <a:schemeClr val="tx1"/>
          </a:solidFill>
          <a:latin typeface="+mn-lt"/>
          <a:ea typeface="+mn-ea"/>
          <a:cs typeface="+mn-cs"/>
        </a:defRPr>
      </a:lvl1pPr>
      <a:lvl2pPr marL="577850" indent="-192088" algn="l" defTabSz="771525" rtl="0" eaLnBrk="0" fontAlgn="base" hangingPunct="0">
        <a:lnSpc>
          <a:spcPct val="90000"/>
        </a:lnSpc>
        <a:spcBef>
          <a:spcPts val="425"/>
        </a:spcBef>
        <a:spcAft>
          <a:spcPct val="0"/>
        </a:spcAft>
        <a:buFont typeface="Arial" panose="020B0604020202020204" pitchFamily="34" charset="0"/>
        <a:buChar char="•"/>
        <a:defRPr sz="2000" kern="1200">
          <a:solidFill>
            <a:schemeClr val="tx1"/>
          </a:solidFill>
          <a:latin typeface="+mn-lt"/>
          <a:ea typeface="+mn-ea"/>
          <a:cs typeface="+mn-cs"/>
        </a:defRPr>
      </a:lvl2pPr>
      <a:lvl3pPr marL="963613" indent="-192088" algn="l" defTabSz="771525" rtl="0" eaLnBrk="0" fontAlgn="base" hangingPunct="0">
        <a:lnSpc>
          <a:spcPct val="90000"/>
        </a:lnSpc>
        <a:spcBef>
          <a:spcPts val="425"/>
        </a:spcBef>
        <a:spcAft>
          <a:spcPct val="0"/>
        </a:spcAft>
        <a:buFont typeface="Arial" panose="020B0604020202020204" pitchFamily="34" charset="0"/>
        <a:buChar char="•"/>
        <a:defRPr sz="1600" kern="1200">
          <a:solidFill>
            <a:schemeClr val="tx1"/>
          </a:solidFill>
          <a:latin typeface="+mn-lt"/>
          <a:ea typeface="+mn-ea"/>
          <a:cs typeface="+mn-cs"/>
        </a:defRPr>
      </a:lvl3pPr>
      <a:lvl4pPr marL="1349375" indent="-192088" algn="l" defTabSz="771525" rtl="0" eaLnBrk="0" fontAlgn="base" hangingPunct="0">
        <a:lnSpc>
          <a:spcPct val="90000"/>
        </a:lnSpc>
        <a:spcBef>
          <a:spcPts val="425"/>
        </a:spcBef>
        <a:spcAft>
          <a:spcPct val="0"/>
        </a:spcAft>
        <a:buFont typeface="Arial" panose="020B0604020202020204" pitchFamily="34" charset="0"/>
        <a:buChar char="•"/>
        <a:defRPr sz="1500" kern="1200">
          <a:solidFill>
            <a:schemeClr val="tx1"/>
          </a:solidFill>
          <a:latin typeface="+mn-lt"/>
          <a:ea typeface="+mn-ea"/>
          <a:cs typeface="+mn-cs"/>
        </a:defRPr>
      </a:lvl4pPr>
      <a:lvl5pPr marL="1735138" indent="-192088" algn="l" defTabSz="771525" rtl="0" eaLnBrk="0" fontAlgn="base" hangingPunct="0">
        <a:lnSpc>
          <a:spcPct val="90000"/>
        </a:lnSpc>
        <a:spcBef>
          <a:spcPts val="425"/>
        </a:spcBef>
        <a:spcAft>
          <a:spcPct val="0"/>
        </a:spcAft>
        <a:buFont typeface="Arial" panose="020B0604020202020204" pitchFamily="34" charset="0"/>
        <a:buChar char="•"/>
        <a:defRPr sz="1500" kern="1200">
          <a:solidFill>
            <a:schemeClr val="tx1"/>
          </a:solidFill>
          <a:latin typeface="+mn-lt"/>
          <a:ea typeface="+mn-ea"/>
          <a:cs typeface="+mn-cs"/>
        </a:defRPr>
      </a:lvl5pPr>
      <a:lvl6pPr marL="2121819" indent="-192893" algn="l" defTabSz="771571" rtl="0" eaLnBrk="1" latinLnBrk="0" hangingPunct="1">
        <a:lnSpc>
          <a:spcPct val="90000"/>
        </a:lnSpc>
        <a:spcBef>
          <a:spcPts val="422"/>
        </a:spcBef>
        <a:buFont typeface="Arial"/>
        <a:buChar char="•"/>
        <a:defRPr sz="1519" kern="1200">
          <a:solidFill>
            <a:schemeClr val="tx1"/>
          </a:solidFill>
          <a:latin typeface="+mn-lt"/>
          <a:ea typeface="+mn-ea"/>
          <a:cs typeface="+mn-cs"/>
        </a:defRPr>
      </a:lvl6pPr>
      <a:lvl7pPr marL="2507605" indent="-192893" algn="l" defTabSz="771571" rtl="0" eaLnBrk="1" latinLnBrk="0" hangingPunct="1">
        <a:lnSpc>
          <a:spcPct val="90000"/>
        </a:lnSpc>
        <a:spcBef>
          <a:spcPts val="422"/>
        </a:spcBef>
        <a:buFont typeface="Arial"/>
        <a:buChar char="•"/>
        <a:defRPr sz="1519" kern="1200">
          <a:solidFill>
            <a:schemeClr val="tx1"/>
          </a:solidFill>
          <a:latin typeface="+mn-lt"/>
          <a:ea typeface="+mn-ea"/>
          <a:cs typeface="+mn-cs"/>
        </a:defRPr>
      </a:lvl7pPr>
      <a:lvl8pPr marL="2893390" indent="-192893" algn="l" defTabSz="771571" rtl="0" eaLnBrk="1" latinLnBrk="0" hangingPunct="1">
        <a:lnSpc>
          <a:spcPct val="90000"/>
        </a:lnSpc>
        <a:spcBef>
          <a:spcPts val="422"/>
        </a:spcBef>
        <a:buFont typeface="Arial"/>
        <a:buChar char="•"/>
        <a:defRPr sz="1519" kern="1200">
          <a:solidFill>
            <a:schemeClr val="tx1"/>
          </a:solidFill>
          <a:latin typeface="+mn-lt"/>
          <a:ea typeface="+mn-ea"/>
          <a:cs typeface="+mn-cs"/>
        </a:defRPr>
      </a:lvl8pPr>
      <a:lvl9pPr marL="3279176" indent="-192893" algn="l" defTabSz="771571" rtl="0" eaLnBrk="1" latinLnBrk="0" hangingPunct="1">
        <a:lnSpc>
          <a:spcPct val="90000"/>
        </a:lnSpc>
        <a:spcBef>
          <a:spcPts val="422"/>
        </a:spcBef>
        <a:buFont typeface="Arial"/>
        <a:buChar char="•"/>
        <a:defRPr sz="1519" kern="1200">
          <a:solidFill>
            <a:schemeClr val="tx1"/>
          </a:solidFill>
          <a:latin typeface="+mn-lt"/>
          <a:ea typeface="+mn-ea"/>
          <a:cs typeface="+mn-cs"/>
        </a:defRPr>
      </a:lvl9pPr>
    </p:bodyStyle>
    <p:otherStyle>
      <a:defPPr>
        <a:defRPr lang="fr-FR"/>
      </a:defPPr>
      <a:lvl1pPr marL="0" algn="l" defTabSz="771571" rtl="0" eaLnBrk="1" latinLnBrk="0" hangingPunct="1">
        <a:defRPr sz="1519" kern="1200">
          <a:solidFill>
            <a:schemeClr val="tx1"/>
          </a:solidFill>
          <a:latin typeface="+mn-lt"/>
          <a:ea typeface="+mn-ea"/>
          <a:cs typeface="+mn-cs"/>
        </a:defRPr>
      </a:lvl1pPr>
      <a:lvl2pPr marL="385785" algn="l" defTabSz="771571" rtl="0" eaLnBrk="1" latinLnBrk="0" hangingPunct="1">
        <a:defRPr sz="1519" kern="1200">
          <a:solidFill>
            <a:schemeClr val="tx1"/>
          </a:solidFill>
          <a:latin typeface="+mn-lt"/>
          <a:ea typeface="+mn-ea"/>
          <a:cs typeface="+mn-cs"/>
        </a:defRPr>
      </a:lvl2pPr>
      <a:lvl3pPr marL="771571" algn="l" defTabSz="771571" rtl="0" eaLnBrk="1" latinLnBrk="0" hangingPunct="1">
        <a:defRPr sz="1519" kern="1200">
          <a:solidFill>
            <a:schemeClr val="tx1"/>
          </a:solidFill>
          <a:latin typeface="+mn-lt"/>
          <a:ea typeface="+mn-ea"/>
          <a:cs typeface="+mn-cs"/>
        </a:defRPr>
      </a:lvl3pPr>
      <a:lvl4pPr marL="1157356" algn="l" defTabSz="771571" rtl="0" eaLnBrk="1" latinLnBrk="0" hangingPunct="1">
        <a:defRPr sz="1519" kern="1200">
          <a:solidFill>
            <a:schemeClr val="tx1"/>
          </a:solidFill>
          <a:latin typeface="+mn-lt"/>
          <a:ea typeface="+mn-ea"/>
          <a:cs typeface="+mn-cs"/>
        </a:defRPr>
      </a:lvl4pPr>
      <a:lvl5pPr marL="1543141" algn="l" defTabSz="771571" rtl="0" eaLnBrk="1" latinLnBrk="0" hangingPunct="1">
        <a:defRPr sz="1519" kern="1200">
          <a:solidFill>
            <a:schemeClr val="tx1"/>
          </a:solidFill>
          <a:latin typeface="+mn-lt"/>
          <a:ea typeface="+mn-ea"/>
          <a:cs typeface="+mn-cs"/>
        </a:defRPr>
      </a:lvl5pPr>
      <a:lvl6pPr marL="1928927" algn="l" defTabSz="771571" rtl="0" eaLnBrk="1" latinLnBrk="0" hangingPunct="1">
        <a:defRPr sz="1519" kern="1200">
          <a:solidFill>
            <a:schemeClr val="tx1"/>
          </a:solidFill>
          <a:latin typeface="+mn-lt"/>
          <a:ea typeface="+mn-ea"/>
          <a:cs typeface="+mn-cs"/>
        </a:defRPr>
      </a:lvl6pPr>
      <a:lvl7pPr marL="2314712" algn="l" defTabSz="771571" rtl="0" eaLnBrk="1" latinLnBrk="0" hangingPunct="1">
        <a:defRPr sz="1519" kern="1200">
          <a:solidFill>
            <a:schemeClr val="tx1"/>
          </a:solidFill>
          <a:latin typeface="+mn-lt"/>
          <a:ea typeface="+mn-ea"/>
          <a:cs typeface="+mn-cs"/>
        </a:defRPr>
      </a:lvl7pPr>
      <a:lvl8pPr marL="2700498" algn="l" defTabSz="771571" rtl="0" eaLnBrk="1" latinLnBrk="0" hangingPunct="1">
        <a:defRPr sz="1519" kern="1200">
          <a:solidFill>
            <a:schemeClr val="tx1"/>
          </a:solidFill>
          <a:latin typeface="+mn-lt"/>
          <a:ea typeface="+mn-ea"/>
          <a:cs typeface="+mn-cs"/>
        </a:defRPr>
      </a:lvl8pPr>
      <a:lvl9pPr marL="3086283" algn="l" defTabSz="771571" rtl="0" eaLnBrk="1" latinLnBrk="0" hangingPunct="1">
        <a:defRPr sz="151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descr="A picture containing background pattern&#10;&#10;Description automatically generated">
            <a:extLst>
              <a:ext uri="{FF2B5EF4-FFF2-40B4-BE49-F238E27FC236}">
                <a16:creationId xmlns:a16="http://schemas.microsoft.com/office/drawing/2014/main" id="{9D6BDB4C-C6EA-F2A3-FDBF-C5C2C90E0AE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0287000" cy="6858000"/>
          </a:xfrm>
          <a:prstGeom prst="rect">
            <a:avLst/>
          </a:prstGeom>
        </p:spPr>
      </p:pic>
      <p:sp>
        <p:nvSpPr>
          <p:cNvPr id="2" name="Title Placeholder 1">
            <a:extLst>
              <a:ext uri="{FF2B5EF4-FFF2-40B4-BE49-F238E27FC236}">
                <a16:creationId xmlns:a16="http://schemas.microsoft.com/office/drawing/2014/main" id="{45C90F0A-2AF0-4B58-9C39-A51DCCF5B378}"/>
              </a:ext>
            </a:extLst>
          </p:cNvPr>
          <p:cNvSpPr>
            <a:spLocks noGrp="1"/>
          </p:cNvSpPr>
          <p:nvPr>
            <p:ph type="title"/>
          </p:nvPr>
        </p:nvSpPr>
        <p:spPr>
          <a:xfrm>
            <a:off x="280555" y="189635"/>
            <a:ext cx="9725891" cy="909961"/>
          </a:xfrm>
          <a:prstGeom prst="rect">
            <a:avLst/>
          </a:prstGeom>
        </p:spPr>
        <p:txBody>
          <a:bodyPr vert="horz" lIns="91440" tIns="45720" rIns="91440" bIns="45720" rtlCol="0" anchor="ctr">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C8C450B7-7951-4640-90C7-0FA940200972}"/>
              </a:ext>
            </a:extLst>
          </p:cNvPr>
          <p:cNvSpPr>
            <a:spLocks noGrp="1"/>
          </p:cNvSpPr>
          <p:nvPr>
            <p:ph type="body" idx="1"/>
          </p:nvPr>
        </p:nvSpPr>
        <p:spPr>
          <a:xfrm>
            <a:off x="280555" y="1229587"/>
            <a:ext cx="9725891" cy="4759902"/>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120989210"/>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Lst>
  <p:txStyles>
    <p:titleStyle>
      <a:lvl1pPr algn="l" defTabSz="771571" rtl="0" eaLnBrk="1" latinLnBrk="0" hangingPunct="1">
        <a:lnSpc>
          <a:spcPct val="90000"/>
        </a:lnSpc>
        <a:spcBef>
          <a:spcPct val="0"/>
        </a:spcBef>
        <a:buNone/>
        <a:defRPr sz="2363" b="1" kern="1200">
          <a:solidFill>
            <a:schemeClr val="accent1"/>
          </a:solidFill>
          <a:latin typeface="+mj-lt"/>
          <a:ea typeface="+mj-ea"/>
          <a:cs typeface="+mj-cs"/>
        </a:defRPr>
      </a:lvl1pPr>
    </p:titleStyle>
    <p:bodyStyle>
      <a:lvl1pPr marL="192893" indent="-192893" algn="l" defTabSz="771571" rtl="0" eaLnBrk="1" latinLnBrk="0" hangingPunct="1">
        <a:lnSpc>
          <a:spcPct val="90000"/>
        </a:lnSpc>
        <a:spcBef>
          <a:spcPts val="844"/>
        </a:spcBef>
        <a:buClr>
          <a:schemeClr val="accent2"/>
        </a:buClr>
        <a:buFont typeface="Arial" panose="020B0604020202020204" pitchFamily="34" charset="0"/>
        <a:buChar char="•"/>
        <a:defRPr sz="1688" kern="1200">
          <a:solidFill>
            <a:schemeClr val="tx1"/>
          </a:solidFill>
          <a:latin typeface="+mn-lt"/>
          <a:ea typeface="+mn-ea"/>
          <a:cs typeface="+mn-cs"/>
        </a:defRPr>
      </a:lvl1pPr>
      <a:lvl2pPr marL="578678" indent="-192893" algn="l" defTabSz="771571" rtl="0" eaLnBrk="1" latinLnBrk="0" hangingPunct="1">
        <a:lnSpc>
          <a:spcPct val="90000"/>
        </a:lnSpc>
        <a:spcBef>
          <a:spcPts val="422"/>
        </a:spcBef>
        <a:buClr>
          <a:schemeClr val="accent2"/>
        </a:buClr>
        <a:buFont typeface="Arial" panose="020B0604020202020204" pitchFamily="34" charset="0"/>
        <a:buChar char="•"/>
        <a:defRPr sz="1519" kern="1200">
          <a:solidFill>
            <a:schemeClr val="tx1"/>
          </a:solidFill>
          <a:latin typeface="+mn-lt"/>
          <a:ea typeface="+mn-ea"/>
          <a:cs typeface="+mn-cs"/>
        </a:defRPr>
      </a:lvl2pPr>
      <a:lvl3pPr marL="964463" indent="-192893" algn="l" defTabSz="771571" rtl="0" eaLnBrk="1" latinLnBrk="0" hangingPunct="1">
        <a:lnSpc>
          <a:spcPct val="90000"/>
        </a:lnSpc>
        <a:spcBef>
          <a:spcPts val="422"/>
        </a:spcBef>
        <a:buClr>
          <a:schemeClr val="accent2"/>
        </a:buClr>
        <a:buFont typeface="Arial" panose="020B0604020202020204" pitchFamily="34" charset="0"/>
        <a:buChar char="•"/>
        <a:defRPr sz="1350" kern="1200">
          <a:solidFill>
            <a:schemeClr val="tx1"/>
          </a:solidFill>
          <a:latin typeface="+mn-lt"/>
          <a:ea typeface="+mn-ea"/>
          <a:cs typeface="+mn-cs"/>
        </a:defRPr>
      </a:lvl3pPr>
      <a:lvl4pPr marL="1350249" indent="-192893" algn="l" defTabSz="771571" rtl="0" eaLnBrk="1" latinLnBrk="0" hangingPunct="1">
        <a:lnSpc>
          <a:spcPct val="90000"/>
        </a:lnSpc>
        <a:spcBef>
          <a:spcPts val="422"/>
        </a:spcBef>
        <a:buClr>
          <a:schemeClr val="accent2"/>
        </a:buClr>
        <a:buFont typeface="Arial" panose="020B0604020202020204" pitchFamily="34" charset="0"/>
        <a:buChar char="•"/>
        <a:defRPr sz="1181" kern="1200">
          <a:solidFill>
            <a:schemeClr val="tx1"/>
          </a:solidFill>
          <a:latin typeface="+mn-lt"/>
          <a:ea typeface="+mn-ea"/>
          <a:cs typeface="+mn-cs"/>
        </a:defRPr>
      </a:lvl4pPr>
      <a:lvl5pPr marL="1736034" indent="-192893" algn="l" defTabSz="771571" rtl="0" eaLnBrk="1" latinLnBrk="0" hangingPunct="1">
        <a:lnSpc>
          <a:spcPct val="90000"/>
        </a:lnSpc>
        <a:spcBef>
          <a:spcPts val="422"/>
        </a:spcBef>
        <a:buClr>
          <a:schemeClr val="accent2"/>
        </a:buClr>
        <a:buFont typeface="Arial" panose="020B0604020202020204" pitchFamily="34" charset="0"/>
        <a:buChar char="•"/>
        <a:defRPr sz="1181" kern="1200">
          <a:solidFill>
            <a:schemeClr val="tx1"/>
          </a:solidFill>
          <a:latin typeface="+mn-lt"/>
          <a:ea typeface="+mn-ea"/>
          <a:cs typeface="+mn-cs"/>
        </a:defRPr>
      </a:lvl5pPr>
      <a:lvl6pPr marL="2121819"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6pPr>
      <a:lvl7pPr marL="2507605"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7pPr>
      <a:lvl8pPr marL="2893390"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8pPr>
      <a:lvl9pPr marL="3279176"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9pPr>
    </p:bodyStyle>
    <p:otherStyle>
      <a:defPPr>
        <a:defRPr lang="en-US"/>
      </a:defPPr>
      <a:lvl1pPr marL="0" algn="l" defTabSz="771571" rtl="0" eaLnBrk="1" latinLnBrk="0" hangingPunct="1">
        <a:defRPr sz="1519" kern="1200">
          <a:solidFill>
            <a:schemeClr val="tx1"/>
          </a:solidFill>
          <a:latin typeface="+mn-lt"/>
          <a:ea typeface="+mn-ea"/>
          <a:cs typeface="+mn-cs"/>
        </a:defRPr>
      </a:lvl1pPr>
      <a:lvl2pPr marL="385785" algn="l" defTabSz="771571" rtl="0" eaLnBrk="1" latinLnBrk="0" hangingPunct="1">
        <a:defRPr sz="1519" kern="1200">
          <a:solidFill>
            <a:schemeClr val="tx1"/>
          </a:solidFill>
          <a:latin typeface="+mn-lt"/>
          <a:ea typeface="+mn-ea"/>
          <a:cs typeface="+mn-cs"/>
        </a:defRPr>
      </a:lvl2pPr>
      <a:lvl3pPr marL="771571" algn="l" defTabSz="771571" rtl="0" eaLnBrk="1" latinLnBrk="0" hangingPunct="1">
        <a:defRPr sz="1519" kern="1200">
          <a:solidFill>
            <a:schemeClr val="tx1"/>
          </a:solidFill>
          <a:latin typeface="+mn-lt"/>
          <a:ea typeface="+mn-ea"/>
          <a:cs typeface="+mn-cs"/>
        </a:defRPr>
      </a:lvl3pPr>
      <a:lvl4pPr marL="1157356" algn="l" defTabSz="771571" rtl="0" eaLnBrk="1" latinLnBrk="0" hangingPunct="1">
        <a:defRPr sz="1519" kern="1200">
          <a:solidFill>
            <a:schemeClr val="tx1"/>
          </a:solidFill>
          <a:latin typeface="+mn-lt"/>
          <a:ea typeface="+mn-ea"/>
          <a:cs typeface="+mn-cs"/>
        </a:defRPr>
      </a:lvl4pPr>
      <a:lvl5pPr marL="1543141" algn="l" defTabSz="771571" rtl="0" eaLnBrk="1" latinLnBrk="0" hangingPunct="1">
        <a:defRPr sz="1519" kern="1200">
          <a:solidFill>
            <a:schemeClr val="tx1"/>
          </a:solidFill>
          <a:latin typeface="+mn-lt"/>
          <a:ea typeface="+mn-ea"/>
          <a:cs typeface="+mn-cs"/>
        </a:defRPr>
      </a:lvl5pPr>
      <a:lvl6pPr marL="1928927" algn="l" defTabSz="771571" rtl="0" eaLnBrk="1" latinLnBrk="0" hangingPunct="1">
        <a:defRPr sz="1519" kern="1200">
          <a:solidFill>
            <a:schemeClr val="tx1"/>
          </a:solidFill>
          <a:latin typeface="+mn-lt"/>
          <a:ea typeface="+mn-ea"/>
          <a:cs typeface="+mn-cs"/>
        </a:defRPr>
      </a:lvl6pPr>
      <a:lvl7pPr marL="2314712" algn="l" defTabSz="771571" rtl="0" eaLnBrk="1" latinLnBrk="0" hangingPunct="1">
        <a:defRPr sz="1519" kern="1200">
          <a:solidFill>
            <a:schemeClr val="tx1"/>
          </a:solidFill>
          <a:latin typeface="+mn-lt"/>
          <a:ea typeface="+mn-ea"/>
          <a:cs typeface="+mn-cs"/>
        </a:defRPr>
      </a:lvl7pPr>
      <a:lvl8pPr marL="2700498" algn="l" defTabSz="771571" rtl="0" eaLnBrk="1" latinLnBrk="0" hangingPunct="1">
        <a:defRPr sz="1519" kern="1200">
          <a:solidFill>
            <a:schemeClr val="tx1"/>
          </a:solidFill>
          <a:latin typeface="+mn-lt"/>
          <a:ea typeface="+mn-ea"/>
          <a:cs typeface="+mn-cs"/>
        </a:defRPr>
      </a:lvl8pPr>
      <a:lvl9pPr marL="3086283" algn="l" defTabSz="771571" rtl="0" eaLnBrk="1" latinLnBrk="0" hangingPunct="1">
        <a:defRPr sz="151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vmlDrawing" Target="../drawings/vmlDrawing2.vml"/><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vmlDrawing" Target="../drawings/vmlDrawing3.vml"/><Relationship Id="rId4" Type="http://schemas.openxmlformats.org/officeDocument/2006/relationships/image" Target="../media/image23.wmf"/></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4.vml"/><Relationship Id="rId4" Type="http://schemas.openxmlformats.org/officeDocument/2006/relationships/image" Target="../media/image27.emf"/></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0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0.xml"/></Relationships>
</file>

<file path=ppt/slides/_rels/slide3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35.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3.xml"/></Relationships>
</file>

<file path=ppt/slides/_rels/slide3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6.xml"/><Relationship Id="rId1" Type="http://schemas.openxmlformats.org/officeDocument/2006/relationships/slideLayout" Target="../slideLayouts/slideLayout11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5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6.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80.xml"/><Relationship Id="rId1" Type="http://schemas.openxmlformats.org/officeDocument/2006/relationships/vmlDrawing" Target="../drawings/vmlDrawing5.vml"/><Relationship Id="rId4" Type="http://schemas.openxmlformats.org/officeDocument/2006/relationships/image" Target="../media/image46.png"/></Relationships>
</file>

<file path=ppt/slides/_rels/slide4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6.xml"/><Relationship Id="rId4" Type="http://schemas.openxmlformats.org/officeDocument/2006/relationships/image" Target="../media/image49.png"/></Relationships>
</file>

<file path=ppt/slides/_rels/slide5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jpeg"/></Relationships>
</file>

<file path=ppt/slides/_rels/slide58.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 Id="rId5" Type="http://schemas.openxmlformats.org/officeDocument/2006/relationships/image" Target="../media/image59.png"/><Relationship Id="rId4" Type="http://schemas.openxmlformats.org/officeDocument/2006/relationships/image" Target="../media/image58.png"/></Relationships>
</file>

<file path=ppt/slides/_rels/slide5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2.xml"/><Relationship Id="rId5" Type="http://schemas.openxmlformats.org/officeDocument/2006/relationships/tags" Target="../tags/tag6.xml"/><Relationship Id="rId4" Type="http://schemas.openxmlformats.org/officeDocument/2006/relationships/tags" Target="../tags/tag5.xml"/></Relationships>
</file>

<file path=ppt/slides/_rels/slide6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0" y="501752"/>
            <a:ext cx="10287000" cy="1559096"/>
          </a:xfrm>
          <a:prstGeom prst="rect">
            <a:avLst/>
          </a:prstGeom>
          <a:gradFill rotWithShape="1">
            <a:gsLst>
              <a:gs pos="0">
                <a:schemeClr val="bg1"/>
              </a:gs>
              <a:gs pos="50000">
                <a:schemeClr val="bg1">
                  <a:gamma/>
                  <a:shade val="46275"/>
                  <a:invGamma/>
                </a:schemeClr>
              </a:gs>
              <a:gs pos="100000">
                <a:schemeClr val="bg1"/>
              </a:gs>
            </a:gsLst>
            <a:lin ang="5400000" scaled="1"/>
          </a:gradFill>
          <a:ln w="9525">
            <a:noFill/>
            <a:miter lim="800000"/>
            <a:headEnd/>
            <a:tailEnd/>
          </a:ln>
        </p:spPr>
        <p:txBody>
          <a:bodyPr vert="horz" wrap="square" lIns="92075" tIns="46038" rIns="92075" bIns="46038" numCol="1" anchor="ctr" anchorCtr="0" compatLnSpc="1">
            <a:prstTxWarp prst="textNoShape">
              <a:avLst/>
            </a:prstTxWarp>
          </a:bodyPr>
          <a:lstStyle/>
          <a:p>
            <a:pPr algn="ctr"/>
            <a:r>
              <a:rPr lang="el-GR" sz="3600" dirty="0">
                <a:solidFill>
                  <a:schemeClr val="tx2"/>
                </a:solidFill>
              </a:rPr>
              <a:t>Χρόνιες ιογενείς ηπατίτιδες μετά το 2000: </a:t>
            </a:r>
            <a:endParaRPr lang="en-US" sz="3600" dirty="0">
              <a:solidFill>
                <a:schemeClr val="tx2"/>
              </a:solidFill>
            </a:endParaRPr>
          </a:p>
          <a:p>
            <a:pPr algn="ctr"/>
            <a:r>
              <a:rPr lang="el-GR" sz="3600" dirty="0">
                <a:solidFill>
                  <a:schemeClr val="tx2"/>
                </a:solidFill>
              </a:rPr>
              <a:t>ένα ιατρικό </a:t>
            </a:r>
            <a:r>
              <a:rPr lang="en-US" sz="3600" dirty="0">
                <a:solidFill>
                  <a:schemeClr val="tx2"/>
                </a:solidFill>
              </a:rPr>
              <a:t>“success story”</a:t>
            </a:r>
            <a:r>
              <a:rPr lang="el-GR" sz="3600" dirty="0">
                <a:solidFill>
                  <a:schemeClr val="tx2"/>
                </a:solidFill>
              </a:rPr>
              <a:t> </a:t>
            </a:r>
            <a:endParaRPr lang="en-US" sz="3600" dirty="0">
              <a:solidFill>
                <a:schemeClr val="tx2"/>
              </a:solidFill>
            </a:endParaRPr>
          </a:p>
        </p:txBody>
      </p:sp>
      <p:pic>
        <p:nvPicPr>
          <p:cNvPr id="12" name="Picture 4" descr="luoa_1"/>
          <p:cNvPicPr>
            <a:picLocks noChangeAspect="1" noChangeArrowheads="1"/>
          </p:cNvPicPr>
          <p:nvPr/>
        </p:nvPicPr>
        <p:blipFill>
          <a:blip r:embed="rId2" cstate="print"/>
          <a:srcRect/>
          <a:stretch>
            <a:fillRect/>
          </a:stretch>
        </p:blipFill>
        <p:spPr bwMode="auto">
          <a:xfrm>
            <a:off x="30163" y="5094288"/>
            <a:ext cx="1143000" cy="1790700"/>
          </a:xfrm>
          <a:prstGeom prst="rect">
            <a:avLst/>
          </a:prstGeom>
          <a:noFill/>
          <a:ln w="9525">
            <a:noFill/>
            <a:miter lim="800000"/>
            <a:headEnd/>
            <a:tailEnd/>
          </a:ln>
        </p:spPr>
      </p:pic>
      <p:pic>
        <p:nvPicPr>
          <p:cNvPr id="13" name="7 - Εικόνα" descr="hospital3.jpg"/>
          <p:cNvPicPr>
            <a:picLocks noChangeAspect="1"/>
          </p:cNvPicPr>
          <p:nvPr/>
        </p:nvPicPr>
        <p:blipFill>
          <a:blip r:embed="rId3" cstate="print"/>
          <a:srcRect/>
          <a:stretch>
            <a:fillRect/>
          </a:stretch>
        </p:blipFill>
        <p:spPr bwMode="auto">
          <a:xfrm>
            <a:off x="7591425" y="5116513"/>
            <a:ext cx="2695575" cy="1741487"/>
          </a:xfrm>
          <a:prstGeom prst="rect">
            <a:avLst/>
          </a:prstGeom>
          <a:noFill/>
          <a:ln w="9525">
            <a:noFill/>
            <a:miter lim="800000"/>
            <a:headEnd/>
            <a:tailEnd/>
          </a:ln>
        </p:spPr>
      </p:pic>
      <p:sp>
        <p:nvSpPr>
          <p:cNvPr id="10" name="Text Box 3"/>
          <p:cNvSpPr txBox="1">
            <a:spLocks noChangeArrowheads="1"/>
          </p:cNvSpPr>
          <p:nvPr/>
        </p:nvSpPr>
        <p:spPr bwMode="auto">
          <a:xfrm>
            <a:off x="462980" y="2420888"/>
            <a:ext cx="8686800" cy="3367076"/>
          </a:xfrm>
          <a:prstGeom prst="rect">
            <a:avLst/>
          </a:prstGeom>
          <a:noFill/>
          <a:ln w="12700">
            <a:noFill/>
            <a:miter lim="800000"/>
            <a:headEnd type="none" w="sm" len="sm"/>
            <a:tailEnd type="none" w="sm" len="sm"/>
          </a:ln>
        </p:spPr>
        <p:txBody>
          <a:bodyPr>
            <a:spAutoFit/>
          </a:bodyPr>
          <a:lstStyle/>
          <a:p>
            <a:pPr algn="ctr" defTabSz="762000" eaLnBrk="0" hangingPunct="0"/>
            <a:r>
              <a:rPr lang="el-GR" sz="2800" dirty="0">
                <a:solidFill>
                  <a:schemeClr val="tx2"/>
                </a:solidFill>
              </a:rPr>
              <a:t>Γεώργιος </a:t>
            </a:r>
            <a:r>
              <a:rPr lang="el-GR" sz="2800" dirty="0" err="1">
                <a:solidFill>
                  <a:schemeClr val="tx2"/>
                </a:solidFill>
              </a:rPr>
              <a:t>Παπαθεοδωρίδης</a:t>
            </a:r>
            <a:endParaRPr lang="el-GR" sz="2800" b="1" dirty="0">
              <a:solidFill>
                <a:schemeClr val="tx2"/>
              </a:solidFill>
            </a:endParaRPr>
          </a:p>
          <a:p>
            <a:pPr algn="ctr" defTabSz="762000" eaLnBrk="0" hangingPunct="0">
              <a:lnSpc>
                <a:spcPct val="110000"/>
              </a:lnSpc>
              <a:spcBef>
                <a:spcPct val="50000"/>
              </a:spcBef>
            </a:pPr>
            <a:r>
              <a:rPr lang="el-GR" dirty="0"/>
              <a:t>Καθηγητής Παθολογίας-Γαστρεντερολογίας</a:t>
            </a:r>
            <a:endParaRPr lang="el-GR" b="1" dirty="0"/>
          </a:p>
          <a:p>
            <a:pPr algn="ctr" defTabSz="762000" eaLnBrk="0" hangingPunct="0">
              <a:lnSpc>
                <a:spcPct val="140000"/>
              </a:lnSpc>
            </a:pPr>
            <a:endParaRPr lang="el-GR" sz="2800" dirty="0"/>
          </a:p>
          <a:p>
            <a:pPr algn="ctr" defTabSz="762000" eaLnBrk="0" hangingPunct="0"/>
            <a:endParaRPr lang="el-GR" sz="2800" b="1" i="1" dirty="0">
              <a:solidFill>
                <a:schemeClr val="accent2"/>
              </a:solidFill>
            </a:endParaRPr>
          </a:p>
          <a:p>
            <a:pPr algn="ctr" defTabSz="762000" eaLnBrk="0" hangingPunct="0">
              <a:lnSpc>
                <a:spcPct val="120000"/>
              </a:lnSpc>
            </a:pPr>
            <a:r>
              <a:rPr lang="el-GR" sz="2200" b="1" i="1" dirty="0">
                <a:solidFill>
                  <a:schemeClr val="accent2"/>
                </a:solidFill>
              </a:rPr>
              <a:t>Διευθυντής Παν/</a:t>
            </a:r>
            <a:r>
              <a:rPr lang="el-GR" sz="2200" b="1" i="1" dirty="0" err="1">
                <a:solidFill>
                  <a:schemeClr val="accent2"/>
                </a:solidFill>
              </a:rPr>
              <a:t>κής</a:t>
            </a:r>
            <a:r>
              <a:rPr lang="el-GR" sz="2200" b="1" i="1" dirty="0">
                <a:solidFill>
                  <a:schemeClr val="accent2"/>
                </a:solidFill>
              </a:rPr>
              <a:t> Γαστρεντερολογικής Κλινικής,</a:t>
            </a:r>
          </a:p>
          <a:p>
            <a:pPr algn="ctr" defTabSz="762000" eaLnBrk="0" hangingPunct="0">
              <a:lnSpc>
                <a:spcPct val="120000"/>
              </a:lnSpc>
            </a:pPr>
            <a:r>
              <a:rPr lang="el-GR" sz="2200" b="1" i="1" dirty="0">
                <a:solidFill>
                  <a:schemeClr val="accent2"/>
                </a:solidFill>
              </a:rPr>
              <a:t>Ιατρική Σχολή </a:t>
            </a:r>
            <a:r>
              <a:rPr lang="el-GR" sz="2200" i="1" dirty="0">
                <a:solidFill>
                  <a:schemeClr val="accent2"/>
                </a:solidFill>
              </a:rPr>
              <a:t>ΕΚΠΑ</a:t>
            </a:r>
            <a:r>
              <a:rPr lang="el-GR" sz="2200" b="1" i="1" dirty="0">
                <a:solidFill>
                  <a:schemeClr val="accent2"/>
                </a:solidFill>
              </a:rPr>
              <a:t>,</a:t>
            </a:r>
          </a:p>
          <a:p>
            <a:pPr algn="ctr" defTabSz="762000" eaLnBrk="0" hangingPunct="0">
              <a:lnSpc>
                <a:spcPct val="120000"/>
              </a:lnSpc>
            </a:pPr>
            <a:r>
              <a:rPr lang="el-GR" sz="2200" b="1" i="1" dirty="0">
                <a:solidFill>
                  <a:schemeClr val="accent2"/>
                </a:solidFill>
              </a:rPr>
              <a:t>Γ.Ν.Α. «Λαϊκό»</a:t>
            </a:r>
          </a:p>
        </p:txBody>
      </p:sp>
    </p:spTree>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CA069B54-F677-4BCB-A3A9-D8627B90BCCD}"/>
              </a:ext>
            </a:extLst>
          </p:cNvPr>
          <p:cNvSpPr>
            <a:spLocks noGrp="1" noChangeArrowheads="1"/>
          </p:cNvSpPr>
          <p:nvPr>
            <p:ph type="body" idx="1"/>
          </p:nvPr>
        </p:nvSpPr>
        <p:spPr>
          <a:xfrm>
            <a:off x="771525" y="1772865"/>
            <a:ext cx="8743950" cy="2736304"/>
          </a:xfrm>
        </p:spPr>
        <p:txBody>
          <a:bodyPr/>
          <a:lstStyle/>
          <a:p>
            <a:pPr>
              <a:lnSpc>
                <a:spcPct val="130000"/>
              </a:lnSpc>
            </a:pPr>
            <a:r>
              <a:rPr lang="el-GR" altLang="el-GR" b="1" dirty="0"/>
              <a:t>Συνδυασμός ορολογικών δεικτών ανάλογα με τη φάση της </a:t>
            </a:r>
            <a:r>
              <a:rPr lang="en-US" altLang="el-GR" b="1" dirty="0"/>
              <a:t>HBV </a:t>
            </a:r>
            <a:r>
              <a:rPr lang="el-GR" altLang="el-GR" b="1" dirty="0"/>
              <a:t>λοίμωξης</a:t>
            </a:r>
          </a:p>
          <a:p>
            <a:endParaRPr lang="el-GR" altLang="el-GR" b="1" dirty="0"/>
          </a:p>
          <a:p>
            <a:r>
              <a:rPr lang="el-GR" altLang="el-GR" b="1" dirty="0"/>
              <a:t>Προϋποθέτει γνώση της φυσικής ιστορίας </a:t>
            </a:r>
          </a:p>
        </p:txBody>
      </p:sp>
      <p:sp>
        <p:nvSpPr>
          <p:cNvPr id="203779" name="Rectangle 3">
            <a:extLst>
              <a:ext uri="{FF2B5EF4-FFF2-40B4-BE49-F238E27FC236}">
                <a16:creationId xmlns:a16="http://schemas.microsoft.com/office/drawing/2014/main" id="{2C7D4BC0-0ADE-4467-B1F7-63E7A780BEC6}"/>
              </a:ext>
            </a:extLst>
          </p:cNvPr>
          <p:cNvSpPr>
            <a:spLocks noChangeArrowheads="1"/>
          </p:cNvSpPr>
          <p:nvPr/>
        </p:nvSpPr>
        <p:spPr bwMode="auto">
          <a:xfrm>
            <a:off x="247650" y="549275"/>
            <a:ext cx="9793288" cy="863600"/>
          </a:xfrm>
          <a:prstGeom prst="rect">
            <a:avLst/>
          </a:prstGeom>
          <a:gradFill rotWithShape="1">
            <a:gsLst>
              <a:gs pos="0">
                <a:schemeClr val="bg1"/>
              </a:gs>
              <a:gs pos="50000">
                <a:schemeClr val="bg1">
                  <a:gamma/>
                  <a:shade val="46275"/>
                  <a:invGamma/>
                </a:schemeClr>
              </a:gs>
              <a:gs pos="100000">
                <a:schemeClr val="bg1"/>
              </a:gs>
            </a:gsLst>
            <a:lin ang="5400000" scaled="1"/>
          </a:gradFill>
          <a:ln w="9525">
            <a:noFill/>
            <a:miter lim="800000"/>
            <a:headEnd/>
            <a:tailEnd/>
          </a:ln>
          <a:effectLst/>
        </p:spPr>
        <p:txBody>
          <a:bodyPr lIns="92075" tIns="46038" rIns="92075" bIns="46038" anchor="ctr"/>
          <a:lstStyle/>
          <a:p>
            <a:pPr algn="ctr" defTabSz="762000">
              <a:defRPr/>
            </a:pPr>
            <a:r>
              <a:rPr lang="el-GR" sz="3200" b="1">
                <a:solidFill>
                  <a:schemeClr val="tx2"/>
                </a:solidFill>
              </a:rPr>
              <a:t>Ηπατίτιδα Β: Διαγνωστική προσέγγιση</a:t>
            </a:r>
            <a:r>
              <a:rPr lang="el-GR" sz="4000">
                <a:solidFill>
                  <a:schemeClr val="tx2"/>
                </a:solidFill>
              </a:rPr>
              <a:t> </a:t>
            </a:r>
          </a:p>
        </p:txBody>
      </p:sp>
      <p:sp>
        <p:nvSpPr>
          <p:cNvPr id="2" name="TextBox 1">
            <a:extLst>
              <a:ext uri="{FF2B5EF4-FFF2-40B4-BE49-F238E27FC236}">
                <a16:creationId xmlns:a16="http://schemas.microsoft.com/office/drawing/2014/main" id="{31A402C2-06D1-CA3B-FC38-7DC2C7E6BEA3}"/>
              </a:ext>
            </a:extLst>
          </p:cNvPr>
          <p:cNvSpPr txBox="1"/>
          <p:nvPr/>
        </p:nvSpPr>
        <p:spPr>
          <a:xfrm>
            <a:off x="1975148" y="4725144"/>
            <a:ext cx="5742854" cy="1478418"/>
          </a:xfrm>
          <a:prstGeom prst="rect">
            <a:avLst/>
          </a:prstGeom>
          <a:noFill/>
        </p:spPr>
        <p:txBody>
          <a:bodyPr wrap="none" rtlCol="0">
            <a:spAutoFit/>
          </a:bodyPr>
          <a:lstStyle/>
          <a:p>
            <a:pPr algn="ctr">
              <a:lnSpc>
                <a:spcPct val="150000"/>
              </a:lnSpc>
            </a:pPr>
            <a:r>
              <a:rPr lang="el-GR" sz="3200" u="sng" dirty="0">
                <a:solidFill>
                  <a:schemeClr val="tx2"/>
                </a:solidFill>
              </a:rPr>
              <a:t>Δυνατότητες διάγνωσης:</a:t>
            </a:r>
          </a:p>
          <a:p>
            <a:pPr algn="ctr">
              <a:lnSpc>
                <a:spcPct val="150000"/>
              </a:lnSpc>
            </a:pPr>
            <a:r>
              <a:rPr lang="el-GR" sz="3200" dirty="0"/>
              <a:t>άριστες σε ατομικό επίπεδο </a:t>
            </a: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0D782-3549-4739-BD13-29D807704A2F}"/>
              </a:ext>
            </a:extLst>
          </p:cNvPr>
          <p:cNvSpPr>
            <a:spLocks noGrp="1"/>
          </p:cNvSpPr>
          <p:nvPr>
            <p:ph type="title"/>
          </p:nvPr>
        </p:nvSpPr>
        <p:spPr>
          <a:xfrm>
            <a:off x="533260" y="481087"/>
            <a:ext cx="9217695" cy="594111"/>
          </a:xfrm>
        </p:spPr>
        <p:txBody>
          <a:bodyPr>
            <a:noAutofit/>
          </a:bodyPr>
          <a:lstStyle/>
          <a:p>
            <a:pPr algn="ctr"/>
            <a: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Χρόνια </a:t>
            </a: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HBV </a:t>
            </a:r>
            <a: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λοίμωξη</a:t>
            </a: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 </a:t>
            </a:r>
            <a:b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br>
            <a: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Πολύ χαμηλό ποσοστό διάγνωσης</a:t>
            </a: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a:t>
            </a:r>
            <a:endParaRPr lang="en-US"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endParaRPr>
          </a:p>
        </p:txBody>
      </p:sp>
      <p:sp>
        <p:nvSpPr>
          <p:cNvPr id="8" name="TextBox 7">
            <a:extLst>
              <a:ext uri="{FF2B5EF4-FFF2-40B4-BE49-F238E27FC236}">
                <a16:creationId xmlns:a16="http://schemas.microsoft.com/office/drawing/2014/main" id="{F81DFF82-BF99-B5BE-A69E-643EDE403173}"/>
              </a:ext>
            </a:extLst>
          </p:cNvPr>
          <p:cNvSpPr txBox="1"/>
          <p:nvPr/>
        </p:nvSpPr>
        <p:spPr>
          <a:xfrm>
            <a:off x="1516739" y="1556792"/>
            <a:ext cx="3087705" cy="369332"/>
          </a:xfrm>
          <a:prstGeom prst="rect">
            <a:avLst/>
          </a:prstGeom>
          <a:noFill/>
        </p:spPr>
        <p:txBody>
          <a:bodyPr wrap="none" rtlCol="0">
            <a:spAutoFit/>
          </a:bodyPr>
          <a:lstStyle/>
          <a:p>
            <a:pPr algn="ctr" defTabSz="771571" fontAlgn="auto">
              <a:spcBef>
                <a:spcPts val="0"/>
              </a:spcBef>
              <a:spcAft>
                <a:spcPts val="0"/>
              </a:spcAft>
              <a:defRPr/>
            </a:pPr>
            <a:r>
              <a:rPr lang="en-US" altLang="ko-KR" sz="1800" dirty="0">
                <a:latin typeface="Tahoma" panose="020B0604030504040204" pitchFamily="34" charset="0"/>
                <a:ea typeface="Tahoma" panose="020B0604030504040204" pitchFamily="34" charset="0"/>
                <a:cs typeface="Tahoma" panose="020B0604030504040204" pitchFamily="34" charset="0"/>
              </a:rPr>
              <a:t>Global</a:t>
            </a:r>
            <a:r>
              <a:rPr lang="ko-KR" altLang="en-US" sz="1800" dirty="0">
                <a:latin typeface="Tahoma" panose="020B0604030504040204" pitchFamily="34" charset="0"/>
                <a:ea typeface="Tahoma" panose="020B0604030504040204" pitchFamily="34" charset="0"/>
                <a:cs typeface="Tahoma" panose="020B0604030504040204" pitchFamily="34" charset="0"/>
              </a:rPr>
              <a:t> </a:t>
            </a:r>
            <a:r>
              <a:rPr lang="en-US" altLang="ko-KR" sz="1800" dirty="0">
                <a:latin typeface="Tahoma" panose="020B0604030504040204" pitchFamily="34" charset="0"/>
                <a:ea typeface="Tahoma" panose="020B0604030504040204" pitchFamily="34" charset="0"/>
                <a:cs typeface="Tahoma" panose="020B0604030504040204" pitchFamily="34" charset="0"/>
              </a:rPr>
              <a:t>estimation (2019)</a:t>
            </a:r>
            <a:endParaRPr lang="ko-KR" altLang="en-US" sz="1800" dirty="0">
              <a:latin typeface="Tahoma" panose="020B0604030504040204" pitchFamily="34" charset="0"/>
              <a:ea typeface="굴림" panose="020B0600000101010101" pitchFamily="50" charset="-127"/>
              <a:cs typeface="Tahoma" panose="020B0604030504040204" pitchFamily="34" charset="0"/>
            </a:endParaRPr>
          </a:p>
        </p:txBody>
      </p:sp>
      <p:graphicFrame>
        <p:nvGraphicFramePr>
          <p:cNvPr id="3" name="차트 2">
            <a:extLst>
              <a:ext uri="{FF2B5EF4-FFF2-40B4-BE49-F238E27FC236}">
                <a16:creationId xmlns:a16="http://schemas.microsoft.com/office/drawing/2014/main" id="{4CEBAA29-4EA1-4439-8B05-5BBCFCCAFA67}"/>
              </a:ext>
            </a:extLst>
          </p:cNvPr>
          <p:cNvGraphicFramePr>
            <a:graphicFrameLocks/>
          </p:cNvGraphicFramePr>
          <p:nvPr>
            <p:extLst>
              <p:ext uri="{D42A27DB-BD31-4B8C-83A1-F6EECF244321}">
                <p14:modId xmlns:p14="http://schemas.microsoft.com/office/powerpoint/2010/main" val="4219496401"/>
              </p:ext>
            </p:extLst>
          </p:nvPr>
        </p:nvGraphicFramePr>
        <p:xfrm>
          <a:off x="614216" y="1881315"/>
          <a:ext cx="4252500" cy="3645000"/>
        </p:xfrm>
        <a:graphic>
          <a:graphicData uri="http://schemas.openxmlformats.org/drawingml/2006/chart">
            <c:chart xmlns:c="http://schemas.openxmlformats.org/drawingml/2006/chart" xmlns:r="http://schemas.openxmlformats.org/officeDocument/2006/relationships" r:id="rId3"/>
          </a:graphicData>
        </a:graphic>
      </p:graphicFrame>
      <p:cxnSp>
        <p:nvCxnSpPr>
          <p:cNvPr id="21" name="연결선: 꺾임 20">
            <a:extLst>
              <a:ext uri="{FF2B5EF4-FFF2-40B4-BE49-F238E27FC236}">
                <a16:creationId xmlns:a16="http://schemas.microsoft.com/office/drawing/2014/main" id="{E31FD69B-2B6C-2A52-14A1-0D83C3078611}"/>
              </a:ext>
            </a:extLst>
          </p:cNvPr>
          <p:cNvCxnSpPr>
            <a:cxnSpLocks/>
          </p:cNvCxnSpPr>
          <p:nvPr/>
        </p:nvCxnSpPr>
        <p:spPr>
          <a:xfrm rot="16200000" flipH="1">
            <a:off x="1548359" y="3148681"/>
            <a:ext cx="2133747" cy="895350"/>
          </a:xfrm>
          <a:prstGeom prst="bentConnector3">
            <a:avLst>
              <a:gd name="adj1" fmla="val 768"/>
            </a:avLst>
          </a:prstGeom>
          <a:ln w="38100">
            <a:solidFill>
              <a:schemeClr val="tx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E38DFC3-EBFE-345A-380B-0BD69D76390D}"/>
              </a:ext>
            </a:extLst>
          </p:cNvPr>
          <p:cNvSpPr txBox="1"/>
          <p:nvPr/>
        </p:nvSpPr>
        <p:spPr>
          <a:xfrm>
            <a:off x="2730130" y="3908879"/>
            <a:ext cx="692818" cy="276787"/>
          </a:xfrm>
          <a:prstGeom prst="rect">
            <a:avLst/>
          </a:prstGeom>
          <a:solidFill>
            <a:srgbClr val="C00000"/>
          </a:solidFill>
          <a:ln>
            <a:solidFill>
              <a:schemeClr val="tx2"/>
            </a:solidFill>
          </a:ln>
        </p:spPr>
        <p:txBody>
          <a:bodyPr wrap="none" tIns="30375" bIns="30375" rtlCol="0">
            <a:spAutoFit/>
          </a:bodyPr>
          <a:lstStyle/>
          <a:p>
            <a:pPr algn="ctr" defTabSz="771571" fontAlgn="auto">
              <a:spcBef>
                <a:spcPts val="0"/>
              </a:spcBef>
              <a:spcAft>
                <a:spcPts val="0"/>
              </a:spcAft>
              <a:defRPr/>
            </a:pPr>
            <a:r>
              <a:rPr lang="en-US" altLang="ko-KR" sz="1400" dirty="0">
                <a:solidFill>
                  <a:srgbClr val="FFFFFF"/>
                </a:solidFill>
                <a:latin typeface="Arial" panose="020B0604020202020204"/>
                <a:ea typeface="굴림" panose="020B0600000101010101" pitchFamily="50" charset="-127"/>
                <a:cs typeface="+mn-cs"/>
              </a:rPr>
              <a:t>10.5%</a:t>
            </a:r>
            <a:endParaRPr lang="ko-KR" altLang="en-US" sz="1400" dirty="0">
              <a:solidFill>
                <a:srgbClr val="FFFFFF"/>
              </a:solidFill>
              <a:latin typeface="Arial" panose="020B0604020202020204"/>
              <a:ea typeface="굴림" panose="020B0600000101010101" pitchFamily="50" charset="-127"/>
              <a:cs typeface="+mn-cs"/>
            </a:endParaRPr>
          </a:p>
        </p:txBody>
      </p:sp>
      <p:sp>
        <p:nvSpPr>
          <p:cNvPr id="4" name="TextBox 3">
            <a:extLst>
              <a:ext uri="{FF2B5EF4-FFF2-40B4-BE49-F238E27FC236}">
                <a16:creationId xmlns:a16="http://schemas.microsoft.com/office/drawing/2014/main" id="{F3374D80-132C-7C37-5134-791407856F91}"/>
              </a:ext>
            </a:extLst>
          </p:cNvPr>
          <p:cNvSpPr txBox="1"/>
          <p:nvPr/>
        </p:nvSpPr>
        <p:spPr>
          <a:xfrm>
            <a:off x="462980" y="6039987"/>
            <a:ext cx="5007960" cy="307777"/>
          </a:xfrm>
          <a:prstGeom prst="rect">
            <a:avLst/>
          </a:prstGeom>
          <a:noFill/>
        </p:spPr>
        <p:txBody>
          <a:bodyPr wrap="square" rtlCol="0">
            <a:spAutoFit/>
          </a:bodyPr>
          <a:lstStyle/>
          <a:p>
            <a:pPr algn="ctr" defTabSz="771571" fontAlgn="auto" latinLnBrk="1">
              <a:spcBef>
                <a:spcPts val="0"/>
              </a:spcBef>
              <a:spcAft>
                <a:spcPts val="0"/>
              </a:spcAft>
              <a:defRPr/>
            </a:pPr>
            <a:r>
              <a:rPr lang="en-US" altLang="ko-KR" sz="1400" b="0" dirty="0">
                <a:latin typeface="Arial" panose="020B0604020202020204" pitchFamily="34" charset="0"/>
                <a:ea typeface="굴림" panose="020B0600000101010101" pitchFamily="50" charset="-127"/>
                <a:cs typeface="Arial" panose="020B0604020202020204" pitchFamily="34" charset="0"/>
              </a:rPr>
              <a:t>Cui F et al. Lancet Gastroenterol Hepatol 2023;8:332-42.</a:t>
            </a:r>
          </a:p>
        </p:txBody>
      </p:sp>
      <p:sp>
        <p:nvSpPr>
          <p:cNvPr id="5" name="TextBox 4">
            <a:extLst>
              <a:ext uri="{FF2B5EF4-FFF2-40B4-BE49-F238E27FC236}">
                <a16:creationId xmlns:a16="http://schemas.microsoft.com/office/drawing/2014/main" id="{B59D8567-C259-2E3C-BF14-8EE10E403386}"/>
              </a:ext>
            </a:extLst>
          </p:cNvPr>
          <p:cNvSpPr txBox="1"/>
          <p:nvPr/>
        </p:nvSpPr>
        <p:spPr>
          <a:xfrm rot="16200000">
            <a:off x="-136836" y="3251234"/>
            <a:ext cx="962123" cy="338554"/>
          </a:xfrm>
          <a:prstGeom prst="rect">
            <a:avLst/>
          </a:prstGeom>
          <a:noFill/>
        </p:spPr>
        <p:txBody>
          <a:bodyPr wrap="none" rtlCol="0">
            <a:spAutoFit/>
          </a:bodyPr>
          <a:lstStyle/>
          <a:p>
            <a:r>
              <a:rPr lang="en-US" sz="1600" dirty="0"/>
              <a:t>millions</a:t>
            </a:r>
            <a:endParaRPr lang="el-GR" sz="1600" dirty="0"/>
          </a:p>
        </p:txBody>
      </p:sp>
      <p:graphicFrame>
        <p:nvGraphicFramePr>
          <p:cNvPr id="6" name="Content Placeholder 5">
            <a:extLst>
              <a:ext uri="{FF2B5EF4-FFF2-40B4-BE49-F238E27FC236}">
                <a16:creationId xmlns:a16="http://schemas.microsoft.com/office/drawing/2014/main" id="{04346633-B322-9F4C-CBCD-B7508A86E55B}"/>
              </a:ext>
            </a:extLst>
          </p:cNvPr>
          <p:cNvGraphicFramePr>
            <a:graphicFrameLocks/>
          </p:cNvGraphicFramePr>
          <p:nvPr>
            <p:extLst>
              <p:ext uri="{D42A27DB-BD31-4B8C-83A1-F6EECF244321}">
                <p14:modId xmlns:p14="http://schemas.microsoft.com/office/powerpoint/2010/main" val="1837621330"/>
              </p:ext>
            </p:extLst>
          </p:nvPr>
        </p:nvGraphicFramePr>
        <p:xfrm>
          <a:off x="5071492" y="2016248"/>
          <a:ext cx="6012326" cy="3645000"/>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a:extLst>
              <a:ext uri="{FF2B5EF4-FFF2-40B4-BE49-F238E27FC236}">
                <a16:creationId xmlns:a16="http://schemas.microsoft.com/office/drawing/2014/main" id="{808B9EC2-A868-7EA7-EC8B-3EB1DCD4237A}"/>
              </a:ext>
            </a:extLst>
          </p:cNvPr>
          <p:cNvCxnSpPr>
            <a:cxnSpLocks/>
          </p:cNvCxnSpPr>
          <p:nvPr/>
        </p:nvCxnSpPr>
        <p:spPr>
          <a:xfrm>
            <a:off x="8960064" y="2780928"/>
            <a:ext cx="0" cy="1166204"/>
          </a:xfrm>
          <a:prstGeom prst="straightConnector1">
            <a:avLst/>
          </a:prstGeom>
          <a:ln>
            <a:solidFill>
              <a:schemeClr val="tx2"/>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9" name="TextBox 15">
            <a:extLst>
              <a:ext uri="{FF2B5EF4-FFF2-40B4-BE49-F238E27FC236}">
                <a16:creationId xmlns:a16="http://schemas.microsoft.com/office/drawing/2014/main" id="{538D01EC-F44A-75ED-D686-9CA230222937}"/>
              </a:ext>
            </a:extLst>
          </p:cNvPr>
          <p:cNvSpPr txBox="1">
            <a:spLocks noChangeArrowheads="1"/>
          </p:cNvSpPr>
          <p:nvPr/>
        </p:nvSpPr>
        <p:spPr bwMode="auto">
          <a:xfrm>
            <a:off x="8959924" y="3069850"/>
            <a:ext cx="100057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l-GR" sz="1800" dirty="0"/>
              <a:t>50.3%  </a:t>
            </a:r>
          </a:p>
        </p:txBody>
      </p:sp>
      <p:sp>
        <p:nvSpPr>
          <p:cNvPr id="10" name="TextBox 17">
            <a:extLst>
              <a:ext uri="{FF2B5EF4-FFF2-40B4-BE49-F238E27FC236}">
                <a16:creationId xmlns:a16="http://schemas.microsoft.com/office/drawing/2014/main" id="{BE3339BD-B4E5-5CE5-580A-28F9CC132949}"/>
              </a:ext>
            </a:extLst>
          </p:cNvPr>
          <p:cNvSpPr txBox="1">
            <a:spLocks noChangeArrowheads="1"/>
          </p:cNvSpPr>
          <p:nvPr/>
        </p:nvSpPr>
        <p:spPr bwMode="auto">
          <a:xfrm>
            <a:off x="5797476" y="1308362"/>
            <a:ext cx="42271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l-GR" sz="2000" dirty="0"/>
              <a:t>Greece (201</a:t>
            </a:r>
            <a:r>
              <a:rPr lang="el-GR" altLang="el-GR" sz="2000" dirty="0"/>
              <a:t>4</a:t>
            </a:r>
            <a:r>
              <a:rPr lang="en-US" altLang="el-GR" sz="2000" dirty="0"/>
              <a:t>) </a:t>
            </a:r>
          </a:p>
          <a:p>
            <a:pPr algn="ctr" eaLnBrk="1" hangingPunct="1">
              <a:spcBef>
                <a:spcPct val="0"/>
              </a:spcBef>
              <a:buFontTx/>
              <a:buNone/>
            </a:pPr>
            <a:r>
              <a:rPr lang="en-US" altLang="el-GR" sz="2000" dirty="0"/>
              <a:t>Telephone survey, 9974 participants</a:t>
            </a:r>
          </a:p>
        </p:txBody>
      </p:sp>
      <p:sp>
        <p:nvSpPr>
          <p:cNvPr id="13" name="TextBox 16">
            <a:extLst>
              <a:ext uri="{FF2B5EF4-FFF2-40B4-BE49-F238E27FC236}">
                <a16:creationId xmlns:a16="http://schemas.microsoft.com/office/drawing/2014/main" id="{45E69C0F-0D6A-88C0-1937-ABBEAEB1A729}"/>
              </a:ext>
            </a:extLst>
          </p:cNvPr>
          <p:cNvSpPr txBox="1">
            <a:spLocks noChangeArrowheads="1"/>
          </p:cNvSpPr>
          <p:nvPr/>
        </p:nvSpPr>
        <p:spPr bwMode="auto">
          <a:xfrm>
            <a:off x="5758260" y="6027343"/>
            <a:ext cx="45287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l-GR" sz="1400" b="0" dirty="0">
                <a:latin typeface="Arial" panose="020B0604020202020204" pitchFamily="34" charset="0"/>
                <a:cs typeface="Arial" panose="020B0604020202020204" pitchFamily="34" charset="0"/>
              </a:rPr>
              <a:t>G </a:t>
            </a:r>
            <a:r>
              <a:rPr lang="en-US" altLang="el-GR" sz="1400" b="0" dirty="0" err="1">
                <a:latin typeface="Arial" panose="020B0604020202020204" pitchFamily="34" charset="0"/>
                <a:cs typeface="Arial" panose="020B0604020202020204" pitchFamily="34" charset="0"/>
              </a:rPr>
              <a:t>Papatheodoridis</a:t>
            </a:r>
            <a:r>
              <a:rPr lang="en-US" altLang="el-GR" sz="1400" b="0" dirty="0">
                <a:latin typeface="Arial" panose="020B0604020202020204" pitchFamily="34" charset="0"/>
                <a:cs typeface="Arial" panose="020B0604020202020204" pitchFamily="34" charset="0"/>
              </a:rPr>
              <a:t> et al. </a:t>
            </a:r>
            <a:r>
              <a:rPr lang="nb-NO" sz="1400" b="0" dirty="0">
                <a:latin typeface="Arial" panose="020B0604020202020204" pitchFamily="34" charset="0"/>
                <a:cs typeface="Arial" panose="020B0604020202020204" pitchFamily="34" charset="0"/>
              </a:rPr>
              <a:t>J Viral Hepat 2015;22:409-15.</a:t>
            </a:r>
            <a:endParaRPr lang="en-US" altLang="el-GR" sz="14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12887117"/>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2">
            <a:extLst>
              <a:ext uri="{FF2B5EF4-FFF2-40B4-BE49-F238E27FC236}">
                <a16:creationId xmlns:a16="http://schemas.microsoft.com/office/drawing/2014/main" id="{08CBD950-4BDB-49D0-92FF-8C55980CF90A}"/>
              </a:ext>
            </a:extLst>
          </p:cNvPr>
          <p:cNvSpPr>
            <a:spLocks noChangeArrowheads="1"/>
          </p:cNvSpPr>
          <p:nvPr/>
        </p:nvSpPr>
        <p:spPr bwMode="auto">
          <a:xfrm>
            <a:off x="1" y="381000"/>
            <a:ext cx="10233730" cy="990600"/>
          </a:xfrm>
          <a:prstGeom prst="rect">
            <a:avLst/>
          </a:prstGeom>
          <a:gradFill rotWithShape="0">
            <a:gsLst>
              <a:gs pos="0">
                <a:schemeClr val="bg1"/>
              </a:gs>
              <a:gs pos="50000">
                <a:schemeClr val="bg1">
                  <a:gamma/>
                  <a:shade val="60000"/>
                  <a:invGamma/>
                </a:schemeClr>
              </a:gs>
              <a:gs pos="100000">
                <a:schemeClr val="bg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lgn="ctr" defTabSz="762000">
              <a:defRPr sz="4400">
                <a:solidFill>
                  <a:schemeClr val="tx2"/>
                </a:solidFill>
                <a:latin typeface="Arial" panose="020B0604020202020204" pitchFamily="34" charset="0"/>
              </a:defRPr>
            </a:lvl1pPr>
            <a:lvl2pPr algn="ctr" defTabSz="762000">
              <a:defRPr sz="4400">
                <a:solidFill>
                  <a:schemeClr val="tx2"/>
                </a:solidFill>
                <a:latin typeface="Arial" panose="020B0604020202020204" pitchFamily="34" charset="0"/>
              </a:defRPr>
            </a:lvl2pPr>
            <a:lvl3pPr algn="ctr" defTabSz="762000">
              <a:defRPr sz="4400">
                <a:solidFill>
                  <a:schemeClr val="tx2"/>
                </a:solidFill>
                <a:latin typeface="Arial" panose="020B0604020202020204" pitchFamily="34" charset="0"/>
              </a:defRPr>
            </a:lvl3pPr>
            <a:lvl4pPr algn="ctr" defTabSz="762000">
              <a:defRPr sz="4400">
                <a:solidFill>
                  <a:schemeClr val="tx2"/>
                </a:solidFill>
                <a:latin typeface="Arial" panose="020B0604020202020204" pitchFamily="34" charset="0"/>
              </a:defRPr>
            </a:lvl4pPr>
            <a:lvl5pPr algn="ctr" defTabSz="762000">
              <a:defRPr sz="4400">
                <a:solidFill>
                  <a:schemeClr val="tx2"/>
                </a:solidFill>
                <a:latin typeface="Arial" panose="020B0604020202020204" pitchFamily="34" charset="0"/>
              </a:defRPr>
            </a:lvl5pPr>
            <a:lvl6pPr marL="457200" algn="ctr" defTabSz="762000" eaLnBrk="0" fontAlgn="base" hangingPunct="0">
              <a:spcBef>
                <a:spcPct val="0"/>
              </a:spcBef>
              <a:spcAft>
                <a:spcPct val="0"/>
              </a:spcAft>
              <a:defRPr sz="4400">
                <a:solidFill>
                  <a:schemeClr val="tx2"/>
                </a:solidFill>
                <a:latin typeface="Arial" panose="020B0604020202020204" pitchFamily="34" charset="0"/>
              </a:defRPr>
            </a:lvl6pPr>
            <a:lvl7pPr marL="914400" algn="ctr" defTabSz="762000" eaLnBrk="0" fontAlgn="base" hangingPunct="0">
              <a:spcBef>
                <a:spcPct val="0"/>
              </a:spcBef>
              <a:spcAft>
                <a:spcPct val="0"/>
              </a:spcAft>
              <a:defRPr sz="4400">
                <a:solidFill>
                  <a:schemeClr val="tx2"/>
                </a:solidFill>
                <a:latin typeface="Arial" panose="020B0604020202020204" pitchFamily="34" charset="0"/>
              </a:defRPr>
            </a:lvl7pPr>
            <a:lvl8pPr marL="1371600" algn="ctr" defTabSz="762000" eaLnBrk="0" fontAlgn="base" hangingPunct="0">
              <a:spcBef>
                <a:spcPct val="0"/>
              </a:spcBef>
              <a:spcAft>
                <a:spcPct val="0"/>
              </a:spcAft>
              <a:defRPr sz="4400">
                <a:solidFill>
                  <a:schemeClr val="tx2"/>
                </a:solidFill>
                <a:latin typeface="Arial" panose="020B0604020202020204" pitchFamily="34" charset="0"/>
              </a:defRPr>
            </a:lvl8pPr>
            <a:lvl9pPr marL="1828800" algn="ctr" defTabSz="762000" eaLnBrk="0" fontAlgn="base" hangingPunct="0">
              <a:spcBef>
                <a:spcPct val="0"/>
              </a:spcBef>
              <a:spcAft>
                <a:spcPct val="0"/>
              </a:spcAft>
              <a:defRPr sz="4400">
                <a:solidFill>
                  <a:schemeClr val="tx2"/>
                </a:solidFill>
                <a:latin typeface="Arial" panose="020B0604020202020204" pitchFamily="34" charset="0"/>
              </a:defRPr>
            </a:lvl9pPr>
          </a:lstStyle>
          <a:p>
            <a:r>
              <a:rPr lang="el-GR" altLang="el-GR" sz="3200" b="1"/>
              <a:t>ΦΥΣΙΚΗ ΙΣΤΟΡΙΑ </a:t>
            </a:r>
            <a:r>
              <a:rPr lang="en-US" altLang="el-GR" sz="3200" b="1"/>
              <a:t>X</a:t>
            </a:r>
            <a:r>
              <a:rPr lang="el-GR" altLang="el-GR" sz="3200" b="1"/>
              <a:t>ΡΟΝΙΑΣ </a:t>
            </a:r>
            <a:r>
              <a:rPr lang="en-US" altLang="el-GR" sz="3200" b="1"/>
              <a:t>HBV </a:t>
            </a:r>
            <a:r>
              <a:rPr lang="el-GR" altLang="el-GR" sz="3200" b="1"/>
              <a:t>ΛΟΙΜΩΞΗΣ</a:t>
            </a:r>
          </a:p>
        </p:txBody>
      </p:sp>
      <p:sp>
        <p:nvSpPr>
          <p:cNvPr id="230403" name="AutoShape 3">
            <a:extLst>
              <a:ext uri="{FF2B5EF4-FFF2-40B4-BE49-F238E27FC236}">
                <a16:creationId xmlns:a16="http://schemas.microsoft.com/office/drawing/2014/main" id="{6C2715B0-151B-461F-A6E1-1245026FA86D}"/>
              </a:ext>
            </a:extLst>
          </p:cNvPr>
          <p:cNvSpPr>
            <a:spLocks noChangeArrowheads="1"/>
          </p:cNvSpPr>
          <p:nvPr/>
        </p:nvSpPr>
        <p:spPr bwMode="auto">
          <a:xfrm>
            <a:off x="247650" y="2420938"/>
            <a:ext cx="8856663" cy="1312862"/>
          </a:xfrm>
          <a:prstGeom prst="homePlate">
            <a:avLst>
              <a:gd name="adj" fmla="val 245607"/>
            </a:avLst>
          </a:prstGeom>
          <a:solidFill>
            <a:srgbClr val="FFFF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571500">
              <a:defRPr sz="2400">
                <a:solidFill>
                  <a:schemeClr val="tx1"/>
                </a:solidFill>
                <a:latin typeface="Times New Roman" panose="02020603050405020304" pitchFamily="18" charset="0"/>
              </a:defRPr>
            </a:lvl2pPr>
            <a:lvl3pPr marL="1143000">
              <a:defRPr sz="2400">
                <a:solidFill>
                  <a:schemeClr val="tx1"/>
                </a:solidFill>
                <a:latin typeface="Times New Roman" panose="02020603050405020304" pitchFamily="18" charset="0"/>
              </a:defRPr>
            </a:lvl3pPr>
            <a:lvl4pPr marL="1714500">
              <a:defRPr sz="2400">
                <a:solidFill>
                  <a:schemeClr val="tx1"/>
                </a:solidFill>
                <a:latin typeface="Times New Roman" panose="02020603050405020304" pitchFamily="18" charset="0"/>
              </a:defRPr>
            </a:lvl4pPr>
            <a:lvl5pPr marL="2286000">
              <a:defRPr sz="2400">
                <a:solidFill>
                  <a:schemeClr val="tx1"/>
                </a:solidFill>
                <a:latin typeface="Times New Roman" panose="02020603050405020304" pitchFamily="18" charset="0"/>
              </a:defRPr>
            </a:lvl5pPr>
            <a:lvl6pPr marL="2743200" eaLnBrk="0" fontAlgn="base" hangingPunct="0">
              <a:spcBef>
                <a:spcPct val="0"/>
              </a:spcBef>
              <a:spcAft>
                <a:spcPct val="0"/>
              </a:spcAft>
              <a:defRPr sz="2400">
                <a:solidFill>
                  <a:schemeClr val="tx1"/>
                </a:solidFill>
                <a:latin typeface="Times New Roman" panose="02020603050405020304" pitchFamily="18" charset="0"/>
              </a:defRPr>
            </a:lvl6pPr>
            <a:lvl7pPr marL="3200400" eaLnBrk="0" fontAlgn="base" hangingPunct="0">
              <a:spcBef>
                <a:spcPct val="0"/>
              </a:spcBef>
              <a:spcAft>
                <a:spcPct val="0"/>
              </a:spcAft>
              <a:defRPr sz="2400">
                <a:solidFill>
                  <a:schemeClr val="tx1"/>
                </a:solidFill>
                <a:latin typeface="Times New Roman" panose="02020603050405020304" pitchFamily="18" charset="0"/>
              </a:defRPr>
            </a:lvl7pPr>
            <a:lvl8pPr marL="3657600" eaLnBrk="0" fontAlgn="base" hangingPunct="0">
              <a:spcBef>
                <a:spcPct val="0"/>
              </a:spcBef>
              <a:spcAft>
                <a:spcPct val="0"/>
              </a:spcAft>
              <a:defRPr sz="2400">
                <a:solidFill>
                  <a:schemeClr val="tx1"/>
                </a:solidFill>
                <a:latin typeface="Times New Roman" panose="02020603050405020304" pitchFamily="18" charset="0"/>
              </a:defRPr>
            </a:lvl8pPr>
            <a:lvl9pPr marL="4114800" eaLnBrk="0" fontAlgn="base" hangingPunct="0">
              <a:spcBef>
                <a:spcPct val="0"/>
              </a:spcBef>
              <a:spcAft>
                <a:spcPct val="0"/>
              </a:spcAft>
              <a:defRPr sz="2400">
                <a:solidFill>
                  <a:schemeClr val="tx1"/>
                </a:solidFill>
                <a:latin typeface="Times New Roman" panose="02020603050405020304" pitchFamily="18" charset="0"/>
              </a:defRPr>
            </a:lvl9pPr>
          </a:lstStyle>
          <a:p>
            <a:pPr algn="ctr"/>
            <a:endParaRPr lang="el-GR" altLang="el-GR">
              <a:latin typeface="Arial" panose="020B0604020202020204" pitchFamily="34" charset="0"/>
            </a:endParaRPr>
          </a:p>
        </p:txBody>
      </p:sp>
      <p:sp>
        <p:nvSpPr>
          <p:cNvPr id="230404" name="Rectangle 4">
            <a:extLst>
              <a:ext uri="{FF2B5EF4-FFF2-40B4-BE49-F238E27FC236}">
                <a16:creationId xmlns:a16="http://schemas.microsoft.com/office/drawing/2014/main" id="{AE16E038-63AB-4765-8532-E5C0A1A60C69}"/>
              </a:ext>
            </a:extLst>
          </p:cNvPr>
          <p:cNvSpPr>
            <a:spLocks noChangeArrowheads="1"/>
          </p:cNvSpPr>
          <p:nvPr/>
        </p:nvSpPr>
        <p:spPr bwMode="auto">
          <a:xfrm>
            <a:off x="3198813" y="2462213"/>
            <a:ext cx="4970462" cy="895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defTabSz="762000">
              <a:defRPr sz="2400">
                <a:solidFill>
                  <a:schemeClr val="tx1"/>
                </a:solidFill>
                <a:latin typeface="Times New Roman" panose="02020603050405020304" pitchFamily="18" charset="0"/>
              </a:defRPr>
            </a:lvl1pPr>
            <a:lvl2pPr marL="571500" defTabSz="762000">
              <a:defRPr sz="2400">
                <a:solidFill>
                  <a:schemeClr val="tx1"/>
                </a:solidFill>
                <a:latin typeface="Times New Roman" panose="02020603050405020304" pitchFamily="18" charset="0"/>
              </a:defRPr>
            </a:lvl2pPr>
            <a:lvl3pPr marL="1143000" defTabSz="762000">
              <a:defRPr sz="2400">
                <a:solidFill>
                  <a:schemeClr val="tx1"/>
                </a:solidFill>
                <a:latin typeface="Times New Roman" panose="02020603050405020304" pitchFamily="18" charset="0"/>
              </a:defRPr>
            </a:lvl3pPr>
            <a:lvl4pPr marL="1714500" defTabSz="762000">
              <a:defRPr sz="2400">
                <a:solidFill>
                  <a:schemeClr val="tx1"/>
                </a:solidFill>
                <a:latin typeface="Times New Roman" panose="02020603050405020304" pitchFamily="18" charset="0"/>
              </a:defRPr>
            </a:lvl4pPr>
            <a:lvl5pPr marL="2286000" defTabSz="762000">
              <a:defRPr sz="2400">
                <a:solidFill>
                  <a:schemeClr val="tx1"/>
                </a:solidFill>
                <a:latin typeface="Times New Roman" panose="02020603050405020304" pitchFamily="18" charset="0"/>
              </a:defRPr>
            </a:lvl5pPr>
            <a:lvl6pPr marL="2743200" defTabSz="762000" eaLnBrk="0" fontAlgn="base" hangingPunct="0">
              <a:spcBef>
                <a:spcPct val="0"/>
              </a:spcBef>
              <a:spcAft>
                <a:spcPct val="0"/>
              </a:spcAft>
              <a:defRPr sz="2400">
                <a:solidFill>
                  <a:schemeClr val="tx1"/>
                </a:solidFill>
                <a:latin typeface="Times New Roman" panose="02020603050405020304" pitchFamily="18" charset="0"/>
              </a:defRPr>
            </a:lvl6pPr>
            <a:lvl7pPr marL="3200400" defTabSz="762000" eaLnBrk="0" fontAlgn="base" hangingPunct="0">
              <a:spcBef>
                <a:spcPct val="0"/>
              </a:spcBef>
              <a:spcAft>
                <a:spcPct val="0"/>
              </a:spcAft>
              <a:defRPr sz="2400">
                <a:solidFill>
                  <a:schemeClr val="tx1"/>
                </a:solidFill>
                <a:latin typeface="Times New Roman" panose="02020603050405020304" pitchFamily="18" charset="0"/>
              </a:defRPr>
            </a:lvl7pPr>
            <a:lvl8pPr marL="3657600" defTabSz="762000" eaLnBrk="0" fontAlgn="base" hangingPunct="0">
              <a:spcBef>
                <a:spcPct val="0"/>
              </a:spcBef>
              <a:spcAft>
                <a:spcPct val="0"/>
              </a:spcAft>
              <a:defRPr sz="2400">
                <a:solidFill>
                  <a:schemeClr val="tx1"/>
                </a:solidFill>
                <a:latin typeface="Times New Roman" panose="02020603050405020304" pitchFamily="18" charset="0"/>
              </a:defRPr>
            </a:lvl8pPr>
            <a:lvl9pPr marL="4114800" defTabSz="7620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90000"/>
              </a:lnSpc>
            </a:pPr>
            <a:r>
              <a:rPr lang="el-GR" altLang="el-GR" sz="2800" b="1">
                <a:latin typeface="Arial" panose="020B0604020202020204" pitchFamily="34" charset="0"/>
              </a:rPr>
              <a:t>               </a:t>
            </a:r>
            <a:r>
              <a:rPr lang="el-GR" altLang="el-GR" b="1">
                <a:solidFill>
                  <a:schemeClr val="bg2"/>
                </a:solidFill>
                <a:latin typeface="Arial" panose="020B0604020202020204" pitchFamily="34" charset="0"/>
              </a:rPr>
              <a:t>Κίρρωση</a:t>
            </a:r>
            <a:r>
              <a:rPr lang="el-GR" altLang="el-GR" sz="3200" b="1">
                <a:solidFill>
                  <a:schemeClr val="bg2"/>
                </a:solidFill>
                <a:latin typeface="Arial" panose="020B0604020202020204" pitchFamily="34" charset="0"/>
              </a:rPr>
              <a:t> </a:t>
            </a:r>
          </a:p>
          <a:p>
            <a:pPr>
              <a:lnSpc>
                <a:spcPct val="120000"/>
              </a:lnSpc>
            </a:pPr>
            <a:r>
              <a:rPr lang="el-GR" altLang="el-GR" sz="2000" b="1">
                <a:solidFill>
                  <a:schemeClr val="bg2"/>
                </a:solidFill>
                <a:latin typeface="Arial" panose="020B0604020202020204" pitchFamily="34" charset="0"/>
              </a:rPr>
              <a:t>Αντιρροπούμενη</a:t>
            </a:r>
            <a:r>
              <a:rPr lang="el-GR" altLang="el-GR" sz="2000" b="1">
                <a:solidFill>
                  <a:schemeClr val="accent2"/>
                </a:solidFill>
                <a:latin typeface="Arial" panose="020B0604020202020204" pitchFamily="34" charset="0"/>
              </a:rPr>
              <a:t>    </a:t>
            </a:r>
            <a:r>
              <a:rPr lang="el-GR" altLang="el-GR" sz="2000" b="1">
                <a:solidFill>
                  <a:schemeClr val="bg1"/>
                </a:solidFill>
                <a:latin typeface="Arial" panose="020B0604020202020204" pitchFamily="34" charset="0"/>
              </a:rPr>
              <a:t>Μη αντιρροπούμενη</a:t>
            </a:r>
          </a:p>
        </p:txBody>
      </p:sp>
      <p:sp>
        <p:nvSpPr>
          <p:cNvPr id="230405" name="Rectangle 5">
            <a:extLst>
              <a:ext uri="{FF2B5EF4-FFF2-40B4-BE49-F238E27FC236}">
                <a16:creationId xmlns:a16="http://schemas.microsoft.com/office/drawing/2014/main" id="{A66669F9-FBB7-4404-8752-CA02EFE2BD41}"/>
              </a:ext>
            </a:extLst>
          </p:cNvPr>
          <p:cNvSpPr>
            <a:spLocks noChangeArrowheads="1"/>
          </p:cNvSpPr>
          <p:nvPr/>
        </p:nvSpPr>
        <p:spPr bwMode="auto">
          <a:xfrm rot="21540000">
            <a:off x="8783638" y="3032125"/>
            <a:ext cx="14462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defTabSz="762000">
              <a:defRPr sz="2400">
                <a:solidFill>
                  <a:schemeClr val="tx1"/>
                </a:solidFill>
                <a:latin typeface="Times New Roman" panose="02020603050405020304" pitchFamily="18" charset="0"/>
              </a:defRPr>
            </a:lvl1pPr>
            <a:lvl2pPr marL="571500" defTabSz="762000">
              <a:defRPr sz="2400">
                <a:solidFill>
                  <a:schemeClr val="tx1"/>
                </a:solidFill>
                <a:latin typeface="Times New Roman" panose="02020603050405020304" pitchFamily="18" charset="0"/>
              </a:defRPr>
            </a:lvl2pPr>
            <a:lvl3pPr marL="1143000" defTabSz="762000">
              <a:defRPr sz="2400">
                <a:solidFill>
                  <a:schemeClr val="tx1"/>
                </a:solidFill>
                <a:latin typeface="Times New Roman" panose="02020603050405020304" pitchFamily="18" charset="0"/>
              </a:defRPr>
            </a:lvl3pPr>
            <a:lvl4pPr marL="1714500" defTabSz="762000">
              <a:defRPr sz="2400">
                <a:solidFill>
                  <a:schemeClr val="tx1"/>
                </a:solidFill>
                <a:latin typeface="Times New Roman" panose="02020603050405020304" pitchFamily="18" charset="0"/>
              </a:defRPr>
            </a:lvl4pPr>
            <a:lvl5pPr marL="2286000" defTabSz="762000">
              <a:defRPr sz="2400">
                <a:solidFill>
                  <a:schemeClr val="tx1"/>
                </a:solidFill>
                <a:latin typeface="Times New Roman" panose="02020603050405020304" pitchFamily="18" charset="0"/>
              </a:defRPr>
            </a:lvl5pPr>
            <a:lvl6pPr marL="2743200" defTabSz="762000" eaLnBrk="0" fontAlgn="base" hangingPunct="0">
              <a:spcBef>
                <a:spcPct val="0"/>
              </a:spcBef>
              <a:spcAft>
                <a:spcPct val="0"/>
              </a:spcAft>
              <a:defRPr sz="2400">
                <a:solidFill>
                  <a:schemeClr val="tx1"/>
                </a:solidFill>
                <a:latin typeface="Times New Roman" panose="02020603050405020304" pitchFamily="18" charset="0"/>
              </a:defRPr>
            </a:lvl6pPr>
            <a:lvl7pPr marL="3200400" defTabSz="762000" eaLnBrk="0" fontAlgn="base" hangingPunct="0">
              <a:spcBef>
                <a:spcPct val="0"/>
              </a:spcBef>
              <a:spcAft>
                <a:spcPct val="0"/>
              </a:spcAft>
              <a:defRPr sz="2400">
                <a:solidFill>
                  <a:schemeClr val="tx1"/>
                </a:solidFill>
                <a:latin typeface="Times New Roman" panose="02020603050405020304" pitchFamily="18" charset="0"/>
              </a:defRPr>
            </a:lvl7pPr>
            <a:lvl8pPr marL="3657600" defTabSz="762000" eaLnBrk="0" fontAlgn="base" hangingPunct="0">
              <a:spcBef>
                <a:spcPct val="0"/>
              </a:spcBef>
              <a:spcAft>
                <a:spcPct val="0"/>
              </a:spcAft>
              <a:defRPr sz="2400">
                <a:solidFill>
                  <a:schemeClr val="tx1"/>
                </a:solidFill>
                <a:latin typeface="Times New Roman" panose="02020603050405020304" pitchFamily="18" charset="0"/>
              </a:defRPr>
            </a:lvl8pPr>
            <a:lvl9pPr marL="4114800" defTabSz="762000" eaLnBrk="0" fontAlgn="base" hangingPunct="0">
              <a:spcBef>
                <a:spcPct val="0"/>
              </a:spcBef>
              <a:spcAft>
                <a:spcPct val="0"/>
              </a:spcAft>
              <a:defRPr sz="2400">
                <a:solidFill>
                  <a:schemeClr val="tx1"/>
                </a:solidFill>
                <a:latin typeface="Times New Roman" panose="02020603050405020304" pitchFamily="18" charset="0"/>
              </a:defRPr>
            </a:lvl9pPr>
          </a:lstStyle>
          <a:p>
            <a:r>
              <a:rPr lang="el-GR" altLang="el-GR" b="1">
                <a:solidFill>
                  <a:schemeClr val="tx2"/>
                </a:solidFill>
                <a:latin typeface="Arial" panose="020B0604020202020204" pitchFamily="34" charset="0"/>
              </a:rPr>
              <a:t>Θάνατος</a:t>
            </a:r>
          </a:p>
        </p:txBody>
      </p:sp>
      <p:sp>
        <p:nvSpPr>
          <p:cNvPr id="230406" name="Rectangle 6">
            <a:extLst>
              <a:ext uri="{FF2B5EF4-FFF2-40B4-BE49-F238E27FC236}">
                <a16:creationId xmlns:a16="http://schemas.microsoft.com/office/drawing/2014/main" id="{1749779C-C4B3-42F0-92BF-D60972A15F63}"/>
              </a:ext>
            </a:extLst>
          </p:cNvPr>
          <p:cNvSpPr>
            <a:spLocks noChangeArrowheads="1"/>
          </p:cNvSpPr>
          <p:nvPr/>
        </p:nvSpPr>
        <p:spPr bwMode="auto">
          <a:xfrm>
            <a:off x="5648325" y="3860800"/>
            <a:ext cx="2587625" cy="173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defTabSz="762000">
              <a:defRPr sz="2400">
                <a:solidFill>
                  <a:schemeClr val="tx1"/>
                </a:solidFill>
                <a:latin typeface="Times New Roman" panose="02020603050405020304" pitchFamily="18" charset="0"/>
              </a:defRPr>
            </a:lvl1pPr>
            <a:lvl2pPr marL="571500" defTabSz="762000">
              <a:defRPr sz="2400">
                <a:solidFill>
                  <a:schemeClr val="tx1"/>
                </a:solidFill>
                <a:latin typeface="Times New Roman" panose="02020603050405020304" pitchFamily="18" charset="0"/>
              </a:defRPr>
            </a:lvl2pPr>
            <a:lvl3pPr marL="1143000" defTabSz="762000">
              <a:defRPr sz="2400">
                <a:solidFill>
                  <a:schemeClr val="tx1"/>
                </a:solidFill>
                <a:latin typeface="Times New Roman" panose="02020603050405020304" pitchFamily="18" charset="0"/>
              </a:defRPr>
            </a:lvl3pPr>
            <a:lvl4pPr marL="1714500" defTabSz="762000">
              <a:defRPr sz="2400">
                <a:solidFill>
                  <a:schemeClr val="tx1"/>
                </a:solidFill>
                <a:latin typeface="Times New Roman" panose="02020603050405020304" pitchFamily="18" charset="0"/>
              </a:defRPr>
            </a:lvl4pPr>
            <a:lvl5pPr marL="2286000" defTabSz="762000">
              <a:defRPr sz="2400">
                <a:solidFill>
                  <a:schemeClr val="tx1"/>
                </a:solidFill>
                <a:latin typeface="Times New Roman" panose="02020603050405020304" pitchFamily="18" charset="0"/>
              </a:defRPr>
            </a:lvl5pPr>
            <a:lvl6pPr marL="2743200" defTabSz="762000" eaLnBrk="0" fontAlgn="base" hangingPunct="0">
              <a:spcBef>
                <a:spcPct val="0"/>
              </a:spcBef>
              <a:spcAft>
                <a:spcPct val="0"/>
              </a:spcAft>
              <a:defRPr sz="2400">
                <a:solidFill>
                  <a:schemeClr val="tx1"/>
                </a:solidFill>
                <a:latin typeface="Times New Roman" panose="02020603050405020304" pitchFamily="18" charset="0"/>
              </a:defRPr>
            </a:lvl6pPr>
            <a:lvl7pPr marL="3200400" defTabSz="762000" eaLnBrk="0" fontAlgn="base" hangingPunct="0">
              <a:spcBef>
                <a:spcPct val="0"/>
              </a:spcBef>
              <a:spcAft>
                <a:spcPct val="0"/>
              </a:spcAft>
              <a:defRPr sz="2400">
                <a:solidFill>
                  <a:schemeClr val="tx1"/>
                </a:solidFill>
                <a:latin typeface="Times New Roman" panose="02020603050405020304" pitchFamily="18" charset="0"/>
              </a:defRPr>
            </a:lvl7pPr>
            <a:lvl8pPr marL="3657600" defTabSz="762000" eaLnBrk="0" fontAlgn="base" hangingPunct="0">
              <a:spcBef>
                <a:spcPct val="0"/>
              </a:spcBef>
              <a:spcAft>
                <a:spcPct val="0"/>
              </a:spcAft>
              <a:defRPr sz="2400">
                <a:solidFill>
                  <a:schemeClr val="tx1"/>
                </a:solidFill>
                <a:latin typeface="Times New Roman" panose="02020603050405020304" pitchFamily="18" charset="0"/>
              </a:defRPr>
            </a:lvl8pPr>
            <a:lvl9pPr marL="4114800" defTabSz="7620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l-GR" altLang="el-GR" sz="2000" b="1">
                <a:solidFill>
                  <a:srgbClr val="FFFF00"/>
                </a:solidFill>
                <a:latin typeface="Arial" panose="020B0604020202020204" pitchFamily="34" charset="0"/>
              </a:rPr>
              <a:t>Μείζονες επιπλοκές</a:t>
            </a:r>
            <a:endParaRPr lang="el-GR" altLang="el-GR" sz="2000" b="1">
              <a:latin typeface="Arial" panose="020B0604020202020204" pitchFamily="34" charset="0"/>
            </a:endParaRPr>
          </a:p>
          <a:p>
            <a:pPr algn="ctr">
              <a:lnSpc>
                <a:spcPct val="110000"/>
              </a:lnSpc>
            </a:pPr>
            <a:r>
              <a:rPr lang="el-GR" altLang="el-GR" sz="2000">
                <a:latin typeface="Arial" panose="020B0604020202020204" pitchFamily="34" charset="0"/>
              </a:rPr>
              <a:t>Ασκίτης</a:t>
            </a:r>
          </a:p>
          <a:p>
            <a:pPr algn="ctr">
              <a:lnSpc>
                <a:spcPct val="110000"/>
              </a:lnSpc>
            </a:pPr>
            <a:r>
              <a:rPr lang="el-GR" altLang="el-GR" sz="2000">
                <a:latin typeface="Arial" panose="020B0604020202020204" pitchFamily="34" charset="0"/>
              </a:rPr>
              <a:t>Κιρσορραγία</a:t>
            </a:r>
          </a:p>
          <a:p>
            <a:pPr algn="ctr">
              <a:lnSpc>
                <a:spcPct val="110000"/>
              </a:lnSpc>
            </a:pPr>
            <a:r>
              <a:rPr lang="el-GR" altLang="el-GR" sz="2000">
                <a:latin typeface="Arial" panose="020B0604020202020204" pitchFamily="34" charset="0"/>
              </a:rPr>
              <a:t>Εγκεφαλοπάθεια</a:t>
            </a:r>
          </a:p>
          <a:p>
            <a:pPr algn="ctr">
              <a:lnSpc>
                <a:spcPct val="110000"/>
              </a:lnSpc>
            </a:pPr>
            <a:r>
              <a:rPr lang="el-GR" altLang="el-GR" sz="2000">
                <a:latin typeface="Arial" panose="020B0604020202020204" pitchFamily="34" charset="0"/>
              </a:rPr>
              <a:t>Ίκτερος</a:t>
            </a:r>
          </a:p>
        </p:txBody>
      </p:sp>
      <p:sp>
        <p:nvSpPr>
          <p:cNvPr id="230408" name="Rectangle 8">
            <a:extLst>
              <a:ext uri="{FF2B5EF4-FFF2-40B4-BE49-F238E27FC236}">
                <a16:creationId xmlns:a16="http://schemas.microsoft.com/office/drawing/2014/main" id="{9C166562-CBD1-481F-A093-F3B13158C3B5}"/>
              </a:ext>
            </a:extLst>
          </p:cNvPr>
          <p:cNvSpPr>
            <a:spLocks noChangeArrowheads="1"/>
          </p:cNvSpPr>
          <p:nvPr/>
        </p:nvSpPr>
        <p:spPr bwMode="auto">
          <a:xfrm>
            <a:off x="5124450" y="3213100"/>
            <a:ext cx="955675"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defTabSz="762000">
              <a:defRPr sz="2400">
                <a:solidFill>
                  <a:schemeClr val="tx1"/>
                </a:solidFill>
                <a:latin typeface="Times New Roman" panose="02020603050405020304" pitchFamily="18" charset="0"/>
              </a:defRPr>
            </a:lvl1pPr>
            <a:lvl2pPr marL="571500" defTabSz="762000">
              <a:defRPr sz="2400">
                <a:solidFill>
                  <a:schemeClr val="tx1"/>
                </a:solidFill>
                <a:latin typeface="Times New Roman" panose="02020603050405020304" pitchFamily="18" charset="0"/>
              </a:defRPr>
            </a:lvl2pPr>
            <a:lvl3pPr marL="1143000" defTabSz="762000">
              <a:defRPr sz="2400">
                <a:solidFill>
                  <a:schemeClr val="tx1"/>
                </a:solidFill>
                <a:latin typeface="Times New Roman" panose="02020603050405020304" pitchFamily="18" charset="0"/>
              </a:defRPr>
            </a:lvl3pPr>
            <a:lvl4pPr marL="1714500" defTabSz="762000">
              <a:defRPr sz="2400">
                <a:solidFill>
                  <a:schemeClr val="tx1"/>
                </a:solidFill>
                <a:latin typeface="Times New Roman" panose="02020603050405020304" pitchFamily="18" charset="0"/>
              </a:defRPr>
            </a:lvl4pPr>
            <a:lvl5pPr marL="2286000" defTabSz="762000">
              <a:defRPr sz="2400">
                <a:solidFill>
                  <a:schemeClr val="tx1"/>
                </a:solidFill>
                <a:latin typeface="Times New Roman" panose="02020603050405020304" pitchFamily="18" charset="0"/>
              </a:defRPr>
            </a:lvl5pPr>
            <a:lvl6pPr marL="2743200" defTabSz="762000" eaLnBrk="0" fontAlgn="base" hangingPunct="0">
              <a:spcBef>
                <a:spcPct val="0"/>
              </a:spcBef>
              <a:spcAft>
                <a:spcPct val="0"/>
              </a:spcAft>
              <a:defRPr sz="2400">
                <a:solidFill>
                  <a:schemeClr val="tx1"/>
                </a:solidFill>
                <a:latin typeface="Times New Roman" panose="02020603050405020304" pitchFamily="18" charset="0"/>
              </a:defRPr>
            </a:lvl6pPr>
            <a:lvl7pPr marL="3200400" defTabSz="762000" eaLnBrk="0" fontAlgn="base" hangingPunct="0">
              <a:spcBef>
                <a:spcPct val="0"/>
              </a:spcBef>
              <a:spcAft>
                <a:spcPct val="0"/>
              </a:spcAft>
              <a:defRPr sz="2400">
                <a:solidFill>
                  <a:schemeClr val="tx1"/>
                </a:solidFill>
                <a:latin typeface="Times New Roman" panose="02020603050405020304" pitchFamily="18" charset="0"/>
              </a:defRPr>
            </a:lvl7pPr>
            <a:lvl8pPr marL="3657600" defTabSz="762000" eaLnBrk="0" fontAlgn="base" hangingPunct="0">
              <a:spcBef>
                <a:spcPct val="0"/>
              </a:spcBef>
              <a:spcAft>
                <a:spcPct val="0"/>
              </a:spcAft>
              <a:defRPr sz="2400">
                <a:solidFill>
                  <a:schemeClr val="tx1"/>
                </a:solidFill>
                <a:latin typeface="Times New Roman" panose="02020603050405020304" pitchFamily="18" charset="0"/>
              </a:defRPr>
            </a:lvl8pPr>
            <a:lvl9pPr marL="4114800" defTabSz="762000" eaLnBrk="0" fontAlgn="base" hangingPunct="0">
              <a:spcBef>
                <a:spcPct val="0"/>
              </a:spcBef>
              <a:spcAft>
                <a:spcPct val="0"/>
              </a:spcAft>
              <a:defRPr sz="2400">
                <a:solidFill>
                  <a:schemeClr val="tx1"/>
                </a:solidFill>
                <a:latin typeface="Times New Roman" panose="02020603050405020304" pitchFamily="18" charset="0"/>
              </a:defRPr>
            </a:lvl9pPr>
          </a:lstStyle>
          <a:p>
            <a:r>
              <a:rPr lang="el-GR" altLang="el-GR" sz="2800" b="1">
                <a:solidFill>
                  <a:srgbClr val="990000"/>
                </a:solidFill>
                <a:latin typeface="Arial" panose="020B0604020202020204" pitchFamily="34" charset="0"/>
              </a:rPr>
              <a:t>ΗΚΚ</a:t>
            </a:r>
          </a:p>
        </p:txBody>
      </p:sp>
      <p:sp>
        <p:nvSpPr>
          <p:cNvPr id="230412" name="Text Box 12">
            <a:extLst>
              <a:ext uri="{FF2B5EF4-FFF2-40B4-BE49-F238E27FC236}">
                <a16:creationId xmlns:a16="http://schemas.microsoft.com/office/drawing/2014/main" id="{0E1403B7-1DF7-4569-AE46-77A67076CB9D}"/>
              </a:ext>
            </a:extLst>
          </p:cNvPr>
          <p:cNvSpPr txBox="1">
            <a:spLocks noChangeArrowheads="1"/>
          </p:cNvSpPr>
          <p:nvPr/>
        </p:nvSpPr>
        <p:spPr bwMode="auto">
          <a:xfrm>
            <a:off x="390525" y="2636838"/>
            <a:ext cx="1908175" cy="74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anose="02020603050405020304" pitchFamily="18" charset="0"/>
              </a:defRPr>
            </a:lvl1pPr>
            <a:lvl2pPr marL="571500">
              <a:defRPr sz="2400">
                <a:solidFill>
                  <a:schemeClr val="tx1"/>
                </a:solidFill>
                <a:latin typeface="Times New Roman" panose="02020603050405020304" pitchFamily="18" charset="0"/>
              </a:defRPr>
            </a:lvl2pPr>
            <a:lvl3pPr marL="1143000">
              <a:defRPr sz="2400">
                <a:solidFill>
                  <a:schemeClr val="tx1"/>
                </a:solidFill>
                <a:latin typeface="Times New Roman" panose="02020603050405020304" pitchFamily="18" charset="0"/>
              </a:defRPr>
            </a:lvl3pPr>
            <a:lvl4pPr marL="1714500">
              <a:defRPr sz="2400">
                <a:solidFill>
                  <a:schemeClr val="tx1"/>
                </a:solidFill>
                <a:latin typeface="Times New Roman" panose="02020603050405020304" pitchFamily="18" charset="0"/>
              </a:defRPr>
            </a:lvl4pPr>
            <a:lvl5pPr marL="2286000">
              <a:defRPr sz="2400">
                <a:solidFill>
                  <a:schemeClr val="tx1"/>
                </a:solidFill>
                <a:latin typeface="Times New Roman" panose="02020603050405020304" pitchFamily="18" charset="0"/>
              </a:defRPr>
            </a:lvl5pPr>
            <a:lvl6pPr marL="2743200" eaLnBrk="0" fontAlgn="base" hangingPunct="0">
              <a:spcBef>
                <a:spcPct val="0"/>
              </a:spcBef>
              <a:spcAft>
                <a:spcPct val="0"/>
              </a:spcAft>
              <a:defRPr sz="2400">
                <a:solidFill>
                  <a:schemeClr val="tx1"/>
                </a:solidFill>
                <a:latin typeface="Times New Roman" panose="02020603050405020304" pitchFamily="18" charset="0"/>
              </a:defRPr>
            </a:lvl6pPr>
            <a:lvl7pPr marL="3200400" eaLnBrk="0" fontAlgn="base" hangingPunct="0">
              <a:spcBef>
                <a:spcPct val="0"/>
              </a:spcBef>
              <a:spcAft>
                <a:spcPct val="0"/>
              </a:spcAft>
              <a:defRPr sz="2400">
                <a:solidFill>
                  <a:schemeClr val="tx1"/>
                </a:solidFill>
                <a:latin typeface="Times New Roman" panose="02020603050405020304" pitchFamily="18" charset="0"/>
              </a:defRPr>
            </a:lvl7pPr>
            <a:lvl8pPr marL="3657600" eaLnBrk="0" fontAlgn="base" hangingPunct="0">
              <a:spcBef>
                <a:spcPct val="0"/>
              </a:spcBef>
              <a:spcAft>
                <a:spcPct val="0"/>
              </a:spcAft>
              <a:defRPr sz="2400">
                <a:solidFill>
                  <a:schemeClr val="tx1"/>
                </a:solidFill>
                <a:latin typeface="Times New Roman" panose="02020603050405020304" pitchFamily="18" charset="0"/>
              </a:defRPr>
            </a:lvl8pPr>
            <a:lvl9pPr marL="41148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90000"/>
              </a:lnSpc>
            </a:pPr>
            <a:r>
              <a:rPr lang="el-GR" altLang="el-GR" b="1">
                <a:solidFill>
                  <a:schemeClr val="bg2"/>
                </a:solidFill>
                <a:latin typeface="Arial" panose="020B0604020202020204" pitchFamily="34" charset="0"/>
              </a:rPr>
              <a:t>Χρόνια </a:t>
            </a:r>
          </a:p>
          <a:p>
            <a:pPr algn="ctr">
              <a:lnSpc>
                <a:spcPct val="90000"/>
              </a:lnSpc>
            </a:pPr>
            <a:r>
              <a:rPr lang="el-GR" altLang="el-GR" b="1">
                <a:solidFill>
                  <a:schemeClr val="bg2"/>
                </a:solidFill>
                <a:latin typeface="Arial" panose="020B0604020202020204" pitchFamily="34" charset="0"/>
              </a:rPr>
              <a:t>ηπατίτιδα Β</a:t>
            </a:r>
          </a:p>
        </p:txBody>
      </p:sp>
      <p:sp>
        <p:nvSpPr>
          <p:cNvPr id="230417" name="Text Box 17">
            <a:extLst>
              <a:ext uri="{FF2B5EF4-FFF2-40B4-BE49-F238E27FC236}">
                <a16:creationId xmlns:a16="http://schemas.microsoft.com/office/drawing/2014/main" id="{0582E0BB-F3AF-41EC-B01F-E73183BEEDFD}"/>
              </a:ext>
            </a:extLst>
          </p:cNvPr>
          <p:cNvSpPr txBox="1">
            <a:spLocks noChangeArrowheads="1"/>
          </p:cNvSpPr>
          <p:nvPr/>
        </p:nvSpPr>
        <p:spPr bwMode="auto">
          <a:xfrm>
            <a:off x="390525" y="4508500"/>
            <a:ext cx="1776413" cy="118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anose="02020603050405020304" pitchFamily="18" charset="0"/>
              </a:defRPr>
            </a:lvl1pPr>
            <a:lvl2pPr marL="571500">
              <a:defRPr sz="2400">
                <a:solidFill>
                  <a:schemeClr val="tx1"/>
                </a:solidFill>
                <a:latin typeface="Times New Roman" panose="02020603050405020304" pitchFamily="18" charset="0"/>
              </a:defRPr>
            </a:lvl2pPr>
            <a:lvl3pPr marL="1143000">
              <a:defRPr sz="2400">
                <a:solidFill>
                  <a:schemeClr val="tx1"/>
                </a:solidFill>
                <a:latin typeface="Times New Roman" panose="02020603050405020304" pitchFamily="18" charset="0"/>
              </a:defRPr>
            </a:lvl3pPr>
            <a:lvl4pPr marL="1714500">
              <a:defRPr sz="2400">
                <a:solidFill>
                  <a:schemeClr val="tx1"/>
                </a:solidFill>
                <a:latin typeface="Times New Roman" panose="02020603050405020304" pitchFamily="18" charset="0"/>
              </a:defRPr>
            </a:lvl4pPr>
            <a:lvl5pPr marL="2286000">
              <a:defRPr sz="2400">
                <a:solidFill>
                  <a:schemeClr val="tx1"/>
                </a:solidFill>
                <a:latin typeface="Times New Roman" panose="02020603050405020304" pitchFamily="18" charset="0"/>
              </a:defRPr>
            </a:lvl5pPr>
            <a:lvl6pPr marL="2743200" eaLnBrk="0" fontAlgn="base" hangingPunct="0">
              <a:spcBef>
                <a:spcPct val="0"/>
              </a:spcBef>
              <a:spcAft>
                <a:spcPct val="0"/>
              </a:spcAft>
              <a:defRPr sz="2400">
                <a:solidFill>
                  <a:schemeClr val="tx1"/>
                </a:solidFill>
                <a:latin typeface="Times New Roman" panose="02020603050405020304" pitchFamily="18" charset="0"/>
              </a:defRPr>
            </a:lvl6pPr>
            <a:lvl7pPr marL="3200400" eaLnBrk="0" fontAlgn="base" hangingPunct="0">
              <a:spcBef>
                <a:spcPct val="0"/>
              </a:spcBef>
              <a:spcAft>
                <a:spcPct val="0"/>
              </a:spcAft>
              <a:defRPr sz="2400">
                <a:solidFill>
                  <a:schemeClr val="tx1"/>
                </a:solidFill>
                <a:latin typeface="Times New Roman" panose="02020603050405020304" pitchFamily="18" charset="0"/>
              </a:defRPr>
            </a:lvl7pPr>
            <a:lvl8pPr marL="3657600" eaLnBrk="0" fontAlgn="base" hangingPunct="0">
              <a:spcBef>
                <a:spcPct val="0"/>
              </a:spcBef>
              <a:spcAft>
                <a:spcPct val="0"/>
              </a:spcAft>
              <a:defRPr sz="2400">
                <a:solidFill>
                  <a:schemeClr val="tx1"/>
                </a:solidFill>
                <a:latin typeface="Times New Roman" panose="02020603050405020304" pitchFamily="18" charset="0"/>
              </a:defRPr>
            </a:lvl8pPr>
            <a:lvl9pPr marL="41148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l-GR" altLang="el-GR" b="1">
                <a:latin typeface="Arial" panose="020B0604020202020204" pitchFamily="34" charset="0"/>
              </a:rPr>
              <a:t>Χρόνια </a:t>
            </a:r>
          </a:p>
          <a:p>
            <a:pPr algn="ctr"/>
            <a:r>
              <a:rPr lang="el-GR" altLang="el-GR" b="1">
                <a:latin typeface="Arial" panose="020B0604020202020204" pitchFamily="34" charset="0"/>
              </a:rPr>
              <a:t>ανενεργός</a:t>
            </a:r>
          </a:p>
          <a:p>
            <a:pPr algn="ctr"/>
            <a:r>
              <a:rPr lang="el-GR" altLang="el-GR" b="1">
                <a:latin typeface="Arial" panose="020B0604020202020204" pitchFamily="34" charset="0"/>
              </a:rPr>
              <a:t>φορία </a:t>
            </a:r>
            <a:r>
              <a:rPr lang="en-US" altLang="el-GR" b="1">
                <a:latin typeface="Arial" panose="020B0604020202020204" pitchFamily="34" charset="0"/>
              </a:rPr>
              <a:t>HBV</a:t>
            </a:r>
            <a:endParaRPr lang="el-GR" altLang="el-GR" b="1">
              <a:latin typeface="Arial" panose="020B0604020202020204" pitchFamily="34" charset="0"/>
            </a:endParaRPr>
          </a:p>
        </p:txBody>
      </p:sp>
      <p:sp>
        <p:nvSpPr>
          <p:cNvPr id="230418" name="AutoShape 18">
            <a:extLst>
              <a:ext uri="{FF2B5EF4-FFF2-40B4-BE49-F238E27FC236}">
                <a16:creationId xmlns:a16="http://schemas.microsoft.com/office/drawing/2014/main" id="{7735CF34-35C3-4B81-9834-96188F03DFFB}"/>
              </a:ext>
            </a:extLst>
          </p:cNvPr>
          <p:cNvSpPr>
            <a:spLocks noChangeArrowheads="1"/>
          </p:cNvSpPr>
          <p:nvPr/>
        </p:nvSpPr>
        <p:spPr bwMode="auto">
          <a:xfrm>
            <a:off x="1182688" y="3716338"/>
            <a:ext cx="288925" cy="792162"/>
          </a:xfrm>
          <a:prstGeom prst="upDownArrow">
            <a:avLst>
              <a:gd name="adj1" fmla="val 50000"/>
              <a:gd name="adj2" fmla="val 54835"/>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230419" name="AutoShape 19">
            <a:extLst>
              <a:ext uri="{FF2B5EF4-FFF2-40B4-BE49-F238E27FC236}">
                <a16:creationId xmlns:a16="http://schemas.microsoft.com/office/drawing/2014/main" id="{B4818567-5053-4C36-B6E2-9564022AAE14}"/>
              </a:ext>
            </a:extLst>
          </p:cNvPr>
          <p:cNvSpPr>
            <a:spLocks noChangeArrowheads="1"/>
          </p:cNvSpPr>
          <p:nvPr/>
        </p:nvSpPr>
        <p:spPr bwMode="auto">
          <a:xfrm>
            <a:off x="2046288" y="2781300"/>
            <a:ext cx="1728787" cy="287338"/>
          </a:xfrm>
          <a:prstGeom prst="rightArrow">
            <a:avLst>
              <a:gd name="adj1" fmla="val 50000"/>
              <a:gd name="adj2" fmla="val 150414"/>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230420" name="AutoShape 20">
            <a:extLst>
              <a:ext uri="{FF2B5EF4-FFF2-40B4-BE49-F238E27FC236}">
                <a16:creationId xmlns:a16="http://schemas.microsoft.com/office/drawing/2014/main" id="{3AFF2F8F-E556-426E-A719-A09CA6B52F88}"/>
              </a:ext>
            </a:extLst>
          </p:cNvPr>
          <p:cNvSpPr>
            <a:spLocks noChangeArrowheads="1"/>
          </p:cNvSpPr>
          <p:nvPr/>
        </p:nvSpPr>
        <p:spPr bwMode="auto">
          <a:xfrm>
            <a:off x="5359400" y="3068638"/>
            <a:ext cx="215900" cy="215900"/>
          </a:xfrm>
          <a:prstGeom prst="rightArrow">
            <a:avLst>
              <a:gd name="adj1" fmla="val 50000"/>
              <a:gd name="adj2" fmla="val 25000"/>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Tree>
    <p:extLst>
      <p:ext uri="{BB962C8B-B14F-4D97-AF65-F5344CB8AC3E}">
        <p14:creationId xmlns:p14="http://schemas.microsoft.com/office/powerpoint/2010/main" val="3574638823"/>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Oval 2">
            <a:extLst>
              <a:ext uri="{FF2B5EF4-FFF2-40B4-BE49-F238E27FC236}">
                <a16:creationId xmlns:a16="http://schemas.microsoft.com/office/drawing/2014/main" id="{52DEB2A2-68A1-4D3A-83C4-8E2FDBEFC617}"/>
              </a:ext>
            </a:extLst>
          </p:cNvPr>
          <p:cNvSpPr>
            <a:spLocks noChangeArrowheads="1"/>
          </p:cNvSpPr>
          <p:nvPr/>
        </p:nvSpPr>
        <p:spPr bwMode="auto">
          <a:xfrm>
            <a:off x="1687116" y="799307"/>
            <a:ext cx="6585124" cy="5869782"/>
          </a:xfrm>
          <a:prstGeom prst="ellipse">
            <a:avLst/>
          </a:prstGeom>
          <a:solidFill>
            <a:schemeClr val="accent1">
              <a:lumMod val="40000"/>
              <a:lumOff val="60000"/>
            </a:schemeClr>
          </a:solidFill>
          <a:ln w="12700">
            <a:solidFill>
              <a:schemeClr val="accent1"/>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a:p>
        </p:txBody>
      </p:sp>
      <p:sp>
        <p:nvSpPr>
          <p:cNvPr id="23555" name="Oval 3">
            <a:extLst>
              <a:ext uri="{FF2B5EF4-FFF2-40B4-BE49-F238E27FC236}">
                <a16:creationId xmlns:a16="http://schemas.microsoft.com/office/drawing/2014/main" id="{3D986296-02A5-41F8-85EA-6882024D43AB}"/>
              </a:ext>
            </a:extLst>
          </p:cNvPr>
          <p:cNvSpPr>
            <a:spLocks noChangeArrowheads="1"/>
          </p:cNvSpPr>
          <p:nvPr/>
        </p:nvSpPr>
        <p:spPr bwMode="auto">
          <a:xfrm>
            <a:off x="3054874" y="1772816"/>
            <a:ext cx="3888825" cy="3999892"/>
          </a:xfrm>
          <a:prstGeom prst="ellipse">
            <a:avLst/>
          </a:prstGeom>
          <a:solidFill>
            <a:schemeClr val="tx2"/>
          </a:solidFill>
          <a:ln w="12700">
            <a:solidFill>
              <a:schemeClr val="tx2"/>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a:solidFill>
                <a:schemeClr val="tx2"/>
              </a:solidFill>
            </a:endParaRPr>
          </a:p>
        </p:txBody>
      </p:sp>
      <p:sp>
        <p:nvSpPr>
          <p:cNvPr id="23557" name="Text Box 5">
            <a:extLst>
              <a:ext uri="{FF2B5EF4-FFF2-40B4-BE49-F238E27FC236}">
                <a16:creationId xmlns:a16="http://schemas.microsoft.com/office/drawing/2014/main" id="{BBA9EF5A-F9C6-4457-956D-A0E0F4DF9C4D}"/>
              </a:ext>
            </a:extLst>
          </p:cNvPr>
          <p:cNvSpPr txBox="1">
            <a:spLocks noChangeArrowheads="1"/>
          </p:cNvSpPr>
          <p:nvPr/>
        </p:nvSpPr>
        <p:spPr bwMode="auto">
          <a:xfrm>
            <a:off x="3789299" y="2100132"/>
            <a:ext cx="24923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l-GR" sz="2000" b="1" dirty="0">
                <a:solidFill>
                  <a:schemeClr val="bg2"/>
                </a:solidFill>
              </a:rPr>
              <a:t>M</a:t>
            </a:r>
            <a:r>
              <a:rPr lang="el-GR" altLang="el-GR" sz="2000" b="1" dirty="0">
                <a:solidFill>
                  <a:schemeClr val="bg2"/>
                </a:solidFill>
              </a:rPr>
              <a:t>ετατροπή ΧΗΒ </a:t>
            </a:r>
          </a:p>
          <a:p>
            <a:pPr algn="ctr"/>
            <a:r>
              <a:rPr lang="el-GR" altLang="el-GR" sz="2000" b="1" dirty="0">
                <a:solidFill>
                  <a:schemeClr val="bg2"/>
                </a:solidFill>
              </a:rPr>
              <a:t>σε ανενεργό φορία</a:t>
            </a:r>
            <a:endParaRPr lang="en-US" altLang="el-GR" sz="2000" b="1" dirty="0">
              <a:solidFill>
                <a:schemeClr val="bg2"/>
              </a:solidFill>
            </a:endParaRPr>
          </a:p>
        </p:txBody>
      </p:sp>
      <p:sp>
        <p:nvSpPr>
          <p:cNvPr id="23558" name="Text Box 6">
            <a:extLst>
              <a:ext uri="{FF2B5EF4-FFF2-40B4-BE49-F238E27FC236}">
                <a16:creationId xmlns:a16="http://schemas.microsoft.com/office/drawing/2014/main" id="{CB9E8BEA-00AB-4189-80E4-7708DD628821}"/>
              </a:ext>
            </a:extLst>
          </p:cNvPr>
          <p:cNvSpPr txBox="1">
            <a:spLocks noChangeArrowheads="1"/>
          </p:cNvSpPr>
          <p:nvPr/>
        </p:nvSpPr>
        <p:spPr bwMode="auto">
          <a:xfrm>
            <a:off x="3536155" y="4933184"/>
            <a:ext cx="27844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chemeClr val="bg2"/>
                </a:solidFill>
              </a:rPr>
              <a:t>Βιοχημική &amp; ιολογική</a:t>
            </a:r>
          </a:p>
          <a:p>
            <a:pPr algn="ctr"/>
            <a:r>
              <a:rPr lang="el-GR" altLang="el-GR" sz="2000" b="1" dirty="0">
                <a:solidFill>
                  <a:schemeClr val="bg2"/>
                </a:solidFill>
              </a:rPr>
              <a:t>ύφεση</a:t>
            </a:r>
            <a:r>
              <a:rPr lang="el-GR" altLang="el-GR" sz="2000" b="1" baseline="30000" dirty="0">
                <a:solidFill>
                  <a:schemeClr val="bg2"/>
                </a:solidFill>
              </a:rPr>
              <a:t>!</a:t>
            </a:r>
            <a:endParaRPr lang="en-US" altLang="el-GR" sz="2000" b="1" baseline="30000" dirty="0">
              <a:solidFill>
                <a:schemeClr val="bg2"/>
              </a:solidFill>
            </a:endParaRPr>
          </a:p>
        </p:txBody>
      </p:sp>
      <p:sp>
        <p:nvSpPr>
          <p:cNvPr id="23559" name="Text Box 7">
            <a:extLst>
              <a:ext uri="{FF2B5EF4-FFF2-40B4-BE49-F238E27FC236}">
                <a16:creationId xmlns:a16="http://schemas.microsoft.com/office/drawing/2014/main" id="{3BD7EA69-2525-4FA7-AF34-5B74F2F2F88E}"/>
              </a:ext>
            </a:extLst>
          </p:cNvPr>
          <p:cNvSpPr txBox="1">
            <a:spLocks noChangeArrowheads="1"/>
          </p:cNvSpPr>
          <p:nvPr/>
        </p:nvSpPr>
        <p:spPr bwMode="auto">
          <a:xfrm>
            <a:off x="3453297" y="1029890"/>
            <a:ext cx="30527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Αναστολή εξέλιξης ΧΗΒ</a:t>
            </a:r>
            <a:endParaRPr lang="en-US" altLang="el-GR" sz="2000" b="1" dirty="0">
              <a:solidFill>
                <a:srgbClr val="333399"/>
              </a:solidFill>
            </a:endParaRPr>
          </a:p>
        </p:txBody>
      </p:sp>
      <p:sp>
        <p:nvSpPr>
          <p:cNvPr id="23560" name="Text Box 8">
            <a:extLst>
              <a:ext uri="{FF2B5EF4-FFF2-40B4-BE49-F238E27FC236}">
                <a16:creationId xmlns:a16="http://schemas.microsoft.com/office/drawing/2014/main" id="{6358CACD-B122-47BD-88F6-2994743CE8C1}"/>
              </a:ext>
            </a:extLst>
          </p:cNvPr>
          <p:cNvSpPr txBox="1">
            <a:spLocks noChangeArrowheads="1"/>
          </p:cNvSpPr>
          <p:nvPr/>
        </p:nvSpPr>
        <p:spPr bwMode="auto">
          <a:xfrm>
            <a:off x="1646762" y="3357563"/>
            <a:ext cx="14081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Πρόληψη </a:t>
            </a:r>
          </a:p>
          <a:p>
            <a:pPr algn="ctr"/>
            <a:r>
              <a:rPr lang="el-GR" altLang="el-GR" sz="2000" b="1" dirty="0">
                <a:solidFill>
                  <a:srgbClr val="333399"/>
                </a:solidFill>
              </a:rPr>
              <a:t>κίρρωσης</a:t>
            </a:r>
            <a:endParaRPr lang="en-US" altLang="el-GR" sz="2000" b="1" dirty="0">
              <a:solidFill>
                <a:srgbClr val="333399"/>
              </a:solidFill>
            </a:endParaRPr>
          </a:p>
        </p:txBody>
      </p:sp>
      <p:sp>
        <p:nvSpPr>
          <p:cNvPr id="23561" name="Text Box 9">
            <a:extLst>
              <a:ext uri="{FF2B5EF4-FFF2-40B4-BE49-F238E27FC236}">
                <a16:creationId xmlns:a16="http://schemas.microsoft.com/office/drawing/2014/main" id="{0DA8E8F0-943B-4A71-AD89-62EB8B5C42ED}"/>
              </a:ext>
            </a:extLst>
          </p:cNvPr>
          <p:cNvSpPr txBox="1">
            <a:spLocks noChangeArrowheads="1"/>
          </p:cNvSpPr>
          <p:nvPr/>
        </p:nvSpPr>
        <p:spPr bwMode="auto">
          <a:xfrm>
            <a:off x="6963691" y="3380185"/>
            <a:ext cx="120898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Μείωση </a:t>
            </a:r>
          </a:p>
          <a:p>
            <a:pPr algn="ctr"/>
            <a:r>
              <a:rPr lang="el-GR" altLang="el-GR" sz="2000" b="1" dirty="0">
                <a:solidFill>
                  <a:srgbClr val="333399"/>
                </a:solidFill>
              </a:rPr>
              <a:t>ΗΚΚ</a:t>
            </a:r>
            <a:endParaRPr lang="en-US" altLang="el-GR" sz="2000" b="1" dirty="0">
              <a:solidFill>
                <a:srgbClr val="333399"/>
              </a:solidFill>
            </a:endParaRPr>
          </a:p>
        </p:txBody>
      </p:sp>
      <p:sp>
        <p:nvSpPr>
          <p:cNvPr id="23562" name="Text Box 10">
            <a:extLst>
              <a:ext uri="{FF2B5EF4-FFF2-40B4-BE49-F238E27FC236}">
                <a16:creationId xmlns:a16="http://schemas.microsoft.com/office/drawing/2014/main" id="{13989E35-C865-4B73-AB44-C66C580755D2}"/>
              </a:ext>
            </a:extLst>
          </p:cNvPr>
          <p:cNvSpPr txBox="1">
            <a:spLocks noChangeArrowheads="1"/>
          </p:cNvSpPr>
          <p:nvPr/>
        </p:nvSpPr>
        <p:spPr bwMode="auto">
          <a:xfrm>
            <a:off x="4187031" y="5866886"/>
            <a:ext cx="14827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Βελτίωση </a:t>
            </a:r>
          </a:p>
          <a:p>
            <a:pPr algn="ctr"/>
            <a:r>
              <a:rPr lang="el-GR" altLang="el-GR" sz="2000" b="1" dirty="0">
                <a:solidFill>
                  <a:srgbClr val="333399"/>
                </a:solidFill>
              </a:rPr>
              <a:t>επιβίωσης</a:t>
            </a:r>
            <a:endParaRPr lang="en-US" altLang="el-GR" sz="2000" b="1" dirty="0">
              <a:solidFill>
                <a:srgbClr val="333399"/>
              </a:solidFill>
            </a:endParaRPr>
          </a:p>
        </p:txBody>
      </p:sp>
      <p:sp>
        <p:nvSpPr>
          <p:cNvPr id="23563" name="Text Box 11">
            <a:extLst>
              <a:ext uri="{FF2B5EF4-FFF2-40B4-BE49-F238E27FC236}">
                <a16:creationId xmlns:a16="http://schemas.microsoft.com/office/drawing/2014/main" id="{2C34A031-1018-4D3F-9E9E-4E3EFB2CB624}"/>
              </a:ext>
            </a:extLst>
          </p:cNvPr>
          <p:cNvSpPr txBox="1">
            <a:spLocks noChangeArrowheads="1"/>
          </p:cNvSpPr>
          <p:nvPr/>
        </p:nvSpPr>
        <p:spPr bwMode="auto">
          <a:xfrm>
            <a:off x="1118622" y="188640"/>
            <a:ext cx="828188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l-GR" sz="3200" b="1" dirty="0">
                <a:solidFill>
                  <a:schemeClr val="tx2"/>
                </a:solidFill>
              </a:rPr>
              <a:t>E</a:t>
            </a:r>
            <a:r>
              <a:rPr lang="el-GR" altLang="el-GR" sz="3200" b="1" dirty="0">
                <a:solidFill>
                  <a:schemeClr val="tx2"/>
                </a:solidFill>
              </a:rPr>
              <a:t>φικτοί στόχοι θεραπείας σε ΧΗΒ το 2023</a:t>
            </a:r>
            <a:endParaRPr lang="en-US" altLang="el-GR" sz="3200" b="1" dirty="0">
              <a:solidFill>
                <a:schemeClr val="tx2"/>
              </a:solidFill>
            </a:endParaRPr>
          </a:p>
        </p:txBody>
      </p:sp>
      <p:sp>
        <p:nvSpPr>
          <p:cNvPr id="4" name="TextBox 3">
            <a:extLst>
              <a:ext uri="{FF2B5EF4-FFF2-40B4-BE49-F238E27FC236}">
                <a16:creationId xmlns:a16="http://schemas.microsoft.com/office/drawing/2014/main" id="{14ADD5F2-86CB-4BFA-01E4-497892E26A48}"/>
              </a:ext>
            </a:extLst>
          </p:cNvPr>
          <p:cNvSpPr txBox="1"/>
          <p:nvPr/>
        </p:nvSpPr>
        <p:spPr>
          <a:xfrm>
            <a:off x="0" y="4517824"/>
            <a:ext cx="2116285" cy="2246769"/>
          </a:xfrm>
          <a:prstGeom prst="rect">
            <a:avLst/>
          </a:prstGeom>
          <a:noFill/>
        </p:spPr>
        <p:txBody>
          <a:bodyPr wrap="none" rtlCol="0">
            <a:spAutoFit/>
          </a:bodyPr>
          <a:lstStyle/>
          <a:p>
            <a:pPr algn="ctr"/>
            <a:r>
              <a:rPr lang="el-GR" altLang="el-GR" sz="2000" b="1" u="sng" baseline="30000" dirty="0"/>
              <a:t> !</a:t>
            </a:r>
            <a:r>
              <a:rPr lang="en-US" sz="2000" u="sng" dirty="0"/>
              <a:t>Partial cure</a:t>
            </a:r>
          </a:p>
          <a:p>
            <a:pPr algn="ctr"/>
            <a:r>
              <a:rPr lang="en-US" sz="2000" u="sng" dirty="0"/>
              <a:t>(M</a:t>
            </a:r>
            <a:r>
              <a:rPr lang="el-GR" sz="2000" u="sng" dirty="0"/>
              <a:t>ερική ίαση</a:t>
            </a:r>
          </a:p>
          <a:p>
            <a:pPr algn="ctr"/>
            <a:r>
              <a:rPr lang="el-GR" sz="2000" u="sng" dirty="0"/>
              <a:t>υπό&gt;χωρίς </a:t>
            </a:r>
          </a:p>
          <a:p>
            <a:pPr algn="ctr"/>
            <a:r>
              <a:rPr lang="el-GR" sz="2000" u="sng" dirty="0"/>
              <a:t>θεραπεία)</a:t>
            </a:r>
          </a:p>
          <a:p>
            <a:pPr algn="ctr"/>
            <a:r>
              <a:rPr lang="el-GR" sz="2000" dirty="0"/>
              <a:t>Μη ανιχνεύσιμα</a:t>
            </a:r>
          </a:p>
          <a:p>
            <a:pPr algn="ctr"/>
            <a:r>
              <a:rPr lang="en-US" sz="2000" dirty="0"/>
              <a:t>HBeAg</a:t>
            </a:r>
            <a:r>
              <a:rPr lang="el-GR" sz="2000" dirty="0"/>
              <a:t> ορού</a:t>
            </a:r>
            <a:r>
              <a:rPr lang="en-US" sz="2000" dirty="0"/>
              <a:t>, </a:t>
            </a:r>
          </a:p>
          <a:p>
            <a:pPr algn="ctr"/>
            <a:r>
              <a:rPr lang="en-US" sz="2000" dirty="0"/>
              <a:t>HBV DNA </a:t>
            </a:r>
            <a:r>
              <a:rPr lang="el-GR" sz="2000" dirty="0"/>
              <a:t>ορού</a:t>
            </a:r>
          </a:p>
        </p:txBody>
      </p:sp>
    </p:spTree>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Oval 2">
            <a:extLst>
              <a:ext uri="{FF2B5EF4-FFF2-40B4-BE49-F238E27FC236}">
                <a16:creationId xmlns:a16="http://schemas.microsoft.com/office/drawing/2014/main" id="{52DEB2A2-68A1-4D3A-83C4-8E2FDBEFC617}"/>
              </a:ext>
            </a:extLst>
          </p:cNvPr>
          <p:cNvSpPr>
            <a:spLocks noChangeArrowheads="1"/>
          </p:cNvSpPr>
          <p:nvPr/>
        </p:nvSpPr>
        <p:spPr bwMode="auto">
          <a:xfrm>
            <a:off x="1687116" y="799307"/>
            <a:ext cx="6585124" cy="5869782"/>
          </a:xfrm>
          <a:prstGeom prst="ellipse">
            <a:avLst/>
          </a:prstGeom>
          <a:solidFill>
            <a:schemeClr val="accent1">
              <a:lumMod val="40000"/>
              <a:lumOff val="60000"/>
            </a:schemeClr>
          </a:solidFill>
          <a:ln w="12700">
            <a:solidFill>
              <a:schemeClr val="accent1"/>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a:p>
        </p:txBody>
      </p:sp>
      <p:sp>
        <p:nvSpPr>
          <p:cNvPr id="23555" name="Oval 3">
            <a:extLst>
              <a:ext uri="{FF2B5EF4-FFF2-40B4-BE49-F238E27FC236}">
                <a16:creationId xmlns:a16="http://schemas.microsoft.com/office/drawing/2014/main" id="{3D986296-02A5-41F8-85EA-6882024D43AB}"/>
              </a:ext>
            </a:extLst>
          </p:cNvPr>
          <p:cNvSpPr>
            <a:spLocks noChangeArrowheads="1"/>
          </p:cNvSpPr>
          <p:nvPr/>
        </p:nvSpPr>
        <p:spPr bwMode="auto">
          <a:xfrm>
            <a:off x="3054874" y="1772816"/>
            <a:ext cx="3888825" cy="3999892"/>
          </a:xfrm>
          <a:prstGeom prst="ellipse">
            <a:avLst/>
          </a:prstGeom>
          <a:solidFill>
            <a:schemeClr val="tx2"/>
          </a:solidFill>
          <a:ln w="12700">
            <a:solidFill>
              <a:schemeClr val="tx2"/>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a:solidFill>
                <a:schemeClr val="tx2"/>
              </a:solidFill>
            </a:endParaRPr>
          </a:p>
        </p:txBody>
      </p:sp>
      <p:sp>
        <p:nvSpPr>
          <p:cNvPr id="23557" name="Text Box 5">
            <a:extLst>
              <a:ext uri="{FF2B5EF4-FFF2-40B4-BE49-F238E27FC236}">
                <a16:creationId xmlns:a16="http://schemas.microsoft.com/office/drawing/2014/main" id="{BBA9EF5A-F9C6-4457-956D-A0E0F4DF9C4D}"/>
              </a:ext>
            </a:extLst>
          </p:cNvPr>
          <p:cNvSpPr txBox="1">
            <a:spLocks noChangeArrowheads="1"/>
          </p:cNvSpPr>
          <p:nvPr/>
        </p:nvSpPr>
        <p:spPr bwMode="auto">
          <a:xfrm>
            <a:off x="3789299" y="2100132"/>
            <a:ext cx="24923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l-GR" sz="2000" b="1" dirty="0">
                <a:solidFill>
                  <a:schemeClr val="bg2"/>
                </a:solidFill>
              </a:rPr>
              <a:t>M</a:t>
            </a:r>
            <a:r>
              <a:rPr lang="el-GR" altLang="el-GR" sz="2000" b="1" dirty="0">
                <a:solidFill>
                  <a:schemeClr val="bg2"/>
                </a:solidFill>
              </a:rPr>
              <a:t>ετατροπή ΧΗΒ </a:t>
            </a:r>
          </a:p>
          <a:p>
            <a:pPr algn="ctr"/>
            <a:r>
              <a:rPr lang="el-GR" altLang="el-GR" sz="2000" b="1" dirty="0">
                <a:solidFill>
                  <a:schemeClr val="bg2"/>
                </a:solidFill>
              </a:rPr>
              <a:t>σε ανενεργό φορία</a:t>
            </a:r>
            <a:endParaRPr lang="en-US" altLang="el-GR" sz="2000" b="1" dirty="0">
              <a:solidFill>
                <a:schemeClr val="bg2"/>
              </a:solidFill>
            </a:endParaRPr>
          </a:p>
        </p:txBody>
      </p:sp>
      <p:sp>
        <p:nvSpPr>
          <p:cNvPr id="23558" name="Text Box 6">
            <a:extLst>
              <a:ext uri="{FF2B5EF4-FFF2-40B4-BE49-F238E27FC236}">
                <a16:creationId xmlns:a16="http://schemas.microsoft.com/office/drawing/2014/main" id="{CB9E8BEA-00AB-4189-80E4-7708DD628821}"/>
              </a:ext>
            </a:extLst>
          </p:cNvPr>
          <p:cNvSpPr txBox="1">
            <a:spLocks noChangeArrowheads="1"/>
          </p:cNvSpPr>
          <p:nvPr/>
        </p:nvSpPr>
        <p:spPr bwMode="auto">
          <a:xfrm>
            <a:off x="3536155" y="4933184"/>
            <a:ext cx="27844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chemeClr val="bg2"/>
                </a:solidFill>
              </a:rPr>
              <a:t>Βιοχημική &amp; ιολογική</a:t>
            </a:r>
          </a:p>
          <a:p>
            <a:pPr algn="ctr"/>
            <a:r>
              <a:rPr lang="el-GR" altLang="el-GR" sz="2000" b="1" dirty="0">
                <a:solidFill>
                  <a:schemeClr val="bg2"/>
                </a:solidFill>
              </a:rPr>
              <a:t>ύφεση</a:t>
            </a:r>
            <a:r>
              <a:rPr lang="el-GR" altLang="el-GR" sz="2000" b="1" baseline="30000" dirty="0">
                <a:solidFill>
                  <a:schemeClr val="bg2"/>
                </a:solidFill>
              </a:rPr>
              <a:t>!</a:t>
            </a:r>
            <a:endParaRPr lang="en-US" altLang="el-GR" sz="2000" b="1" dirty="0">
              <a:solidFill>
                <a:schemeClr val="bg2"/>
              </a:solidFill>
            </a:endParaRPr>
          </a:p>
        </p:txBody>
      </p:sp>
      <p:sp>
        <p:nvSpPr>
          <p:cNvPr id="23559" name="Text Box 7">
            <a:extLst>
              <a:ext uri="{FF2B5EF4-FFF2-40B4-BE49-F238E27FC236}">
                <a16:creationId xmlns:a16="http://schemas.microsoft.com/office/drawing/2014/main" id="{3BD7EA69-2525-4FA7-AF34-5B74F2F2F88E}"/>
              </a:ext>
            </a:extLst>
          </p:cNvPr>
          <p:cNvSpPr txBox="1">
            <a:spLocks noChangeArrowheads="1"/>
          </p:cNvSpPr>
          <p:nvPr/>
        </p:nvSpPr>
        <p:spPr bwMode="auto">
          <a:xfrm>
            <a:off x="3453297" y="1029890"/>
            <a:ext cx="30527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Αναστολή εξέλιξης ΧΗΒ</a:t>
            </a:r>
            <a:endParaRPr lang="en-US" altLang="el-GR" sz="2000" b="1" dirty="0">
              <a:solidFill>
                <a:srgbClr val="333399"/>
              </a:solidFill>
            </a:endParaRPr>
          </a:p>
        </p:txBody>
      </p:sp>
      <p:sp>
        <p:nvSpPr>
          <p:cNvPr id="23560" name="Text Box 8">
            <a:extLst>
              <a:ext uri="{FF2B5EF4-FFF2-40B4-BE49-F238E27FC236}">
                <a16:creationId xmlns:a16="http://schemas.microsoft.com/office/drawing/2014/main" id="{6358CACD-B122-47BD-88F6-2994743CE8C1}"/>
              </a:ext>
            </a:extLst>
          </p:cNvPr>
          <p:cNvSpPr txBox="1">
            <a:spLocks noChangeArrowheads="1"/>
          </p:cNvSpPr>
          <p:nvPr/>
        </p:nvSpPr>
        <p:spPr bwMode="auto">
          <a:xfrm>
            <a:off x="1646762" y="3357563"/>
            <a:ext cx="14081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Πρόληψη </a:t>
            </a:r>
          </a:p>
          <a:p>
            <a:pPr algn="ctr"/>
            <a:r>
              <a:rPr lang="el-GR" altLang="el-GR" sz="2000" b="1" dirty="0">
                <a:solidFill>
                  <a:srgbClr val="333399"/>
                </a:solidFill>
              </a:rPr>
              <a:t>κίρρωσης</a:t>
            </a:r>
            <a:endParaRPr lang="en-US" altLang="el-GR" sz="2000" b="1" dirty="0">
              <a:solidFill>
                <a:srgbClr val="333399"/>
              </a:solidFill>
            </a:endParaRPr>
          </a:p>
        </p:txBody>
      </p:sp>
      <p:sp>
        <p:nvSpPr>
          <p:cNvPr id="23561" name="Text Box 9">
            <a:extLst>
              <a:ext uri="{FF2B5EF4-FFF2-40B4-BE49-F238E27FC236}">
                <a16:creationId xmlns:a16="http://schemas.microsoft.com/office/drawing/2014/main" id="{0DA8E8F0-943B-4A71-AD89-62EB8B5C42ED}"/>
              </a:ext>
            </a:extLst>
          </p:cNvPr>
          <p:cNvSpPr txBox="1">
            <a:spLocks noChangeArrowheads="1"/>
          </p:cNvSpPr>
          <p:nvPr/>
        </p:nvSpPr>
        <p:spPr bwMode="auto">
          <a:xfrm>
            <a:off x="6963691" y="3380185"/>
            <a:ext cx="120898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Μείωση </a:t>
            </a:r>
          </a:p>
          <a:p>
            <a:pPr algn="ctr"/>
            <a:r>
              <a:rPr lang="el-GR" altLang="el-GR" sz="2000" b="1" dirty="0">
                <a:solidFill>
                  <a:srgbClr val="333399"/>
                </a:solidFill>
              </a:rPr>
              <a:t>ΗΚΚ</a:t>
            </a:r>
            <a:endParaRPr lang="en-US" altLang="el-GR" sz="2000" b="1" dirty="0">
              <a:solidFill>
                <a:srgbClr val="333399"/>
              </a:solidFill>
            </a:endParaRPr>
          </a:p>
        </p:txBody>
      </p:sp>
      <p:sp>
        <p:nvSpPr>
          <p:cNvPr id="23562" name="Text Box 10">
            <a:extLst>
              <a:ext uri="{FF2B5EF4-FFF2-40B4-BE49-F238E27FC236}">
                <a16:creationId xmlns:a16="http://schemas.microsoft.com/office/drawing/2014/main" id="{13989E35-C865-4B73-AB44-C66C580755D2}"/>
              </a:ext>
            </a:extLst>
          </p:cNvPr>
          <p:cNvSpPr txBox="1">
            <a:spLocks noChangeArrowheads="1"/>
          </p:cNvSpPr>
          <p:nvPr/>
        </p:nvSpPr>
        <p:spPr bwMode="auto">
          <a:xfrm>
            <a:off x="4187031" y="5866886"/>
            <a:ext cx="14827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Βελτίωση </a:t>
            </a:r>
          </a:p>
          <a:p>
            <a:pPr algn="ctr"/>
            <a:r>
              <a:rPr lang="el-GR" altLang="el-GR" sz="2000" b="1" dirty="0">
                <a:solidFill>
                  <a:srgbClr val="333399"/>
                </a:solidFill>
              </a:rPr>
              <a:t>επιβίωσης</a:t>
            </a:r>
            <a:endParaRPr lang="en-US" altLang="el-GR" sz="2000" b="1" dirty="0">
              <a:solidFill>
                <a:srgbClr val="333399"/>
              </a:solidFill>
            </a:endParaRPr>
          </a:p>
        </p:txBody>
      </p:sp>
      <p:sp>
        <p:nvSpPr>
          <p:cNvPr id="23563" name="Text Box 11">
            <a:extLst>
              <a:ext uri="{FF2B5EF4-FFF2-40B4-BE49-F238E27FC236}">
                <a16:creationId xmlns:a16="http://schemas.microsoft.com/office/drawing/2014/main" id="{2C34A031-1018-4D3F-9E9E-4E3EFB2CB624}"/>
              </a:ext>
            </a:extLst>
          </p:cNvPr>
          <p:cNvSpPr txBox="1">
            <a:spLocks noChangeArrowheads="1"/>
          </p:cNvSpPr>
          <p:nvPr/>
        </p:nvSpPr>
        <p:spPr bwMode="auto">
          <a:xfrm>
            <a:off x="1728786" y="188640"/>
            <a:ext cx="706155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3200" b="1" dirty="0">
                <a:solidFill>
                  <a:schemeClr val="tx2"/>
                </a:solidFill>
              </a:rPr>
              <a:t>Ιδανικός στόχος θεραπείας σε ΧΗΒ</a:t>
            </a:r>
            <a:endParaRPr lang="en-US" altLang="el-GR" sz="3200" b="1" dirty="0">
              <a:solidFill>
                <a:schemeClr val="tx2"/>
              </a:solidFill>
            </a:endParaRPr>
          </a:p>
        </p:txBody>
      </p:sp>
      <p:sp>
        <p:nvSpPr>
          <p:cNvPr id="2" name="Oval 1">
            <a:extLst>
              <a:ext uri="{FF2B5EF4-FFF2-40B4-BE49-F238E27FC236}">
                <a16:creationId xmlns:a16="http://schemas.microsoft.com/office/drawing/2014/main" id="{41C2800C-3208-D6C1-1196-B836B621827C}"/>
              </a:ext>
            </a:extLst>
          </p:cNvPr>
          <p:cNvSpPr/>
          <p:nvPr/>
        </p:nvSpPr>
        <p:spPr bwMode="auto">
          <a:xfrm>
            <a:off x="4462986" y="3391314"/>
            <a:ext cx="1072600" cy="906367"/>
          </a:xfrm>
          <a:prstGeom prst="ellipse">
            <a:avLst/>
          </a:prstGeom>
          <a:solidFill>
            <a:srgbClr val="C00000"/>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l-GR" sz="2400" b="1" i="0" u="none" strike="noStrike" cap="none" normalizeH="0" baseline="0" dirty="0">
              <a:ln>
                <a:noFill/>
              </a:ln>
              <a:solidFill>
                <a:schemeClr val="tx1"/>
              </a:solidFill>
              <a:effectLst/>
              <a:latin typeface="Arial" charset="0"/>
            </a:endParaRPr>
          </a:p>
        </p:txBody>
      </p:sp>
      <p:sp>
        <p:nvSpPr>
          <p:cNvPr id="3" name="TextBox 2">
            <a:extLst>
              <a:ext uri="{FF2B5EF4-FFF2-40B4-BE49-F238E27FC236}">
                <a16:creationId xmlns:a16="http://schemas.microsoft.com/office/drawing/2014/main" id="{C0DD1D2D-DFDE-9E95-143F-2225AE3D5DB4}"/>
              </a:ext>
            </a:extLst>
          </p:cNvPr>
          <p:cNvSpPr txBox="1"/>
          <p:nvPr/>
        </p:nvSpPr>
        <p:spPr>
          <a:xfrm>
            <a:off x="4409009" y="3551869"/>
            <a:ext cx="1141338" cy="584775"/>
          </a:xfrm>
          <a:prstGeom prst="rect">
            <a:avLst/>
          </a:prstGeom>
          <a:noFill/>
        </p:spPr>
        <p:txBody>
          <a:bodyPr wrap="none" rtlCol="0">
            <a:spAutoFit/>
          </a:bodyPr>
          <a:lstStyle/>
          <a:p>
            <a:pPr algn="ctr"/>
            <a:r>
              <a:rPr lang="el-GR" altLang="el-GR" sz="1600" b="1" dirty="0">
                <a:solidFill>
                  <a:srgbClr val="DDDDDD"/>
                </a:solidFill>
              </a:rPr>
              <a:t>Εκρίζωση</a:t>
            </a:r>
          </a:p>
          <a:p>
            <a:pPr algn="ctr"/>
            <a:r>
              <a:rPr lang="en-US" altLang="el-GR" sz="1600" b="1" dirty="0">
                <a:solidFill>
                  <a:srgbClr val="DDDDDD"/>
                </a:solidFill>
              </a:rPr>
              <a:t>HBV</a:t>
            </a:r>
            <a:r>
              <a:rPr lang="el-GR" altLang="el-GR" sz="1600" b="1" dirty="0">
                <a:solidFill>
                  <a:srgbClr val="DDDDDD"/>
                </a:solidFill>
              </a:rPr>
              <a:t>*</a:t>
            </a:r>
            <a:r>
              <a:rPr lang="en-US" altLang="el-GR" sz="1600" b="1" dirty="0">
                <a:solidFill>
                  <a:srgbClr val="DDDDDD"/>
                </a:solidFill>
              </a:rPr>
              <a:t> </a:t>
            </a:r>
          </a:p>
        </p:txBody>
      </p:sp>
      <p:sp>
        <p:nvSpPr>
          <p:cNvPr id="5" name="TextBox 4">
            <a:extLst>
              <a:ext uri="{FF2B5EF4-FFF2-40B4-BE49-F238E27FC236}">
                <a16:creationId xmlns:a16="http://schemas.microsoft.com/office/drawing/2014/main" id="{D12E7D2D-12DC-C27F-531C-9361C36B950E}"/>
              </a:ext>
            </a:extLst>
          </p:cNvPr>
          <p:cNvSpPr txBox="1"/>
          <p:nvPr/>
        </p:nvSpPr>
        <p:spPr>
          <a:xfrm>
            <a:off x="7880674" y="3933056"/>
            <a:ext cx="2447528" cy="2862322"/>
          </a:xfrm>
          <a:prstGeom prst="rect">
            <a:avLst/>
          </a:prstGeom>
          <a:noFill/>
        </p:spPr>
        <p:txBody>
          <a:bodyPr wrap="none" rtlCol="0">
            <a:spAutoFit/>
          </a:bodyPr>
          <a:lstStyle/>
          <a:p>
            <a:pPr algn="ctr"/>
            <a:r>
              <a:rPr lang="en-US" sz="2000" dirty="0"/>
              <a:t> </a:t>
            </a:r>
            <a:r>
              <a:rPr lang="en-US" sz="2000" u="sng" dirty="0"/>
              <a:t>  </a:t>
            </a:r>
            <a:r>
              <a:rPr lang="el-GR" sz="2000" u="sng" dirty="0"/>
              <a:t>*</a:t>
            </a:r>
            <a:r>
              <a:rPr lang="en-US" sz="2000" u="sng" dirty="0"/>
              <a:t>Complete cure</a:t>
            </a:r>
          </a:p>
          <a:p>
            <a:pPr algn="ctr"/>
            <a:r>
              <a:rPr lang="en-US" sz="2000" u="sng" dirty="0"/>
              <a:t>(</a:t>
            </a:r>
            <a:r>
              <a:rPr lang="el-GR" sz="2000" u="sng" dirty="0"/>
              <a:t>Πλήρης ίαση</a:t>
            </a:r>
          </a:p>
          <a:p>
            <a:pPr algn="ctr"/>
            <a:r>
              <a:rPr lang="el-GR" sz="2000" u="sng" dirty="0"/>
              <a:t>χωρίς θεραπεία)</a:t>
            </a:r>
          </a:p>
          <a:p>
            <a:pPr algn="ctr"/>
            <a:r>
              <a:rPr lang="el-GR" sz="2000" dirty="0"/>
              <a:t>Μη ανιχνεύσιμα</a:t>
            </a:r>
          </a:p>
          <a:p>
            <a:pPr algn="ctr"/>
            <a:r>
              <a:rPr lang="en-US" sz="2000" dirty="0"/>
              <a:t>HBeAg</a:t>
            </a:r>
            <a:r>
              <a:rPr lang="el-GR" sz="2000" dirty="0"/>
              <a:t> ορού</a:t>
            </a:r>
            <a:r>
              <a:rPr lang="en-US" sz="2000" dirty="0"/>
              <a:t>, </a:t>
            </a:r>
          </a:p>
          <a:p>
            <a:pPr algn="ctr"/>
            <a:r>
              <a:rPr lang="en-US" sz="2000" dirty="0"/>
              <a:t>HBV DNA </a:t>
            </a:r>
            <a:r>
              <a:rPr lang="el-GR" sz="2000" dirty="0"/>
              <a:t>ορού,</a:t>
            </a:r>
          </a:p>
          <a:p>
            <a:pPr algn="ctr"/>
            <a:r>
              <a:rPr lang="en-US" sz="2000" dirty="0"/>
              <a:t>HBsAg</a:t>
            </a:r>
            <a:r>
              <a:rPr lang="el-GR" sz="2000" dirty="0"/>
              <a:t> ορού</a:t>
            </a:r>
            <a:r>
              <a:rPr lang="en-US" sz="2000" dirty="0"/>
              <a:t>,</a:t>
            </a:r>
            <a:endParaRPr lang="el-GR" sz="2000" dirty="0"/>
          </a:p>
          <a:p>
            <a:pPr algn="ctr"/>
            <a:r>
              <a:rPr lang="en-US" sz="2000" dirty="0" err="1"/>
              <a:t>cccDNA</a:t>
            </a:r>
            <a:r>
              <a:rPr lang="el-GR" sz="2000" dirty="0"/>
              <a:t> σε ήπαρ,</a:t>
            </a:r>
            <a:r>
              <a:rPr lang="en-US" sz="2000" dirty="0"/>
              <a:t> </a:t>
            </a:r>
            <a:endParaRPr lang="el-GR" sz="2000" dirty="0"/>
          </a:p>
          <a:p>
            <a:pPr algn="ctr"/>
            <a:r>
              <a:rPr lang="en-US" sz="2000" dirty="0"/>
              <a:t>HBV DNA </a:t>
            </a:r>
            <a:r>
              <a:rPr lang="el-GR" sz="2000" dirty="0"/>
              <a:t>σε ήπαρ</a:t>
            </a:r>
            <a:endParaRPr lang="en-US" sz="2000" dirty="0"/>
          </a:p>
        </p:txBody>
      </p:sp>
      <p:sp>
        <p:nvSpPr>
          <p:cNvPr id="7" name="TextBox 6">
            <a:extLst>
              <a:ext uri="{FF2B5EF4-FFF2-40B4-BE49-F238E27FC236}">
                <a16:creationId xmlns:a16="http://schemas.microsoft.com/office/drawing/2014/main" id="{A9D53019-B725-9ADA-B300-C9D7613457FB}"/>
              </a:ext>
            </a:extLst>
          </p:cNvPr>
          <p:cNvSpPr txBox="1"/>
          <p:nvPr/>
        </p:nvSpPr>
        <p:spPr>
          <a:xfrm>
            <a:off x="0" y="4517824"/>
            <a:ext cx="2116285" cy="2246769"/>
          </a:xfrm>
          <a:prstGeom prst="rect">
            <a:avLst/>
          </a:prstGeom>
          <a:noFill/>
        </p:spPr>
        <p:txBody>
          <a:bodyPr wrap="none" rtlCol="0">
            <a:spAutoFit/>
          </a:bodyPr>
          <a:lstStyle/>
          <a:p>
            <a:pPr algn="ctr"/>
            <a:r>
              <a:rPr lang="el-GR" altLang="el-GR" sz="2000" b="1" u="sng" baseline="30000" dirty="0"/>
              <a:t> !</a:t>
            </a:r>
            <a:r>
              <a:rPr lang="en-US" sz="2000" u="sng" dirty="0"/>
              <a:t>Partial cure</a:t>
            </a:r>
          </a:p>
          <a:p>
            <a:pPr algn="ctr"/>
            <a:r>
              <a:rPr lang="en-US" sz="2000" u="sng" dirty="0"/>
              <a:t>(M</a:t>
            </a:r>
            <a:r>
              <a:rPr lang="el-GR" sz="2000" u="sng" dirty="0"/>
              <a:t>ερική ίαση</a:t>
            </a:r>
          </a:p>
          <a:p>
            <a:pPr algn="ctr"/>
            <a:r>
              <a:rPr lang="el-GR" sz="2000" u="sng" dirty="0"/>
              <a:t>υπό&gt;χωρίς </a:t>
            </a:r>
          </a:p>
          <a:p>
            <a:pPr algn="ctr"/>
            <a:r>
              <a:rPr lang="el-GR" sz="2000" u="sng" dirty="0"/>
              <a:t>θεραπεία)</a:t>
            </a:r>
          </a:p>
          <a:p>
            <a:pPr algn="ctr"/>
            <a:r>
              <a:rPr lang="el-GR" sz="2000" dirty="0"/>
              <a:t>Μη ανιχνεύσιμα</a:t>
            </a:r>
          </a:p>
          <a:p>
            <a:pPr algn="ctr"/>
            <a:r>
              <a:rPr lang="en-US" sz="2000" dirty="0"/>
              <a:t>HBeAg</a:t>
            </a:r>
            <a:r>
              <a:rPr lang="el-GR" sz="2000" dirty="0"/>
              <a:t> ορού</a:t>
            </a:r>
            <a:r>
              <a:rPr lang="en-US" sz="2000" dirty="0"/>
              <a:t>, </a:t>
            </a:r>
          </a:p>
          <a:p>
            <a:pPr algn="ctr"/>
            <a:r>
              <a:rPr lang="en-US" sz="2000" dirty="0"/>
              <a:t>HBV DNA </a:t>
            </a:r>
            <a:r>
              <a:rPr lang="el-GR" sz="2000" dirty="0"/>
              <a:t>ορού</a:t>
            </a:r>
          </a:p>
        </p:txBody>
      </p:sp>
    </p:spTree>
    <p:extLst>
      <p:ext uri="{BB962C8B-B14F-4D97-AF65-F5344CB8AC3E}">
        <p14:creationId xmlns:p14="http://schemas.microsoft.com/office/powerpoint/2010/main" val="2796238"/>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Oval 2">
            <a:extLst>
              <a:ext uri="{FF2B5EF4-FFF2-40B4-BE49-F238E27FC236}">
                <a16:creationId xmlns:a16="http://schemas.microsoft.com/office/drawing/2014/main" id="{52DEB2A2-68A1-4D3A-83C4-8E2FDBEFC617}"/>
              </a:ext>
            </a:extLst>
          </p:cNvPr>
          <p:cNvSpPr>
            <a:spLocks noChangeArrowheads="1"/>
          </p:cNvSpPr>
          <p:nvPr/>
        </p:nvSpPr>
        <p:spPr bwMode="auto">
          <a:xfrm>
            <a:off x="1687116" y="799307"/>
            <a:ext cx="6585124" cy="5869782"/>
          </a:xfrm>
          <a:prstGeom prst="ellipse">
            <a:avLst/>
          </a:prstGeom>
          <a:solidFill>
            <a:schemeClr val="accent1">
              <a:lumMod val="40000"/>
              <a:lumOff val="60000"/>
            </a:schemeClr>
          </a:solidFill>
          <a:ln w="12700">
            <a:solidFill>
              <a:schemeClr val="accent1"/>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a:p>
        </p:txBody>
      </p:sp>
      <p:sp>
        <p:nvSpPr>
          <p:cNvPr id="23555" name="Oval 3">
            <a:extLst>
              <a:ext uri="{FF2B5EF4-FFF2-40B4-BE49-F238E27FC236}">
                <a16:creationId xmlns:a16="http://schemas.microsoft.com/office/drawing/2014/main" id="{3D986296-02A5-41F8-85EA-6882024D43AB}"/>
              </a:ext>
            </a:extLst>
          </p:cNvPr>
          <p:cNvSpPr>
            <a:spLocks noChangeArrowheads="1"/>
          </p:cNvSpPr>
          <p:nvPr/>
        </p:nvSpPr>
        <p:spPr bwMode="auto">
          <a:xfrm>
            <a:off x="3054874" y="1772816"/>
            <a:ext cx="3888825" cy="3999892"/>
          </a:xfrm>
          <a:prstGeom prst="ellipse">
            <a:avLst/>
          </a:prstGeom>
          <a:solidFill>
            <a:schemeClr val="tx2"/>
          </a:solidFill>
          <a:ln w="12700">
            <a:solidFill>
              <a:schemeClr val="tx2"/>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a:solidFill>
                <a:schemeClr val="tx2"/>
              </a:solidFill>
            </a:endParaRPr>
          </a:p>
        </p:txBody>
      </p:sp>
      <p:sp>
        <p:nvSpPr>
          <p:cNvPr id="23556" name="Oval 4">
            <a:extLst>
              <a:ext uri="{FF2B5EF4-FFF2-40B4-BE49-F238E27FC236}">
                <a16:creationId xmlns:a16="http://schemas.microsoft.com/office/drawing/2014/main" id="{C58635B4-26EA-4EE7-BBD0-1FB075695599}"/>
              </a:ext>
            </a:extLst>
          </p:cNvPr>
          <p:cNvSpPr>
            <a:spLocks noChangeArrowheads="1"/>
          </p:cNvSpPr>
          <p:nvPr/>
        </p:nvSpPr>
        <p:spPr bwMode="auto">
          <a:xfrm>
            <a:off x="3919364" y="2852936"/>
            <a:ext cx="2160240" cy="2050743"/>
          </a:xfrm>
          <a:prstGeom prst="ellipse">
            <a:avLst/>
          </a:prstGeom>
          <a:solidFill>
            <a:schemeClr val="accent1"/>
          </a:solidFill>
          <a:ln w="12700">
            <a:solidFill>
              <a:schemeClr val="tx1"/>
            </a:solidFill>
            <a:round/>
            <a:headEnd type="none" w="sm" len="sm"/>
            <a:tailEnd type="none" w="sm" len="sm"/>
          </a:ln>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endParaRPr lang="en-US" altLang="el-GR" sz="2000" b="1" dirty="0"/>
          </a:p>
        </p:txBody>
      </p:sp>
      <p:sp>
        <p:nvSpPr>
          <p:cNvPr id="23557" name="Text Box 5">
            <a:extLst>
              <a:ext uri="{FF2B5EF4-FFF2-40B4-BE49-F238E27FC236}">
                <a16:creationId xmlns:a16="http://schemas.microsoft.com/office/drawing/2014/main" id="{BBA9EF5A-F9C6-4457-956D-A0E0F4DF9C4D}"/>
              </a:ext>
            </a:extLst>
          </p:cNvPr>
          <p:cNvSpPr txBox="1">
            <a:spLocks noChangeArrowheads="1"/>
          </p:cNvSpPr>
          <p:nvPr/>
        </p:nvSpPr>
        <p:spPr bwMode="auto">
          <a:xfrm>
            <a:off x="3789299" y="2100132"/>
            <a:ext cx="24923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n-US" altLang="el-GR" sz="2000" b="1" dirty="0">
                <a:solidFill>
                  <a:schemeClr val="bg2"/>
                </a:solidFill>
              </a:rPr>
              <a:t>M</a:t>
            </a:r>
            <a:r>
              <a:rPr lang="el-GR" altLang="el-GR" sz="2000" b="1" dirty="0">
                <a:solidFill>
                  <a:schemeClr val="bg2"/>
                </a:solidFill>
              </a:rPr>
              <a:t>ετατροπή ΧΗΒ </a:t>
            </a:r>
          </a:p>
          <a:p>
            <a:pPr algn="ctr"/>
            <a:r>
              <a:rPr lang="el-GR" altLang="el-GR" sz="2000" b="1" dirty="0">
                <a:solidFill>
                  <a:schemeClr val="bg2"/>
                </a:solidFill>
              </a:rPr>
              <a:t>σε ανενεργό φορία</a:t>
            </a:r>
            <a:endParaRPr lang="en-US" altLang="el-GR" sz="2000" b="1" dirty="0">
              <a:solidFill>
                <a:schemeClr val="bg2"/>
              </a:solidFill>
            </a:endParaRPr>
          </a:p>
        </p:txBody>
      </p:sp>
      <p:sp>
        <p:nvSpPr>
          <p:cNvPr id="23558" name="Text Box 6">
            <a:extLst>
              <a:ext uri="{FF2B5EF4-FFF2-40B4-BE49-F238E27FC236}">
                <a16:creationId xmlns:a16="http://schemas.microsoft.com/office/drawing/2014/main" id="{CB9E8BEA-00AB-4189-80E4-7708DD628821}"/>
              </a:ext>
            </a:extLst>
          </p:cNvPr>
          <p:cNvSpPr txBox="1">
            <a:spLocks noChangeArrowheads="1"/>
          </p:cNvSpPr>
          <p:nvPr/>
        </p:nvSpPr>
        <p:spPr bwMode="auto">
          <a:xfrm>
            <a:off x="3536155" y="4933184"/>
            <a:ext cx="278447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chemeClr val="bg2"/>
                </a:solidFill>
              </a:rPr>
              <a:t>Βιοχημική &amp; ιολογική</a:t>
            </a:r>
          </a:p>
          <a:p>
            <a:pPr algn="ctr"/>
            <a:r>
              <a:rPr lang="el-GR" altLang="el-GR" sz="2000" b="1" dirty="0">
                <a:solidFill>
                  <a:schemeClr val="bg2"/>
                </a:solidFill>
              </a:rPr>
              <a:t>ύφεση</a:t>
            </a:r>
            <a:r>
              <a:rPr lang="el-GR" altLang="el-GR" sz="2000" b="1" baseline="30000" dirty="0">
                <a:solidFill>
                  <a:schemeClr val="bg2"/>
                </a:solidFill>
              </a:rPr>
              <a:t>!</a:t>
            </a:r>
            <a:endParaRPr lang="en-US" altLang="el-GR" sz="2000" b="1" dirty="0">
              <a:solidFill>
                <a:schemeClr val="bg2"/>
              </a:solidFill>
            </a:endParaRPr>
          </a:p>
        </p:txBody>
      </p:sp>
      <p:sp>
        <p:nvSpPr>
          <p:cNvPr id="23559" name="Text Box 7">
            <a:extLst>
              <a:ext uri="{FF2B5EF4-FFF2-40B4-BE49-F238E27FC236}">
                <a16:creationId xmlns:a16="http://schemas.microsoft.com/office/drawing/2014/main" id="{3BD7EA69-2525-4FA7-AF34-5B74F2F2F88E}"/>
              </a:ext>
            </a:extLst>
          </p:cNvPr>
          <p:cNvSpPr txBox="1">
            <a:spLocks noChangeArrowheads="1"/>
          </p:cNvSpPr>
          <p:nvPr/>
        </p:nvSpPr>
        <p:spPr bwMode="auto">
          <a:xfrm>
            <a:off x="3453297" y="1029890"/>
            <a:ext cx="30527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Αναστολή εξέλιξης ΧΗΒ</a:t>
            </a:r>
            <a:endParaRPr lang="en-US" altLang="el-GR" sz="2000" b="1" dirty="0">
              <a:solidFill>
                <a:srgbClr val="333399"/>
              </a:solidFill>
            </a:endParaRPr>
          </a:p>
        </p:txBody>
      </p:sp>
      <p:sp>
        <p:nvSpPr>
          <p:cNvPr id="23560" name="Text Box 8">
            <a:extLst>
              <a:ext uri="{FF2B5EF4-FFF2-40B4-BE49-F238E27FC236}">
                <a16:creationId xmlns:a16="http://schemas.microsoft.com/office/drawing/2014/main" id="{6358CACD-B122-47BD-88F6-2994743CE8C1}"/>
              </a:ext>
            </a:extLst>
          </p:cNvPr>
          <p:cNvSpPr txBox="1">
            <a:spLocks noChangeArrowheads="1"/>
          </p:cNvSpPr>
          <p:nvPr/>
        </p:nvSpPr>
        <p:spPr bwMode="auto">
          <a:xfrm>
            <a:off x="1646762" y="3357563"/>
            <a:ext cx="140811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Πρόληψη </a:t>
            </a:r>
          </a:p>
          <a:p>
            <a:pPr algn="ctr"/>
            <a:r>
              <a:rPr lang="el-GR" altLang="el-GR" sz="2000" b="1" dirty="0">
                <a:solidFill>
                  <a:srgbClr val="333399"/>
                </a:solidFill>
              </a:rPr>
              <a:t>κίρρωσης</a:t>
            </a:r>
            <a:endParaRPr lang="en-US" altLang="el-GR" sz="2000" b="1" dirty="0">
              <a:solidFill>
                <a:srgbClr val="333399"/>
              </a:solidFill>
            </a:endParaRPr>
          </a:p>
        </p:txBody>
      </p:sp>
      <p:sp>
        <p:nvSpPr>
          <p:cNvPr id="23561" name="Text Box 9">
            <a:extLst>
              <a:ext uri="{FF2B5EF4-FFF2-40B4-BE49-F238E27FC236}">
                <a16:creationId xmlns:a16="http://schemas.microsoft.com/office/drawing/2014/main" id="{0DA8E8F0-943B-4A71-AD89-62EB8B5C42ED}"/>
              </a:ext>
            </a:extLst>
          </p:cNvPr>
          <p:cNvSpPr txBox="1">
            <a:spLocks noChangeArrowheads="1"/>
          </p:cNvSpPr>
          <p:nvPr/>
        </p:nvSpPr>
        <p:spPr bwMode="auto">
          <a:xfrm>
            <a:off x="6963691" y="3380185"/>
            <a:ext cx="120898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Μείωση </a:t>
            </a:r>
          </a:p>
          <a:p>
            <a:pPr algn="ctr"/>
            <a:r>
              <a:rPr lang="el-GR" altLang="el-GR" sz="2000" b="1" dirty="0">
                <a:solidFill>
                  <a:srgbClr val="333399"/>
                </a:solidFill>
              </a:rPr>
              <a:t>ΗΚΚ</a:t>
            </a:r>
            <a:endParaRPr lang="en-US" altLang="el-GR" sz="2000" b="1" dirty="0">
              <a:solidFill>
                <a:srgbClr val="333399"/>
              </a:solidFill>
            </a:endParaRPr>
          </a:p>
        </p:txBody>
      </p:sp>
      <p:sp>
        <p:nvSpPr>
          <p:cNvPr id="23562" name="Text Box 10">
            <a:extLst>
              <a:ext uri="{FF2B5EF4-FFF2-40B4-BE49-F238E27FC236}">
                <a16:creationId xmlns:a16="http://schemas.microsoft.com/office/drawing/2014/main" id="{13989E35-C865-4B73-AB44-C66C580755D2}"/>
              </a:ext>
            </a:extLst>
          </p:cNvPr>
          <p:cNvSpPr txBox="1">
            <a:spLocks noChangeArrowheads="1"/>
          </p:cNvSpPr>
          <p:nvPr/>
        </p:nvSpPr>
        <p:spPr bwMode="auto">
          <a:xfrm>
            <a:off x="4187031" y="5866886"/>
            <a:ext cx="14827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dirty="0">
                <a:solidFill>
                  <a:srgbClr val="333399"/>
                </a:solidFill>
              </a:rPr>
              <a:t>Βελτίωση </a:t>
            </a:r>
          </a:p>
          <a:p>
            <a:pPr algn="ctr"/>
            <a:r>
              <a:rPr lang="el-GR" altLang="el-GR" sz="2000" b="1" dirty="0">
                <a:solidFill>
                  <a:srgbClr val="333399"/>
                </a:solidFill>
              </a:rPr>
              <a:t>επιβίωσης</a:t>
            </a:r>
            <a:endParaRPr lang="en-US" altLang="el-GR" sz="2000" b="1" dirty="0">
              <a:solidFill>
                <a:srgbClr val="333399"/>
              </a:solidFill>
            </a:endParaRPr>
          </a:p>
        </p:txBody>
      </p:sp>
      <p:sp>
        <p:nvSpPr>
          <p:cNvPr id="23563" name="Text Box 11">
            <a:extLst>
              <a:ext uri="{FF2B5EF4-FFF2-40B4-BE49-F238E27FC236}">
                <a16:creationId xmlns:a16="http://schemas.microsoft.com/office/drawing/2014/main" id="{2C34A031-1018-4D3F-9E9E-4E3EFB2CB624}"/>
              </a:ext>
            </a:extLst>
          </p:cNvPr>
          <p:cNvSpPr txBox="1">
            <a:spLocks noChangeArrowheads="1"/>
          </p:cNvSpPr>
          <p:nvPr/>
        </p:nvSpPr>
        <p:spPr bwMode="auto">
          <a:xfrm>
            <a:off x="1" y="188640"/>
            <a:ext cx="102870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3200" b="1" dirty="0">
                <a:solidFill>
                  <a:schemeClr val="tx2"/>
                </a:solidFill>
              </a:rPr>
              <a:t>Επιθυμητός-ρεαλιστικός στόχος θεραπείας σε ΧΗΒ</a:t>
            </a:r>
            <a:endParaRPr lang="en-US" altLang="el-GR" sz="3200" b="1" dirty="0">
              <a:solidFill>
                <a:schemeClr val="tx2"/>
              </a:solidFill>
            </a:endParaRPr>
          </a:p>
        </p:txBody>
      </p:sp>
      <p:sp>
        <p:nvSpPr>
          <p:cNvPr id="4" name="TextBox 3">
            <a:extLst>
              <a:ext uri="{FF2B5EF4-FFF2-40B4-BE49-F238E27FC236}">
                <a16:creationId xmlns:a16="http://schemas.microsoft.com/office/drawing/2014/main" id="{C54919A0-60FD-C39E-35C7-C335787EFA70}"/>
              </a:ext>
            </a:extLst>
          </p:cNvPr>
          <p:cNvSpPr txBox="1"/>
          <p:nvPr/>
        </p:nvSpPr>
        <p:spPr>
          <a:xfrm>
            <a:off x="4279404" y="3010853"/>
            <a:ext cx="1487908" cy="1892826"/>
          </a:xfrm>
          <a:prstGeom prst="rect">
            <a:avLst/>
          </a:prstGeom>
          <a:noFill/>
        </p:spPr>
        <p:txBody>
          <a:bodyPr wrap="none" rtlCol="0">
            <a:spAutoFit/>
          </a:bodyPr>
          <a:lstStyle/>
          <a:p>
            <a:pPr algn="ctr"/>
            <a:r>
              <a:rPr lang="en-US" altLang="el-GR" sz="1800" b="1" dirty="0"/>
              <a:t>HBsAg (-)</a:t>
            </a:r>
            <a:endParaRPr lang="el-GR" altLang="el-GR" sz="1800" b="1" dirty="0"/>
          </a:p>
          <a:p>
            <a:pPr algn="ctr">
              <a:lnSpc>
                <a:spcPct val="150000"/>
              </a:lnSpc>
            </a:pPr>
            <a:endParaRPr lang="el-GR" altLang="el-GR" sz="1800" dirty="0"/>
          </a:p>
          <a:p>
            <a:pPr algn="ctr"/>
            <a:endParaRPr lang="el-GR" altLang="el-GR" sz="1800" b="1" dirty="0"/>
          </a:p>
          <a:p>
            <a:endParaRPr lang="el-GR" altLang="el-GR" sz="1800" dirty="0"/>
          </a:p>
          <a:p>
            <a:r>
              <a:rPr lang="el-GR" altLang="el-GR" sz="1800" b="1" dirty="0"/>
              <a:t>Λειτουργική</a:t>
            </a:r>
          </a:p>
          <a:p>
            <a:pPr algn="ctr"/>
            <a:r>
              <a:rPr lang="el-GR" altLang="el-GR" sz="1800" dirty="0"/>
              <a:t>ίαση</a:t>
            </a:r>
            <a:r>
              <a:rPr lang="el-GR" altLang="el-GR" sz="1800" baseline="30000" dirty="0"/>
              <a:t>#</a:t>
            </a:r>
            <a:endParaRPr lang="en-US" altLang="el-GR" sz="1800" b="1" baseline="30000" dirty="0"/>
          </a:p>
        </p:txBody>
      </p:sp>
      <p:sp>
        <p:nvSpPr>
          <p:cNvPr id="5" name="Oval 4">
            <a:extLst>
              <a:ext uri="{FF2B5EF4-FFF2-40B4-BE49-F238E27FC236}">
                <a16:creationId xmlns:a16="http://schemas.microsoft.com/office/drawing/2014/main" id="{CCE7B5C5-CCB4-6777-A4A5-FE6280E28CBE}"/>
              </a:ext>
            </a:extLst>
          </p:cNvPr>
          <p:cNvSpPr/>
          <p:nvPr/>
        </p:nvSpPr>
        <p:spPr bwMode="auto">
          <a:xfrm>
            <a:off x="4462986" y="3391314"/>
            <a:ext cx="1072600" cy="906367"/>
          </a:xfrm>
          <a:prstGeom prst="ellipse">
            <a:avLst/>
          </a:prstGeom>
          <a:solidFill>
            <a:srgbClr val="C00000"/>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l-GR" sz="2400" b="1" i="0" u="none" strike="noStrike" cap="none" normalizeH="0" baseline="0" dirty="0">
              <a:ln>
                <a:noFill/>
              </a:ln>
              <a:solidFill>
                <a:schemeClr val="tx1"/>
              </a:solidFill>
              <a:effectLst/>
              <a:latin typeface="Arial" charset="0"/>
            </a:endParaRPr>
          </a:p>
        </p:txBody>
      </p:sp>
      <p:sp>
        <p:nvSpPr>
          <p:cNvPr id="2" name="TextBox 1">
            <a:extLst>
              <a:ext uri="{FF2B5EF4-FFF2-40B4-BE49-F238E27FC236}">
                <a16:creationId xmlns:a16="http://schemas.microsoft.com/office/drawing/2014/main" id="{FA0940E9-2D25-A47F-6139-326908B5AC6E}"/>
              </a:ext>
            </a:extLst>
          </p:cNvPr>
          <p:cNvSpPr txBox="1"/>
          <p:nvPr/>
        </p:nvSpPr>
        <p:spPr>
          <a:xfrm>
            <a:off x="4409009" y="3551869"/>
            <a:ext cx="1141338" cy="584775"/>
          </a:xfrm>
          <a:prstGeom prst="rect">
            <a:avLst/>
          </a:prstGeom>
          <a:noFill/>
        </p:spPr>
        <p:txBody>
          <a:bodyPr wrap="none" rtlCol="0">
            <a:spAutoFit/>
          </a:bodyPr>
          <a:lstStyle/>
          <a:p>
            <a:pPr algn="ctr"/>
            <a:r>
              <a:rPr lang="el-GR" altLang="el-GR" sz="1600" b="1" dirty="0">
                <a:solidFill>
                  <a:srgbClr val="DDDDDD"/>
                </a:solidFill>
              </a:rPr>
              <a:t>Εκρίζωση</a:t>
            </a:r>
          </a:p>
          <a:p>
            <a:pPr algn="ctr"/>
            <a:r>
              <a:rPr lang="en-US" altLang="el-GR" sz="1600" b="1" dirty="0">
                <a:solidFill>
                  <a:srgbClr val="DDDDDD"/>
                </a:solidFill>
              </a:rPr>
              <a:t>HBV</a:t>
            </a:r>
            <a:r>
              <a:rPr lang="el-GR" altLang="el-GR" sz="1600" b="1" dirty="0">
                <a:solidFill>
                  <a:srgbClr val="DDDDDD"/>
                </a:solidFill>
              </a:rPr>
              <a:t>*</a:t>
            </a:r>
            <a:r>
              <a:rPr lang="en-US" altLang="el-GR" sz="1600" b="1" dirty="0">
                <a:solidFill>
                  <a:srgbClr val="DDDDDD"/>
                </a:solidFill>
              </a:rPr>
              <a:t> </a:t>
            </a:r>
          </a:p>
        </p:txBody>
      </p:sp>
      <p:sp>
        <p:nvSpPr>
          <p:cNvPr id="6" name="TextBox 5">
            <a:extLst>
              <a:ext uri="{FF2B5EF4-FFF2-40B4-BE49-F238E27FC236}">
                <a16:creationId xmlns:a16="http://schemas.microsoft.com/office/drawing/2014/main" id="{D2064702-1A76-8B7E-3193-EB7B1713A2FB}"/>
              </a:ext>
            </a:extLst>
          </p:cNvPr>
          <p:cNvSpPr txBox="1"/>
          <p:nvPr/>
        </p:nvSpPr>
        <p:spPr>
          <a:xfrm>
            <a:off x="7836045" y="836712"/>
            <a:ext cx="2348015" cy="2246769"/>
          </a:xfrm>
          <a:prstGeom prst="rect">
            <a:avLst/>
          </a:prstGeom>
          <a:noFill/>
        </p:spPr>
        <p:txBody>
          <a:bodyPr wrap="none" rtlCol="0">
            <a:spAutoFit/>
          </a:bodyPr>
          <a:lstStyle/>
          <a:p>
            <a:pPr algn="ctr"/>
            <a:r>
              <a:rPr lang="el-GR" altLang="el-GR" sz="2000" u="sng" baseline="30000" dirty="0"/>
              <a:t>#</a:t>
            </a:r>
            <a:r>
              <a:rPr lang="en-US" sz="2000" u="sng" dirty="0"/>
              <a:t>Functional cure</a:t>
            </a:r>
          </a:p>
          <a:p>
            <a:pPr algn="ctr"/>
            <a:r>
              <a:rPr lang="en-US" sz="2000" u="sng" dirty="0"/>
              <a:t>(</a:t>
            </a:r>
            <a:r>
              <a:rPr lang="el-GR" sz="2000" u="sng" dirty="0"/>
              <a:t>Λειτουργική ίαση</a:t>
            </a:r>
          </a:p>
          <a:p>
            <a:pPr algn="ctr"/>
            <a:r>
              <a:rPr lang="el-GR" sz="2000" u="sng" dirty="0"/>
              <a:t>χωρίς θεραπεία)</a:t>
            </a:r>
          </a:p>
          <a:p>
            <a:pPr algn="ctr"/>
            <a:r>
              <a:rPr lang="el-GR" sz="2000" dirty="0"/>
              <a:t>Μη ανιχνεύσιμα</a:t>
            </a:r>
          </a:p>
          <a:p>
            <a:pPr algn="ctr"/>
            <a:r>
              <a:rPr lang="en-US" sz="2000" dirty="0"/>
              <a:t>HBeAg</a:t>
            </a:r>
            <a:r>
              <a:rPr lang="el-GR" sz="2000" dirty="0"/>
              <a:t> ορού</a:t>
            </a:r>
            <a:r>
              <a:rPr lang="en-US" sz="2000" dirty="0"/>
              <a:t>, </a:t>
            </a:r>
          </a:p>
          <a:p>
            <a:pPr algn="ctr"/>
            <a:r>
              <a:rPr lang="en-US" sz="2000" dirty="0"/>
              <a:t>HBV DNA </a:t>
            </a:r>
            <a:r>
              <a:rPr lang="el-GR" sz="2000" dirty="0"/>
              <a:t>ορού,</a:t>
            </a:r>
          </a:p>
          <a:p>
            <a:pPr algn="ctr"/>
            <a:r>
              <a:rPr lang="en-US" sz="2000" dirty="0"/>
              <a:t>HBsAg</a:t>
            </a:r>
            <a:r>
              <a:rPr lang="el-GR" sz="2000" dirty="0"/>
              <a:t> ορού</a:t>
            </a:r>
          </a:p>
        </p:txBody>
      </p:sp>
      <p:sp>
        <p:nvSpPr>
          <p:cNvPr id="10" name="TextBox 9">
            <a:extLst>
              <a:ext uri="{FF2B5EF4-FFF2-40B4-BE49-F238E27FC236}">
                <a16:creationId xmlns:a16="http://schemas.microsoft.com/office/drawing/2014/main" id="{2C67042E-D576-F0AD-D925-F35C7446A451}"/>
              </a:ext>
            </a:extLst>
          </p:cNvPr>
          <p:cNvSpPr txBox="1"/>
          <p:nvPr/>
        </p:nvSpPr>
        <p:spPr>
          <a:xfrm>
            <a:off x="7880674" y="3933056"/>
            <a:ext cx="2447528" cy="2862322"/>
          </a:xfrm>
          <a:prstGeom prst="rect">
            <a:avLst/>
          </a:prstGeom>
          <a:noFill/>
        </p:spPr>
        <p:txBody>
          <a:bodyPr wrap="none" rtlCol="0">
            <a:spAutoFit/>
          </a:bodyPr>
          <a:lstStyle/>
          <a:p>
            <a:pPr algn="ctr"/>
            <a:r>
              <a:rPr lang="en-US" sz="2000" dirty="0"/>
              <a:t> </a:t>
            </a:r>
            <a:r>
              <a:rPr lang="en-US" sz="2000" u="sng" dirty="0"/>
              <a:t>  </a:t>
            </a:r>
            <a:r>
              <a:rPr lang="el-GR" sz="2000" u="sng" dirty="0"/>
              <a:t>*</a:t>
            </a:r>
            <a:r>
              <a:rPr lang="en-US" sz="2000" u="sng" dirty="0"/>
              <a:t>Complete cure</a:t>
            </a:r>
          </a:p>
          <a:p>
            <a:pPr algn="ctr"/>
            <a:r>
              <a:rPr lang="en-US" sz="2000" u="sng" dirty="0"/>
              <a:t>(</a:t>
            </a:r>
            <a:r>
              <a:rPr lang="el-GR" sz="2000" u="sng" dirty="0"/>
              <a:t>Πλήρης ίαση</a:t>
            </a:r>
          </a:p>
          <a:p>
            <a:pPr algn="ctr"/>
            <a:r>
              <a:rPr lang="el-GR" sz="2000" u="sng" dirty="0"/>
              <a:t>χωρίς θεραπεία)</a:t>
            </a:r>
          </a:p>
          <a:p>
            <a:pPr algn="ctr"/>
            <a:r>
              <a:rPr lang="el-GR" sz="2000" dirty="0"/>
              <a:t>Μη ανιχνεύσιμα</a:t>
            </a:r>
          </a:p>
          <a:p>
            <a:pPr algn="ctr"/>
            <a:r>
              <a:rPr lang="en-US" sz="2000" dirty="0"/>
              <a:t>HBeAg</a:t>
            </a:r>
            <a:r>
              <a:rPr lang="el-GR" sz="2000" dirty="0"/>
              <a:t> ορού</a:t>
            </a:r>
            <a:r>
              <a:rPr lang="en-US" sz="2000" dirty="0"/>
              <a:t>, </a:t>
            </a:r>
          </a:p>
          <a:p>
            <a:pPr algn="ctr"/>
            <a:r>
              <a:rPr lang="en-US" sz="2000" dirty="0"/>
              <a:t>HBV DNA </a:t>
            </a:r>
            <a:r>
              <a:rPr lang="el-GR" sz="2000" dirty="0"/>
              <a:t>ορού,</a:t>
            </a:r>
          </a:p>
          <a:p>
            <a:pPr algn="ctr"/>
            <a:r>
              <a:rPr lang="en-US" sz="2000" dirty="0"/>
              <a:t>HBsAg</a:t>
            </a:r>
            <a:r>
              <a:rPr lang="el-GR" sz="2000" dirty="0"/>
              <a:t> ορού</a:t>
            </a:r>
            <a:r>
              <a:rPr lang="en-US" sz="2000" dirty="0"/>
              <a:t>,</a:t>
            </a:r>
            <a:endParaRPr lang="el-GR" sz="2000" dirty="0"/>
          </a:p>
          <a:p>
            <a:pPr algn="ctr"/>
            <a:r>
              <a:rPr lang="en-US" sz="2000" dirty="0" err="1"/>
              <a:t>cccDNA</a:t>
            </a:r>
            <a:r>
              <a:rPr lang="el-GR" sz="2000" dirty="0"/>
              <a:t> σε ήπαρ,</a:t>
            </a:r>
            <a:r>
              <a:rPr lang="en-US" sz="2000" dirty="0"/>
              <a:t> </a:t>
            </a:r>
            <a:endParaRPr lang="el-GR" sz="2000" dirty="0"/>
          </a:p>
          <a:p>
            <a:pPr algn="ctr"/>
            <a:r>
              <a:rPr lang="en-US" sz="2000" dirty="0"/>
              <a:t>HBV DNA </a:t>
            </a:r>
            <a:r>
              <a:rPr lang="el-GR" sz="2000" dirty="0"/>
              <a:t>σε ήπαρ</a:t>
            </a:r>
            <a:endParaRPr lang="en-US" sz="2000" dirty="0"/>
          </a:p>
        </p:txBody>
      </p:sp>
      <p:sp>
        <p:nvSpPr>
          <p:cNvPr id="11" name="TextBox 10">
            <a:extLst>
              <a:ext uri="{FF2B5EF4-FFF2-40B4-BE49-F238E27FC236}">
                <a16:creationId xmlns:a16="http://schemas.microsoft.com/office/drawing/2014/main" id="{9932AF38-3DF6-E896-A73E-33D048BB89FA}"/>
              </a:ext>
            </a:extLst>
          </p:cNvPr>
          <p:cNvSpPr txBox="1"/>
          <p:nvPr/>
        </p:nvSpPr>
        <p:spPr>
          <a:xfrm>
            <a:off x="0" y="4517824"/>
            <a:ext cx="2116285" cy="2246769"/>
          </a:xfrm>
          <a:prstGeom prst="rect">
            <a:avLst/>
          </a:prstGeom>
          <a:noFill/>
        </p:spPr>
        <p:txBody>
          <a:bodyPr wrap="none" rtlCol="0">
            <a:spAutoFit/>
          </a:bodyPr>
          <a:lstStyle/>
          <a:p>
            <a:pPr algn="ctr"/>
            <a:r>
              <a:rPr lang="el-GR" altLang="el-GR" sz="2000" b="1" u="sng" baseline="30000" dirty="0"/>
              <a:t> !</a:t>
            </a:r>
            <a:r>
              <a:rPr lang="en-US" sz="2000" u="sng" dirty="0"/>
              <a:t>Partial cure</a:t>
            </a:r>
          </a:p>
          <a:p>
            <a:pPr algn="ctr"/>
            <a:r>
              <a:rPr lang="en-US" sz="2000" u="sng" dirty="0"/>
              <a:t>(M</a:t>
            </a:r>
            <a:r>
              <a:rPr lang="el-GR" sz="2000" u="sng" dirty="0"/>
              <a:t>ερική ίαση</a:t>
            </a:r>
          </a:p>
          <a:p>
            <a:pPr algn="ctr"/>
            <a:r>
              <a:rPr lang="el-GR" sz="2000" u="sng" dirty="0"/>
              <a:t>υπό&gt;χωρίς </a:t>
            </a:r>
          </a:p>
          <a:p>
            <a:pPr algn="ctr"/>
            <a:r>
              <a:rPr lang="el-GR" sz="2000" u="sng" dirty="0"/>
              <a:t>θεραπεία)</a:t>
            </a:r>
          </a:p>
          <a:p>
            <a:pPr algn="ctr"/>
            <a:r>
              <a:rPr lang="el-GR" sz="2000" dirty="0"/>
              <a:t>Μη ανιχνεύσιμα</a:t>
            </a:r>
          </a:p>
          <a:p>
            <a:pPr algn="ctr"/>
            <a:r>
              <a:rPr lang="en-US" sz="2000" dirty="0"/>
              <a:t>HBeAg</a:t>
            </a:r>
            <a:r>
              <a:rPr lang="el-GR" sz="2000" dirty="0"/>
              <a:t> ορού</a:t>
            </a:r>
            <a:r>
              <a:rPr lang="en-US" sz="2000" dirty="0"/>
              <a:t>, </a:t>
            </a:r>
          </a:p>
          <a:p>
            <a:pPr algn="ctr"/>
            <a:r>
              <a:rPr lang="en-US" sz="2000" dirty="0"/>
              <a:t>HBV DNA </a:t>
            </a:r>
            <a:r>
              <a:rPr lang="el-GR" sz="2000" dirty="0"/>
              <a:t>ορού</a:t>
            </a:r>
          </a:p>
        </p:txBody>
      </p:sp>
    </p:spTree>
    <p:extLst>
      <p:ext uri="{BB962C8B-B14F-4D97-AF65-F5344CB8AC3E}">
        <p14:creationId xmlns:p14="http://schemas.microsoft.com/office/powerpoint/2010/main" val="6532642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Object 2">
            <a:extLst>
              <a:ext uri="{FF2B5EF4-FFF2-40B4-BE49-F238E27FC236}">
                <a16:creationId xmlns:a16="http://schemas.microsoft.com/office/drawing/2014/main" id="{9919FD64-BCDA-4F58-B930-6E79AEC0E525}"/>
              </a:ext>
            </a:extLst>
          </p:cNvPr>
          <p:cNvGraphicFramePr>
            <a:graphicFrameLocks noGrp="1" noChangeAspect="1"/>
          </p:cNvGraphicFramePr>
          <p:nvPr>
            <p:ph type="chart" idx="1"/>
          </p:nvPr>
        </p:nvGraphicFramePr>
        <p:xfrm>
          <a:off x="1154113" y="1319213"/>
          <a:ext cx="8742362" cy="4419600"/>
        </p:xfrm>
        <a:graphic>
          <a:graphicData uri="http://schemas.openxmlformats.org/presentationml/2006/ole">
            <mc:AlternateContent xmlns:mc="http://schemas.openxmlformats.org/markup-compatibility/2006">
              <mc:Choice xmlns:v="urn:schemas-microsoft-com:vml" Requires="v">
                <p:oleObj spid="_x0000_s2050" name="Chart" r:id="rId3" imgW="7772417" imgH="4114959" progId="MSGraph.Chart.8">
                  <p:embed followColorScheme="full"/>
                </p:oleObj>
              </mc:Choice>
              <mc:Fallback>
                <p:oleObj name="Chart" r:id="rId3" imgW="7772417" imgH="4114959" progId="MSGraph.Chart.8">
                  <p:embed followColorScheme="full"/>
                  <p:pic>
                    <p:nvPicPr>
                      <p:cNvPr id="1026" name="Object 2">
                        <a:extLst>
                          <a:ext uri="{FF2B5EF4-FFF2-40B4-BE49-F238E27FC236}">
                            <a16:creationId xmlns:a16="http://schemas.microsoft.com/office/drawing/2014/main" id="{9919FD64-BCDA-4F58-B930-6E79AEC0E525}"/>
                          </a:ext>
                        </a:extLst>
                      </p:cNvPr>
                      <p:cNvPicPr>
                        <a:picLocks noChangeAspect="1" noChangeArrowheads="1"/>
                      </p:cNvPicPr>
                      <p:nvPr/>
                    </p:nvPicPr>
                    <p:blipFill>
                      <a:blip r:embed="rId4"/>
                      <a:srcRect/>
                      <a:stretch>
                        <a:fillRect/>
                      </a:stretch>
                    </p:blipFill>
                    <p:spPr bwMode="auto">
                      <a:xfrm>
                        <a:off x="1154113" y="1319213"/>
                        <a:ext cx="8742362" cy="4419600"/>
                      </a:xfrm>
                      <a:prstGeom prst="rect">
                        <a:avLst/>
                      </a:prstGeom>
                    </p:spPr>
                  </p:pic>
                </p:oleObj>
              </mc:Fallback>
            </mc:AlternateContent>
          </a:graphicData>
        </a:graphic>
      </p:graphicFrame>
      <p:sp>
        <p:nvSpPr>
          <p:cNvPr id="1027" name="Text Box 3">
            <a:extLst>
              <a:ext uri="{FF2B5EF4-FFF2-40B4-BE49-F238E27FC236}">
                <a16:creationId xmlns:a16="http://schemas.microsoft.com/office/drawing/2014/main" id="{9A6981C6-DB9F-4035-A9D0-0171FD8BC0F7}"/>
              </a:ext>
            </a:extLst>
          </p:cNvPr>
          <p:cNvSpPr txBox="1">
            <a:spLocks noChangeArrowheads="1"/>
          </p:cNvSpPr>
          <p:nvPr/>
        </p:nvSpPr>
        <p:spPr bwMode="auto">
          <a:xfrm>
            <a:off x="134938" y="2039938"/>
            <a:ext cx="1054100" cy="127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1400" b="1"/>
              <a:t>   </a:t>
            </a:r>
            <a:r>
              <a:rPr lang="el-GR" altLang="el-GR" sz="1400" b="1"/>
              <a:t>Serum </a:t>
            </a:r>
          </a:p>
          <a:p>
            <a:pPr>
              <a:lnSpc>
                <a:spcPct val="120000"/>
              </a:lnSpc>
            </a:pPr>
            <a:r>
              <a:rPr lang="el-GR" altLang="el-GR" sz="1400" b="1"/>
              <a:t>HBV DNA</a:t>
            </a:r>
            <a:r>
              <a:rPr lang="en-US" altLang="el-GR" sz="1400" b="1"/>
              <a:t>,</a:t>
            </a:r>
          </a:p>
          <a:p>
            <a:pPr>
              <a:lnSpc>
                <a:spcPct val="160000"/>
              </a:lnSpc>
            </a:pPr>
            <a:r>
              <a:rPr lang="en-US" altLang="el-GR" sz="1400"/>
              <a:t>     log</a:t>
            </a:r>
            <a:r>
              <a:rPr lang="en-US" altLang="el-GR" sz="1400" baseline="-25000"/>
              <a:t>10</a:t>
            </a:r>
            <a:r>
              <a:rPr lang="en-US" altLang="el-GR" sz="1400"/>
              <a:t> </a:t>
            </a:r>
          </a:p>
          <a:p>
            <a:pPr>
              <a:lnSpc>
                <a:spcPct val="170000"/>
              </a:lnSpc>
            </a:pPr>
            <a:r>
              <a:rPr lang="en-US" altLang="el-GR" sz="1400"/>
              <a:t>    IU/mL</a:t>
            </a:r>
            <a:endParaRPr lang="el-GR" altLang="el-GR" sz="1200"/>
          </a:p>
        </p:txBody>
      </p:sp>
      <p:sp>
        <p:nvSpPr>
          <p:cNvPr id="1028" name="Text Box 4">
            <a:extLst>
              <a:ext uri="{FF2B5EF4-FFF2-40B4-BE49-F238E27FC236}">
                <a16:creationId xmlns:a16="http://schemas.microsoft.com/office/drawing/2014/main" id="{C75A9C22-831C-4483-B9EC-C53454C72D34}"/>
              </a:ext>
            </a:extLst>
          </p:cNvPr>
          <p:cNvSpPr txBox="1">
            <a:spLocks noChangeArrowheads="1"/>
          </p:cNvSpPr>
          <p:nvPr/>
        </p:nvSpPr>
        <p:spPr bwMode="auto">
          <a:xfrm>
            <a:off x="722313" y="4610100"/>
            <a:ext cx="619125"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r>
              <a:rPr lang="el-GR" altLang="el-GR" sz="1400" b="1"/>
              <a:t>ALT</a:t>
            </a:r>
            <a:r>
              <a:rPr lang="en-US" altLang="el-GR" sz="1400" b="1"/>
              <a:t>  </a:t>
            </a:r>
            <a:endParaRPr lang="el-GR" altLang="el-GR" sz="1400" b="1"/>
          </a:p>
          <a:p>
            <a:pPr algn="r"/>
            <a:endParaRPr lang="el-GR" altLang="el-GR" sz="1400" b="1"/>
          </a:p>
          <a:p>
            <a:pPr algn="r"/>
            <a:r>
              <a:rPr lang="en-US" altLang="el-GR" sz="1400"/>
              <a:t>ULN</a:t>
            </a:r>
            <a:endParaRPr lang="el-GR" altLang="el-GR" sz="1400"/>
          </a:p>
        </p:txBody>
      </p:sp>
      <p:sp>
        <p:nvSpPr>
          <p:cNvPr id="1029" name="Line 5">
            <a:extLst>
              <a:ext uri="{FF2B5EF4-FFF2-40B4-BE49-F238E27FC236}">
                <a16:creationId xmlns:a16="http://schemas.microsoft.com/office/drawing/2014/main" id="{99421EF6-7450-4606-8295-98BC3E36CC94}"/>
              </a:ext>
            </a:extLst>
          </p:cNvPr>
          <p:cNvSpPr>
            <a:spLocks noChangeShapeType="1"/>
          </p:cNvSpPr>
          <p:nvPr/>
        </p:nvSpPr>
        <p:spPr bwMode="auto">
          <a:xfrm>
            <a:off x="4038600" y="1411288"/>
            <a:ext cx="6000750" cy="0"/>
          </a:xfrm>
          <a:prstGeom prst="line">
            <a:avLst/>
          </a:prstGeom>
          <a:noFill/>
          <a:ln w="57150">
            <a:solidFill>
              <a:schemeClr val="tx1"/>
            </a:solidFill>
            <a:prstDash val="dash"/>
            <a:round/>
            <a:headEnd type="triangle" w="med" len="med"/>
            <a:tailEnd/>
          </a:ln>
          <a:extLst>
            <a:ext uri="{909E8E84-426E-40DD-AFC4-6F175D3DCCD1}">
              <a14:hiddenFill xmlns:a14="http://schemas.microsoft.com/office/drawing/2010/main">
                <a:noFill/>
              </a14:hiddenFill>
            </a:ext>
          </a:extLst>
        </p:spPr>
        <p:txBody>
          <a:bodyPr wrap="none" anchor="ctr"/>
          <a:lstStyle/>
          <a:p>
            <a:endParaRPr lang="el-GR"/>
          </a:p>
        </p:txBody>
      </p:sp>
      <p:sp>
        <p:nvSpPr>
          <p:cNvPr id="1030" name="Text Box 6">
            <a:extLst>
              <a:ext uri="{FF2B5EF4-FFF2-40B4-BE49-F238E27FC236}">
                <a16:creationId xmlns:a16="http://schemas.microsoft.com/office/drawing/2014/main" id="{3692409D-2BBA-44E7-A97B-0D971440F2F1}"/>
              </a:ext>
            </a:extLst>
          </p:cNvPr>
          <p:cNvSpPr txBox="1">
            <a:spLocks noChangeArrowheads="1"/>
          </p:cNvSpPr>
          <p:nvPr/>
        </p:nvSpPr>
        <p:spPr bwMode="auto">
          <a:xfrm>
            <a:off x="1925638" y="1409700"/>
            <a:ext cx="58261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1600" b="1"/>
              <a:t> </a:t>
            </a:r>
            <a:r>
              <a:rPr lang="el-GR" altLang="el-GR" sz="1600" b="1"/>
              <a:t>HBeAg(+)                                     </a:t>
            </a:r>
            <a:r>
              <a:rPr lang="en-US" altLang="el-GR" sz="1600" b="1"/>
              <a:t>      </a:t>
            </a:r>
            <a:r>
              <a:rPr lang="el-GR" altLang="el-GR" sz="1600" b="1"/>
              <a:t>  HBeAg(-)/anti-HBe(+)</a:t>
            </a:r>
          </a:p>
        </p:txBody>
      </p:sp>
      <p:grpSp>
        <p:nvGrpSpPr>
          <p:cNvPr id="1031" name="Group 7">
            <a:extLst>
              <a:ext uri="{FF2B5EF4-FFF2-40B4-BE49-F238E27FC236}">
                <a16:creationId xmlns:a16="http://schemas.microsoft.com/office/drawing/2014/main" id="{E95C6189-9226-41DA-9FA5-AD83492A5027}"/>
              </a:ext>
            </a:extLst>
          </p:cNvPr>
          <p:cNvGrpSpPr>
            <a:grpSpLocks/>
          </p:cNvGrpSpPr>
          <p:nvPr/>
        </p:nvGrpSpPr>
        <p:grpSpPr bwMode="auto">
          <a:xfrm>
            <a:off x="1230313" y="1535113"/>
            <a:ext cx="161925" cy="2160587"/>
            <a:chOff x="702" y="1117"/>
            <a:chExt cx="91" cy="1361"/>
          </a:xfrm>
        </p:grpSpPr>
        <p:sp>
          <p:nvSpPr>
            <p:cNvPr id="1045" name="Line 8">
              <a:extLst>
                <a:ext uri="{FF2B5EF4-FFF2-40B4-BE49-F238E27FC236}">
                  <a16:creationId xmlns:a16="http://schemas.microsoft.com/office/drawing/2014/main" id="{001F224D-D849-41BA-98BF-D9532567AFBD}"/>
                </a:ext>
              </a:extLst>
            </p:cNvPr>
            <p:cNvSpPr>
              <a:spLocks noChangeShapeType="1"/>
            </p:cNvSpPr>
            <p:nvPr/>
          </p:nvSpPr>
          <p:spPr bwMode="auto">
            <a:xfrm>
              <a:off x="747" y="1117"/>
              <a:ext cx="1" cy="1361"/>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46" name="Line 9">
              <a:extLst>
                <a:ext uri="{FF2B5EF4-FFF2-40B4-BE49-F238E27FC236}">
                  <a16:creationId xmlns:a16="http://schemas.microsoft.com/office/drawing/2014/main" id="{F976F764-6E1B-4945-8226-F58DDDE80101}"/>
                </a:ext>
              </a:extLst>
            </p:cNvPr>
            <p:cNvSpPr>
              <a:spLocks noChangeShapeType="1"/>
            </p:cNvSpPr>
            <p:nvPr/>
          </p:nvSpPr>
          <p:spPr bwMode="auto">
            <a:xfrm>
              <a:off x="702" y="1706"/>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47" name="Line 10">
              <a:extLst>
                <a:ext uri="{FF2B5EF4-FFF2-40B4-BE49-F238E27FC236}">
                  <a16:creationId xmlns:a16="http://schemas.microsoft.com/office/drawing/2014/main" id="{DDD03E47-7CB4-45E7-BF72-624847607652}"/>
                </a:ext>
              </a:extLst>
            </p:cNvPr>
            <p:cNvSpPr>
              <a:spLocks noChangeShapeType="1"/>
            </p:cNvSpPr>
            <p:nvPr/>
          </p:nvSpPr>
          <p:spPr bwMode="auto">
            <a:xfrm>
              <a:off x="702" y="1842"/>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48" name="Line 11">
              <a:extLst>
                <a:ext uri="{FF2B5EF4-FFF2-40B4-BE49-F238E27FC236}">
                  <a16:creationId xmlns:a16="http://schemas.microsoft.com/office/drawing/2014/main" id="{2F52089F-23DB-4EF5-95A7-F03C9238A13C}"/>
                </a:ext>
              </a:extLst>
            </p:cNvPr>
            <p:cNvSpPr>
              <a:spLocks noChangeShapeType="1"/>
            </p:cNvSpPr>
            <p:nvPr/>
          </p:nvSpPr>
          <p:spPr bwMode="auto">
            <a:xfrm>
              <a:off x="702" y="1979"/>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49" name="Line 12">
              <a:extLst>
                <a:ext uri="{FF2B5EF4-FFF2-40B4-BE49-F238E27FC236}">
                  <a16:creationId xmlns:a16="http://schemas.microsoft.com/office/drawing/2014/main" id="{B5CE6650-9923-4D68-9A10-F743B0C69F11}"/>
                </a:ext>
              </a:extLst>
            </p:cNvPr>
            <p:cNvSpPr>
              <a:spLocks noChangeShapeType="1"/>
            </p:cNvSpPr>
            <p:nvPr/>
          </p:nvSpPr>
          <p:spPr bwMode="auto">
            <a:xfrm>
              <a:off x="702" y="2115"/>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50" name="Line 13">
              <a:extLst>
                <a:ext uri="{FF2B5EF4-FFF2-40B4-BE49-F238E27FC236}">
                  <a16:creationId xmlns:a16="http://schemas.microsoft.com/office/drawing/2014/main" id="{525D088D-E395-4A1E-BFC7-CB23AD1E5C7D}"/>
                </a:ext>
              </a:extLst>
            </p:cNvPr>
            <p:cNvSpPr>
              <a:spLocks noChangeShapeType="1"/>
            </p:cNvSpPr>
            <p:nvPr/>
          </p:nvSpPr>
          <p:spPr bwMode="auto">
            <a:xfrm>
              <a:off x="702" y="2251"/>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51" name="Line 14">
              <a:extLst>
                <a:ext uri="{FF2B5EF4-FFF2-40B4-BE49-F238E27FC236}">
                  <a16:creationId xmlns:a16="http://schemas.microsoft.com/office/drawing/2014/main" id="{62B973A4-81AA-4A01-A3B8-11F7950A8A5B}"/>
                </a:ext>
              </a:extLst>
            </p:cNvPr>
            <p:cNvSpPr>
              <a:spLocks noChangeShapeType="1"/>
            </p:cNvSpPr>
            <p:nvPr/>
          </p:nvSpPr>
          <p:spPr bwMode="auto">
            <a:xfrm>
              <a:off x="702" y="1570"/>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52" name="Line 15">
              <a:extLst>
                <a:ext uri="{FF2B5EF4-FFF2-40B4-BE49-F238E27FC236}">
                  <a16:creationId xmlns:a16="http://schemas.microsoft.com/office/drawing/2014/main" id="{24C3F355-510B-4720-A7FF-6706E319A7DC}"/>
                </a:ext>
              </a:extLst>
            </p:cNvPr>
            <p:cNvSpPr>
              <a:spLocks noChangeShapeType="1"/>
            </p:cNvSpPr>
            <p:nvPr/>
          </p:nvSpPr>
          <p:spPr bwMode="auto">
            <a:xfrm>
              <a:off x="702" y="1434"/>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53" name="Line 16">
              <a:extLst>
                <a:ext uri="{FF2B5EF4-FFF2-40B4-BE49-F238E27FC236}">
                  <a16:creationId xmlns:a16="http://schemas.microsoft.com/office/drawing/2014/main" id="{0794FD21-9701-4CCF-8504-4EDBB47D9BC6}"/>
                </a:ext>
              </a:extLst>
            </p:cNvPr>
            <p:cNvSpPr>
              <a:spLocks noChangeShapeType="1"/>
            </p:cNvSpPr>
            <p:nvPr/>
          </p:nvSpPr>
          <p:spPr bwMode="auto">
            <a:xfrm>
              <a:off x="702" y="1298"/>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54" name="Line 17">
              <a:extLst>
                <a:ext uri="{FF2B5EF4-FFF2-40B4-BE49-F238E27FC236}">
                  <a16:creationId xmlns:a16="http://schemas.microsoft.com/office/drawing/2014/main" id="{2DB2EDD8-F7C6-4F97-AF03-FB8141B5C99C}"/>
                </a:ext>
              </a:extLst>
            </p:cNvPr>
            <p:cNvSpPr>
              <a:spLocks noChangeShapeType="1"/>
            </p:cNvSpPr>
            <p:nvPr/>
          </p:nvSpPr>
          <p:spPr bwMode="auto">
            <a:xfrm>
              <a:off x="702" y="1162"/>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55" name="Line 18">
              <a:extLst>
                <a:ext uri="{FF2B5EF4-FFF2-40B4-BE49-F238E27FC236}">
                  <a16:creationId xmlns:a16="http://schemas.microsoft.com/office/drawing/2014/main" id="{202FBCBB-D433-474F-A9DA-D6029EA8DF03}"/>
                </a:ext>
              </a:extLst>
            </p:cNvPr>
            <p:cNvSpPr>
              <a:spLocks noChangeShapeType="1"/>
            </p:cNvSpPr>
            <p:nvPr/>
          </p:nvSpPr>
          <p:spPr bwMode="auto">
            <a:xfrm>
              <a:off x="702" y="2387"/>
              <a:ext cx="9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grpSp>
      <p:sp>
        <p:nvSpPr>
          <p:cNvPr id="1032" name="Line 19">
            <a:extLst>
              <a:ext uri="{FF2B5EF4-FFF2-40B4-BE49-F238E27FC236}">
                <a16:creationId xmlns:a16="http://schemas.microsoft.com/office/drawing/2014/main" id="{A438BF1B-DD02-4E65-8869-848415A36B15}"/>
              </a:ext>
            </a:extLst>
          </p:cNvPr>
          <p:cNvSpPr>
            <a:spLocks noChangeShapeType="1"/>
          </p:cNvSpPr>
          <p:nvPr/>
        </p:nvSpPr>
        <p:spPr bwMode="auto">
          <a:xfrm>
            <a:off x="1309688" y="3984625"/>
            <a:ext cx="0" cy="1655763"/>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1033" name="Line 20">
            <a:extLst>
              <a:ext uri="{FF2B5EF4-FFF2-40B4-BE49-F238E27FC236}">
                <a16:creationId xmlns:a16="http://schemas.microsoft.com/office/drawing/2014/main" id="{BD49BA2E-B7FF-4735-A203-BC3C0C77774D}"/>
              </a:ext>
            </a:extLst>
          </p:cNvPr>
          <p:cNvSpPr>
            <a:spLocks noChangeShapeType="1"/>
          </p:cNvSpPr>
          <p:nvPr/>
        </p:nvSpPr>
        <p:spPr bwMode="auto">
          <a:xfrm>
            <a:off x="1309688" y="5208588"/>
            <a:ext cx="8505825" cy="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l-GR"/>
          </a:p>
        </p:txBody>
      </p:sp>
      <p:sp>
        <p:nvSpPr>
          <p:cNvPr id="1034" name="Text Box 21">
            <a:extLst>
              <a:ext uri="{FF2B5EF4-FFF2-40B4-BE49-F238E27FC236}">
                <a16:creationId xmlns:a16="http://schemas.microsoft.com/office/drawing/2014/main" id="{C5C159DE-6541-465C-916F-D54742769D45}"/>
              </a:ext>
            </a:extLst>
          </p:cNvPr>
          <p:cNvSpPr txBox="1">
            <a:spLocks noChangeArrowheads="1"/>
          </p:cNvSpPr>
          <p:nvPr/>
        </p:nvSpPr>
        <p:spPr bwMode="auto">
          <a:xfrm>
            <a:off x="906463" y="1535113"/>
            <a:ext cx="404812" cy="240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90000"/>
              </a:lnSpc>
            </a:pPr>
            <a:r>
              <a:rPr lang="en-US" altLang="el-GR" sz="1200"/>
              <a:t>10</a:t>
            </a:r>
          </a:p>
          <a:p>
            <a:pPr>
              <a:lnSpc>
                <a:spcPct val="240000"/>
              </a:lnSpc>
            </a:pPr>
            <a:r>
              <a:rPr lang="en-US" altLang="el-GR" sz="1200"/>
              <a:t> 8</a:t>
            </a:r>
          </a:p>
          <a:p>
            <a:pPr>
              <a:lnSpc>
                <a:spcPct val="260000"/>
              </a:lnSpc>
            </a:pPr>
            <a:r>
              <a:rPr lang="en-US" altLang="el-GR" sz="1200"/>
              <a:t> 6 </a:t>
            </a:r>
          </a:p>
          <a:p>
            <a:pPr>
              <a:lnSpc>
                <a:spcPct val="90000"/>
              </a:lnSpc>
            </a:pPr>
            <a:endParaRPr lang="en-US" altLang="el-GR" sz="1200"/>
          </a:p>
          <a:p>
            <a:r>
              <a:rPr lang="en-US" altLang="el-GR" sz="1200"/>
              <a:t> 4</a:t>
            </a:r>
          </a:p>
          <a:p>
            <a:pPr>
              <a:lnSpc>
                <a:spcPct val="270000"/>
              </a:lnSpc>
            </a:pPr>
            <a:r>
              <a:rPr lang="en-US" altLang="el-GR" sz="1200"/>
              <a:t> 2</a:t>
            </a:r>
            <a:endParaRPr lang="el-GR" altLang="el-GR" sz="1200"/>
          </a:p>
          <a:p>
            <a:endParaRPr lang="el-GR" altLang="el-GR" sz="1200"/>
          </a:p>
        </p:txBody>
      </p:sp>
      <p:sp>
        <p:nvSpPr>
          <p:cNvPr id="1035" name="Line 22">
            <a:extLst>
              <a:ext uri="{FF2B5EF4-FFF2-40B4-BE49-F238E27FC236}">
                <a16:creationId xmlns:a16="http://schemas.microsoft.com/office/drawing/2014/main" id="{3581EEFA-C3B5-435E-B9DC-A2D390FC5287}"/>
              </a:ext>
            </a:extLst>
          </p:cNvPr>
          <p:cNvSpPr>
            <a:spLocks noChangeShapeType="1"/>
          </p:cNvSpPr>
          <p:nvPr/>
        </p:nvSpPr>
        <p:spPr bwMode="auto">
          <a:xfrm>
            <a:off x="1398588" y="1392238"/>
            <a:ext cx="2592387" cy="0"/>
          </a:xfrm>
          <a:prstGeom prst="line">
            <a:avLst/>
          </a:prstGeom>
          <a:noFill/>
          <a:ln w="57150">
            <a:solidFill>
              <a:schemeClr val="tx1"/>
            </a:solidFill>
            <a:round/>
            <a:headEnd type="none" w="sm" len="sm"/>
            <a:tailEnd type="triangle" w="sm" len="sm"/>
          </a:ln>
          <a:extLst>
            <a:ext uri="{909E8E84-426E-40DD-AFC4-6F175D3DCCD1}">
              <a14:hiddenFill xmlns:a14="http://schemas.microsoft.com/office/drawing/2010/main">
                <a:noFill/>
              </a14:hiddenFill>
            </a:ext>
          </a:extLst>
        </p:spPr>
        <p:txBody>
          <a:bodyPr/>
          <a:lstStyle/>
          <a:p>
            <a:endParaRPr lang="el-GR"/>
          </a:p>
        </p:txBody>
      </p:sp>
      <p:sp>
        <p:nvSpPr>
          <p:cNvPr id="1036" name="Text Box 23">
            <a:extLst>
              <a:ext uri="{FF2B5EF4-FFF2-40B4-BE49-F238E27FC236}">
                <a16:creationId xmlns:a16="http://schemas.microsoft.com/office/drawing/2014/main" id="{1D6C1957-6B0F-4484-B68C-1A6F771BD689}"/>
              </a:ext>
            </a:extLst>
          </p:cNvPr>
          <p:cNvSpPr txBox="1">
            <a:spLocks noChangeArrowheads="1"/>
          </p:cNvSpPr>
          <p:nvPr/>
        </p:nvSpPr>
        <p:spPr bwMode="auto">
          <a:xfrm>
            <a:off x="679450" y="630238"/>
            <a:ext cx="887571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sz="1600" b="1"/>
              <a:t>Φάση πολλαπλασια-     Φάση κάθαρσης   Φάση ανενεργού     Φάση επανενεργοποίησης </a:t>
            </a:r>
          </a:p>
          <a:p>
            <a:r>
              <a:rPr lang="el-GR" altLang="el-GR" sz="1600" b="1"/>
              <a:t>σμού ή ανοσοανοχής       </a:t>
            </a:r>
            <a:r>
              <a:rPr lang="en-US" altLang="el-GR" sz="1600" b="1"/>
              <a:t>    HBeAg*</a:t>
            </a:r>
            <a:r>
              <a:rPr lang="el-GR" altLang="el-GR" sz="1600" b="1"/>
              <a:t>           </a:t>
            </a:r>
            <a:r>
              <a:rPr lang="en-US" altLang="el-GR" sz="1600" b="1"/>
              <a:t>   </a:t>
            </a:r>
            <a:r>
              <a:rPr lang="el-GR" altLang="el-GR" sz="1600" b="1"/>
              <a:t>φορίας </a:t>
            </a:r>
            <a:r>
              <a:rPr lang="en-US" altLang="el-GR" sz="1600" b="1"/>
              <a:t>HBV</a:t>
            </a:r>
            <a:r>
              <a:rPr lang="el-GR" altLang="el-GR" sz="1600" b="1"/>
              <a:t>               -πολλαπλασιασμού</a:t>
            </a:r>
            <a:r>
              <a:rPr lang="en-US" altLang="el-GR" sz="1600" b="1"/>
              <a:t>*</a:t>
            </a:r>
            <a:endParaRPr lang="el-GR" altLang="el-GR" sz="1600" b="1"/>
          </a:p>
        </p:txBody>
      </p:sp>
      <p:sp>
        <p:nvSpPr>
          <p:cNvPr id="1037" name="Text Box 24">
            <a:extLst>
              <a:ext uri="{FF2B5EF4-FFF2-40B4-BE49-F238E27FC236}">
                <a16:creationId xmlns:a16="http://schemas.microsoft.com/office/drawing/2014/main" id="{CB73B9C7-F23A-4355-A0B1-5C6C2BE22CC8}"/>
              </a:ext>
            </a:extLst>
          </p:cNvPr>
          <p:cNvSpPr txBox="1">
            <a:spLocks noChangeArrowheads="1"/>
          </p:cNvSpPr>
          <p:nvPr/>
        </p:nvSpPr>
        <p:spPr bwMode="auto">
          <a:xfrm>
            <a:off x="2335213" y="3454400"/>
            <a:ext cx="72072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defTabSz="762000">
              <a:defRPr sz="2400">
                <a:solidFill>
                  <a:schemeClr val="tx1"/>
                </a:solidFill>
                <a:latin typeface="Arial" panose="020B0604020202020204" pitchFamily="34" charset="0"/>
              </a:defRPr>
            </a:lvl1pPr>
            <a:lvl2pPr marL="742950" indent="-285750" defTabSz="762000">
              <a:defRPr sz="2400">
                <a:solidFill>
                  <a:schemeClr val="tx1"/>
                </a:solidFill>
                <a:latin typeface="Arial" panose="020B0604020202020204" pitchFamily="34" charset="0"/>
              </a:defRPr>
            </a:lvl2pPr>
            <a:lvl3pPr marL="1143000" indent="-228600" defTabSz="762000">
              <a:defRPr sz="2400">
                <a:solidFill>
                  <a:schemeClr val="tx1"/>
                </a:solidFill>
                <a:latin typeface="Arial" panose="020B0604020202020204" pitchFamily="34" charset="0"/>
              </a:defRPr>
            </a:lvl3pPr>
            <a:lvl4pPr marL="1600200" indent="-228600" defTabSz="762000">
              <a:defRPr sz="2400">
                <a:solidFill>
                  <a:schemeClr val="tx1"/>
                </a:solidFill>
                <a:latin typeface="Arial" panose="020B0604020202020204" pitchFamily="34" charset="0"/>
              </a:defRPr>
            </a:lvl4pPr>
            <a:lvl5pPr marL="2057400" indent="-228600" defTabSz="762000">
              <a:defRPr sz="2400">
                <a:solidFill>
                  <a:schemeClr val="tx1"/>
                </a:solidFill>
                <a:latin typeface="Arial" panose="020B0604020202020204" pitchFamily="34" charset="0"/>
              </a:defRPr>
            </a:lvl5pPr>
            <a:lvl6pPr marL="2514600" indent="-228600" defTabSz="762000"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762000"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762000"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7620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b="1">
                <a:solidFill>
                  <a:schemeClr val="tx2"/>
                </a:solidFill>
              </a:rPr>
              <a:t>    HBeAg(+)ΧHB          </a:t>
            </a:r>
            <a:r>
              <a:rPr lang="en-US" altLang="el-GR" b="1">
                <a:solidFill>
                  <a:schemeClr val="tx2"/>
                </a:solidFill>
              </a:rPr>
              <a:t> </a:t>
            </a:r>
            <a:r>
              <a:rPr lang="el-GR" altLang="el-GR" b="1">
                <a:solidFill>
                  <a:schemeClr val="tx2"/>
                </a:solidFill>
              </a:rPr>
              <a:t>           </a:t>
            </a:r>
            <a:r>
              <a:rPr lang="en-US" altLang="el-GR" b="1">
                <a:solidFill>
                  <a:schemeClr val="tx2"/>
                </a:solidFill>
              </a:rPr>
              <a:t>    </a:t>
            </a:r>
            <a:r>
              <a:rPr lang="el-GR" altLang="el-GR" b="1">
                <a:solidFill>
                  <a:schemeClr val="tx2"/>
                </a:solidFill>
              </a:rPr>
              <a:t>     HBeAg(-)ΧHB</a:t>
            </a:r>
          </a:p>
        </p:txBody>
      </p:sp>
      <p:grpSp>
        <p:nvGrpSpPr>
          <p:cNvPr id="1038" name="Group 25">
            <a:extLst>
              <a:ext uri="{FF2B5EF4-FFF2-40B4-BE49-F238E27FC236}">
                <a16:creationId xmlns:a16="http://schemas.microsoft.com/office/drawing/2014/main" id="{D6196253-EDE7-4DD5-B641-8F342179A2BD}"/>
              </a:ext>
            </a:extLst>
          </p:cNvPr>
          <p:cNvGrpSpPr>
            <a:grpSpLocks/>
          </p:cNvGrpSpPr>
          <p:nvPr/>
        </p:nvGrpSpPr>
        <p:grpSpPr bwMode="auto">
          <a:xfrm>
            <a:off x="2695575" y="1293813"/>
            <a:ext cx="6915150" cy="5327650"/>
            <a:chOff x="1652" y="618"/>
            <a:chExt cx="4356" cy="3356"/>
          </a:xfrm>
        </p:grpSpPr>
        <p:sp>
          <p:nvSpPr>
            <p:cNvPr id="1043" name="Oval 26">
              <a:extLst>
                <a:ext uri="{FF2B5EF4-FFF2-40B4-BE49-F238E27FC236}">
                  <a16:creationId xmlns:a16="http://schemas.microsoft.com/office/drawing/2014/main" id="{3573142D-5504-4C81-8D73-8EFFEFC1DE0C}"/>
                </a:ext>
              </a:extLst>
            </p:cNvPr>
            <p:cNvSpPr>
              <a:spLocks noChangeArrowheads="1"/>
            </p:cNvSpPr>
            <p:nvPr/>
          </p:nvSpPr>
          <p:spPr bwMode="auto">
            <a:xfrm>
              <a:off x="1652" y="618"/>
              <a:ext cx="1361" cy="3311"/>
            </a:xfrm>
            <a:prstGeom prst="ellipse">
              <a:avLst/>
            </a:prstGeom>
            <a:noFill/>
            <a:ln w="57150">
              <a:solidFill>
                <a:schemeClr val="accent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ltLang="el-GR"/>
            </a:p>
          </p:txBody>
        </p:sp>
        <p:sp>
          <p:nvSpPr>
            <p:cNvPr id="1044" name="Oval 27">
              <a:extLst>
                <a:ext uri="{FF2B5EF4-FFF2-40B4-BE49-F238E27FC236}">
                  <a16:creationId xmlns:a16="http://schemas.microsoft.com/office/drawing/2014/main" id="{ED7BE102-ADAB-4D45-9E86-61665401B0D6}"/>
                </a:ext>
              </a:extLst>
            </p:cNvPr>
            <p:cNvSpPr>
              <a:spLocks noChangeArrowheads="1"/>
            </p:cNvSpPr>
            <p:nvPr/>
          </p:nvSpPr>
          <p:spPr bwMode="auto">
            <a:xfrm>
              <a:off x="4510" y="663"/>
              <a:ext cx="1498" cy="3311"/>
            </a:xfrm>
            <a:prstGeom prst="ellipse">
              <a:avLst/>
            </a:prstGeom>
            <a:noFill/>
            <a:ln w="57150">
              <a:solidFill>
                <a:schemeClr val="accent1"/>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endParaRPr lang="el-GR" altLang="el-GR"/>
            </a:p>
          </p:txBody>
        </p:sp>
      </p:grpSp>
      <p:sp>
        <p:nvSpPr>
          <p:cNvPr id="1039" name="Text Box 28">
            <a:extLst>
              <a:ext uri="{FF2B5EF4-FFF2-40B4-BE49-F238E27FC236}">
                <a16:creationId xmlns:a16="http://schemas.microsoft.com/office/drawing/2014/main" id="{D42DB460-B45A-423F-BBA7-778C33E30C67}"/>
              </a:ext>
            </a:extLst>
          </p:cNvPr>
          <p:cNvSpPr txBox="1">
            <a:spLocks noChangeArrowheads="1"/>
          </p:cNvSpPr>
          <p:nvPr/>
        </p:nvSpPr>
        <p:spPr bwMode="auto">
          <a:xfrm>
            <a:off x="1327150" y="115888"/>
            <a:ext cx="75517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defTabSz="762000">
              <a:defRPr sz="2400">
                <a:solidFill>
                  <a:schemeClr val="tx1"/>
                </a:solidFill>
                <a:latin typeface="Arial" panose="020B0604020202020204" pitchFamily="34" charset="0"/>
              </a:defRPr>
            </a:lvl1pPr>
            <a:lvl2pPr marL="742950" indent="-285750" defTabSz="762000">
              <a:defRPr sz="2400">
                <a:solidFill>
                  <a:schemeClr val="tx1"/>
                </a:solidFill>
                <a:latin typeface="Arial" panose="020B0604020202020204" pitchFamily="34" charset="0"/>
              </a:defRPr>
            </a:lvl2pPr>
            <a:lvl3pPr marL="1143000" indent="-228600" defTabSz="762000">
              <a:defRPr sz="2400">
                <a:solidFill>
                  <a:schemeClr val="tx1"/>
                </a:solidFill>
                <a:latin typeface="Arial" panose="020B0604020202020204" pitchFamily="34" charset="0"/>
              </a:defRPr>
            </a:lvl3pPr>
            <a:lvl4pPr marL="1600200" indent="-228600" defTabSz="762000">
              <a:defRPr sz="2400">
                <a:solidFill>
                  <a:schemeClr val="tx1"/>
                </a:solidFill>
                <a:latin typeface="Arial" panose="020B0604020202020204" pitchFamily="34" charset="0"/>
              </a:defRPr>
            </a:lvl4pPr>
            <a:lvl5pPr marL="2057400" indent="-228600" defTabSz="762000">
              <a:defRPr sz="2400">
                <a:solidFill>
                  <a:schemeClr val="tx1"/>
                </a:solidFill>
                <a:latin typeface="Arial" panose="020B0604020202020204" pitchFamily="34" charset="0"/>
              </a:defRPr>
            </a:lvl5pPr>
            <a:lvl6pPr marL="2514600" indent="-228600" defTabSz="762000"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762000"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762000"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7620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sz="2800" b="1">
                <a:solidFill>
                  <a:schemeClr val="tx2"/>
                </a:solidFill>
              </a:rPr>
              <a:t>ΦΥΣΙΚΗ ΠΟΡΕΙΑ ΧΡΟΝΙΑΣ HBV ΛΟΙΜΩΞΗΣ</a:t>
            </a:r>
            <a:endParaRPr lang="el-GR" altLang="el-GR" sz="2800" b="1"/>
          </a:p>
        </p:txBody>
      </p:sp>
      <p:sp>
        <p:nvSpPr>
          <p:cNvPr id="1040" name="Text Box 29">
            <a:extLst>
              <a:ext uri="{FF2B5EF4-FFF2-40B4-BE49-F238E27FC236}">
                <a16:creationId xmlns:a16="http://schemas.microsoft.com/office/drawing/2014/main" id="{EBB6FB87-ECB3-4539-87C2-6BE15C845931}"/>
              </a:ext>
            </a:extLst>
          </p:cNvPr>
          <p:cNvSpPr txBox="1">
            <a:spLocks noChangeArrowheads="1"/>
          </p:cNvSpPr>
          <p:nvPr/>
        </p:nvSpPr>
        <p:spPr bwMode="auto">
          <a:xfrm>
            <a:off x="6656388" y="6453188"/>
            <a:ext cx="36306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1600" b="1">
                <a:solidFill>
                  <a:schemeClr val="tx2"/>
                </a:solidFill>
              </a:rPr>
              <a:t>*Φάσεις με ανοσιακή αντίδραση</a:t>
            </a:r>
          </a:p>
        </p:txBody>
      </p:sp>
      <p:sp>
        <p:nvSpPr>
          <p:cNvPr id="1041" name="Text Box 30">
            <a:extLst>
              <a:ext uri="{FF2B5EF4-FFF2-40B4-BE49-F238E27FC236}">
                <a16:creationId xmlns:a16="http://schemas.microsoft.com/office/drawing/2014/main" id="{AD4AD548-6A12-461D-944C-019531784D2E}"/>
              </a:ext>
            </a:extLst>
          </p:cNvPr>
          <p:cNvSpPr txBox="1">
            <a:spLocks noChangeArrowheads="1"/>
          </p:cNvSpPr>
          <p:nvPr/>
        </p:nvSpPr>
        <p:spPr bwMode="auto">
          <a:xfrm>
            <a:off x="606425" y="5589588"/>
            <a:ext cx="90805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sz="1600" b="1"/>
              <a:t>  Φυσιολογικό ήπαρ/  Μέτρια-Σοβαρή ΧΗ    </a:t>
            </a:r>
            <a:r>
              <a:rPr lang="en-US" altLang="el-GR" sz="1600" b="1"/>
              <a:t>  </a:t>
            </a:r>
            <a:r>
              <a:rPr lang="el-GR" altLang="el-GR" sz="1600" b="1"/>
              <a:t>  Φυσιολογικό ήπαρ     </a:t>
            </a:r>
            <a:r>
              <a:rPr lang="en-US" altLang="el-GR" sz="1600" b="1"/>
              <a:t>    </a:t>
            </a:r>
            <a:r>
              <a:rPr lang="el-GR" altLang="el-GR" sz="1600" b="1"/>
              <a:t> Μέτρια-Σοβαρή ΧΗ    </a:t>
            </a:r>
          </a:p>
          <a:p>
            <a:r>
              <a:rPr lang="en-US" altLang="el-GR" sz="1600" b="1"/>
              <a:t>        </a:t>
            </a:r>
            <a:r>
              <a:rPr lang="el-GR" altLang="el-GR" sz="1600" b="1"/>
              <a:t>Ελάχιστες        </a:t>
            </a:r>
            <a:r>
              <a:rPr lang="en-US" altLang="el-GR" sz="1600" b="1"/>
              <a:t>         </a:t>
            </a:r>
            <a:r>
              <a:rPr lang="el-GR" altLang="el-GR" sz="1600" b="1"/>
              <a:t> /Κίρρωση            </a:t>
            </a:r>
            <a:r>
              <a:rPr lang="en-US" altLang="el-GR" sz="1600" b="1"/>
              <a:t>   </a:t>
            </a:r>
            <a:r>
              <a:rPr lang="el-GR" altLang="el-GR" sz="1600" b="1"/>
              <a:t>/Ελάχιστες αλλοιώσεις           /Κίρρωση</a:t>
            </a:r>
          </a:p>
          <a:p>
            <a:r>
              <a:rPr lang="el-GR" altLang="el-GR" sz="1600" b="1"/>
              <a:t>   </a:t>
            </a:r>
            <a:r>
              <a:rPr lang="en-US" altLang="el-GR" sz="1600" b="1"/>
              <a:t>   </a:t>
            </a:r>
            <a:r>
              <a:rPr lang="el-GR" altLang="el-GR" sz="1600" b="1"/>
              <a:t>αλλοιώσεις                                                    /Ανενεργός κίρρωση</a:t>
            </a:r>
            <a:endParaRPr lang="en-US" altLang="el-GR" sz="1600" b="1"/>
          </a:p>
        </p:txBody>
      </p:sp>
      <p:sp>
        <p:nvSpPr>
          <p:cNvPr id="1042" name="Text Box 31">
            <a:extLst>
              <a:ext uri="{FF2B5EF4-FFF2-40B4-BE49-F238E27FC236}">
                <a16:creationId xmlns:a16="http://schemas.microsoft.com/office/drawing/2014/main" id="{FB2CCC89-7694-4FCC-89CF-41F25FE7D540}"/>
              </a:ext>
            </a:extLst>
          </p:cNvPr>
          <p:cNvSpPr txBox="1">
            <a:spLocks noChangeArrowheads="1"/>
          </p:cNvSpPr>
          <p:nvPr/>
        </p:nvSpPr>
        <p:spPr bwMode="auto">
          <a:xfrm>
            <a:off x="100013" y="6551613"/>
            <a:ext cx="51530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1400" b="1">
                <a:solidFill>
                  <a:schemeClr val="accent2"/>
                </a:solidFill>
              </a:rPr>
              <a:t>Papatheodoridis GV et al. Lancet Infect Dis 2008; 8: 167-78</a:t>
            </a:r>
            <a:endParaRPr lang="el-GR" altLang="el-GR" sz="1400" b="1">
              <a:solidFill>
                <a:schemeClr val="accent2"/>
              </a:solidFill>
            </a:endParaRPr>
          </a:p>
        </p:txBody>
      </p:sp>
    </p:spTree>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B7C5E-EFD9-40A5-BAA6-6FC23D37CAC0}"/>
              </a:ext>
            </a:extLst>
          </p:cNvPr>
          <p:cNvSpPr>
            <a:spLocks noGrp="1"/>
          </p:cNvSpPr>
          <p:nvPr>
            <p:ph type="title"/>
          </p:nvPr>
        </p:nvSpPr>
        <p:spPr>
          <a:xfrm>
            <a:off x="735520" y="173863"/>
            <a:ext cx="8743950" cy="878873"/>
          </a:xfrm>
        </p:spPr>
        <p:txBody>
          <a:bodyPr/>
          <a:lstStyle/>
          <a:p>
            <a:r>
              <a:rPr lang="en-US" sz="3600" b="1" dirty="0"/>
              <a:t>To </a:t>
            </a:r>
            <a:r>
              <a:rPr lang="el-GR" sz="3600" b="1" dirty="0"/>
              <a:t>ταξίδι της ηπατίτιδας Β</a:t>
            </a:r>
          </a:p>
        </p:txBody>
      </p:sp>
      <p:sp>
        <p:nvSpPr>
          <p:cNvPr id="3" name="Content Placeholder 2">
            <a:extLst>
              <a:ext uri="{FF2B5EF4-FFF2-40B4-BE49-F238E27FC236}">
                <a16:creationId xmlns:a16="http://schemas.microsoft.com/office/drawing/2014/main" id="{5983FDFB-751D-400D-853C-A970AF1DDE47}"/>
              </a:ext>
            </a:extLst>
          </p:cNvPr>
          <p:cNvSpPr>
            <a:spLocks noGrp="1"/>
          </p:cNvSpPr>
          <p:nvPr>
            <p:ph sz="half" idx="1"/>
          </p:nvPr>
        </p:nvSpPr>
        <p:spPr>
          <a:xfrm>
            <a:off x="498984" y="980728"/>
            <a:ext cx="9469052" cy="5463480"/>
          </a:xfrm>
        </p:spPr>
        <p:txBody>
          <a:bodyPr/>
          <a:lstStyle/>
          <a:p>
            <a:r>
              <a:rPr lang="el-GR" sz="2400" dirty="0"/>
              <a:t>1963 – ανακάλυψη «Αυστραλιανού Αντιγόνου» = ΗΒ</a:t>
            </a:r>
            <a:r>
              <a:rPr lang="en-US" sz="2400" dirty="0" err="1"/>
              <a:t>sAg</a:t>
            </a:r>
            <a:r>
              <a:rPr lang="el-GR" sz="2400" dirty="0"/>
              <a:t> (</a:t>
            </a:r>
            <a:r>
              <a:rPr lang="en-US" sz="2400" dirty="0"/>
              <a:t>1967</a:t>
            </a:r>
            <a:r>
              <a:rPr lang="el-GR" sz="2400" dirty="0"/>
              <a:t>)</a:t>
            </a:r>
            <a:r>
              <a:rPr lang="en-US" sz="2400" dirty="0"/>
              <a:t> </a:t>
            </a:r>
            <a:r>
              <a:rPr lang="el-GR" sz="2400" dirty="0"/>
              <a:t>- </a:t>
            </a:r>
            <a:r>
              <a:rPr lang="en-US" sz="2400" dirty="0"/>
              <a:t>Dr Blumberg (1976 </a:t>
            </a:r>
            <a:r>
              <a:rPr lang="el-GR" sz="2400" dirty="0"/>
              <a:t>Βραβείο</a:t>
            </a:r>
            <a:r>
              <a:rPr lang="en-US" sz="2400" dirty="0"/>
              <a:t> Nobel</a:t>
            </a:r>
            <a:r>
              <a:rPr lang="el-GR" sz="2400" dirty="0"/>
              <a:t>)</a:t>
            </a:r>
            <a:endParaRPr lang="en-US" sz="2400" dirty="0"/>
          </a:p>
          <a:p>
            <a:pPr>
              <a:spcBef>
                <a:spcPts val="1200"/>
              </a:spcBef>
            </a:pPr>
            <a:r>
              <a:rPr lang="el-GR" sz="2400" dirty="0"/>
              <a:t>1969 – Εμβόλιο από πλάσμα φορέων</a:t>
            </a:r>
            <a:r>
              <a:rPr lang="en-US" sz="2400" dirty="0"/>
              <a:t> </a:t>
            </a:r>
            <a:r>
              <a:rPr lang="el-GR" sz="2400" dirty="0"/>
              <a:t>- </a:t>
            </a:r>
            <a:r>
              <a:rPr lang="en-US" sz="2400" dirty="0"/>
              <a:t>Dr Blumberg &amp; </a:t>
            </a:r>
            <a:r>
              <a:rPr lang="en-US" sz="2400" dirty="0" err="1"/>
              <a:t>Millman</a:t>
            </a:r>
            <a:endParaRPr lang="en-US" sz="2400" dirty="0"/>
          </a:p>
          <a:p>
            <a:pPr>
              <a:spcBef>
                <a:spcPts val="1200"/>
              </a:spcBef>
            </a:pPr>
            <a:r>
              <a:rPr lang="el-GR" sz="2400" dirty="0"/>
              <a:t>1981 – Καταστροφικές επιδράσεις στεροειδών σε </a:t>
            </a:r>
            <a:r>
              <a:rPr lang="en-US" sz="2400" dirty="0"/>
              <a:t>HBV </a:t>
            </a:r>
            <a:r>
              <a:rPr lang="el-GR" sz="2400" dirty="0"/>
              <a:t>λοίμωξη </a:t>
            </a:r>
          </a:p>
          <a:p>
            <a:pPr>
              <a:spcBef>
                <a:spcPts val="1200"/>
              </a:spcBef>
            </a:pPr>
            <a:r>
              <a:rPr lang="el-GR" sz="2400" dirty="0"/>
              <a:t>198</a:t>
            </a:r>
            <a:r>
              <a:rPr lang="en-US" sz="2400" dirty="0"/>
              <a:t>2 – E</a:t>
            </a:r>
            <a:r>
              <a:rPr lang="el-GR" sz="2400" dirty="0"/>
              <a:t>μπορικά διαθέσιμο εμβόλιο από πλάσμα φορέων</a:t>
            </a:r>
          </a:p>
          <a:p>
            <a:pPr>
              <a:spcBef>
                <a:spcPts val="1200"/>
              </a:spcBef>
            </a:pPr>
            <a:r>
              <a:rPr lang="el-GR" sz="2400" dirty="0"/>
              <a:t>1983 </a:t>
            </a:r>
            <a:r>
              <a:rPr lang="en-US" sz="2400" dirty="0"/>
              <a:t>–</a:t>
            </a:r>
            <a:r>
              <a:rPr lang="el-GR" sz="2400" dirty="0"/>
              <a:t> </a:t>
            </a:r>
            <a:r>
              <a:rPr lang="en-US" sz="2400" dirty="0" err="1"/>
              <a:t>HBeAg</a:t>
            </a:r>
            <a:r>
              <a:rPr lang="en-US" sz="2400" dirty="0"/>
              <a:t>-</a:t>
            </a:r>
            <a:r>
              <a:rPr lang="el-GR" sz="2400" dirty="0"/>
              <a:t>αρνητ. ΧΗΒ (1989 - προπυρηνικές μεταλλαγές)</a:t>
            </a:r>
          </a:p>
          <a:p>
            <a:pPr>
              <a:spcBef>
                <a:spcPts val="1200"/>
              </a:spcBef>
            </a:pPr>
            <a:r>
              <a:rPr lang="el-GR" sz="2400" dirty="0"/>
              <a:t>1988</a:t>
            </a:r>
            <a:r>
              <a:rPr lang="en-US" sz="2400" dirty="0"/>
              <a:t> – </a:t>
            </a:r>
            <a:r>
              <a:rPr lang="el-GR" sz="2400" dirty="0"/>
              <a:t>Ανασυνδυασμένο εμβόλιο  </a:t>
            </a:r>
          </a:p>
          <a:p>
            <a:pPr>
              <a:spcBef>
                <a:spcPts val="1200"/>
              </a:spcBef>
            </a:pPr>
            <a:r>
              <a:rPr lang="en-US" sz="2400" dirty="0"/>
              <a:t>1988 – </a:t>
            </a:r>
            <a:r>
              <a:rPr lang="el-GR" sz="2400" dirty="0"/>
              <a:t>Ιντερφερόνη-άλφα για ΧΗΒ</a:t>
            </a:r>
          </a:p>
          <a:p>
            <a:pPr>
              <a:spcBef>
                <a:spcPts val="1200"/>
              </a:spcBef>
            </a:pPr>
            <a:r>
              <a:rPr lang="el-GR" sz="2400" dirty="0"/>
              <a:t>1998 – Αντιικό (λαμιβουδίνη) για </a:t>
            </a:r>
            <a:r>
              <a:rPr lang="en-US" sz="2400" dirty="0"/>
              <a:t>HBV</a:t>
            </a:r>
          </a:p>
          <a:p>
            <a:pPr>
              <a:spcBef>
                <a:spcPts val="1200"/>
              </a:spcBef>
            </a:pPr>
            <a:r>
              <a:rPr lang="en-US" sz="2400" dirty="0"/>
              <a:t>2004 – </a:t>
            </a:r>
            <a:r>
              <a:rPr lang="el-GR" sz="2400" dirty="0"/>
              <a:t>Αντιικό υψηλού γενετικού φραγμού </a:t>
            </a:r>
            <a:r>
              <a:rPr lang="en-US" sz="2400" dirty="0"/>
              <a:t>(</a:t>
            </a:r>
            <a:r>
              <a:rPr lang="el-GR" sz="2400" dirty="0"/>
              <a:t>εντεκαβίρη) για </a:t>
            </a:r>
            <a:r>
              <a:rPr lang="en-US" sz="2400" dirty="0"/>
              <a:t>HBV</a:t>
            </a:r>
          </a:p>
          <a:p>
            <a:pPr>
              <a:spcBef>
                <a:spcPts val="1200"/>
              </a:spcBef>
            </a:pPr>
            <a:r>
              <a:rPr lang="en-US" sz="2400" dirty="0">
                <a:solidFill>
                  <a:schemeClr val="tx1">
                    <a:lumMod val="65000"/>
                  </a:schemeClr>
                </a:solidFill>
              </a:rPr>
              <a:t>202</a:t>
            </a:r>
            <a:r>
              <a:rPr lang="el-GR" sz="2400" dirty="0">
                <a:solidFill>
                  <a:schemeClr val="tx1">
                    <a:lumMod val="65000"/>
                  </a:schemeClr>
                </a:solidFill>
              </a:rPr>
              <a:t>3</a:t>
            </a:r>
            <a:r>
              <a:rPr lang="en-US" sz="2400" dirty="0">
                <a:solidFill>
                  <a:schemeClr val="tx1">
                    <a:lumMod val="65000"/>
                  </a:schemeClr>
                </a:solidFill>
              </a:rPr>
              <a:t> – </a:t>
            </a:r>
            <a:r>
              <a:rPr lang="el-GR" sz="2400" dirty="0">
                <a:solidFill>
                  <a:schemeClr val="tx1">
                    <a:lumMod val="65000"/>
                  </a:schemeClr>
                </a:solidFill>
              </a:rPr>
              <a:t>Συνδυασμοί «λειτουργικής» κάθαρσης </a:t>
            </a:r>
            <a:r>
              <a:rPr lang="en-US" sz="2400" dirty="0">
                <a:solidFill>
                  <a:schemeClr val="tx1">
                    <a:lumMod val="65000"/>
                  </a:schemeClr>
                </a:solidFill>
              </a:rPr>
              <a:t>HBV? </a:t>
            </a:r>
            <a:endParaRPr lang="el-GR" sz="2400" dirty="0">
              <a:solidFill>
                <a:schemeClr val="tx1">
                  <a:lumMod val="65000"/>
                </a:schemeClr>
              </a:solidFill>
            </a:endParaRPr>
          </a:p>
        </p:txBody>
      </p:sp>
    </p:spTree>
    <p:extLst>
      <p:ext uri="{BB962C8B-B14F-4D97-AF65-F5344CB8AC3E}">
        <p14:creationId xmlns:p14="http://schemas.microsoft.com/office/powerpoint/2010/main" val="22251258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3" name="Rectangle 3">
            <a:extLst>
              <a:ext uri="{FF2B5EF4-FFF2-40B4-BE49-F238E27FC236}">
                <a16:creationId xmlns:a16="http://schemas.microsoft.com/office/drawing/2014/main" id="{BAC10098-6185-4C80-8754-A182A06D3D3D}"/>
              </a:ext>
            </a:extLst>
          </p:cNvPr>
          <p:cNvSpPr>
            <a:spLocks noChangeArrowheads="1"/>
          </p:cNvSpPr>
          <p:nvPr/>
        </p:nvSpPr>
        <p:spPr bwMode="auto">
          <a:xfrm>
            <a:off x="1851026" y="2000251"/>
            <a:ext cx="7026275" cy="6740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762000">
              <a:defRPr>
                <a:solidFill>
                  <a:schemeClr val="tx1"/>
                </a:solidFill>
                <a:latin typeface="Calibri" panose="020F0502020204030204" pitchFamily="34" charset="0"/>
                <a:cs typeface="Arial" panose="020B0604020202020204" pitchFamily="34" charset="0"/>
              </a:defRPr>
            </a:lvl1pPr>
            <a:lvl2pPr marL="742950" indent="-285750" defTabSz="762000">
              <a:defRPr>
                <a:solidFill>
                  <a:schemeClr val="tx1"/>
                </a:solidFill>
                <a:latin typeface="Calibri" panose="020F0502020204030204" pitchFamily="34" charset="0"/>
                <a:cs typeface="Arial" panose="020B0604020202020204" pitchFamily="34" charset="0"/>
              </a:defRPr>
            </a:lvl2pPr>
            <a:lvl3pPr marL="1143000" indent="-228600" defTabSz="762000">
              <a:defRPr>
                <a:solidFill>
                  <a:schemeClr val="tx1"/>
                </a:solidFill>
                <a:latin typeface="Calibri" panose="020F0502020204030204" pitchFamily="34" charset="0"/>
                <a:cs typeface="Arial" panose="020B0604020202020204" pitchFamily="34" charset="0"/>
              </a:defRPr>
            </a:lvl3pPr>
            <a:lvl4pPr marL="1600200" indent="-228600" defTabSz="762000">
              <a:defRPr>
                <a:solidFill>
                  <a:schemeClr val="tx1"/>
                </a:solidFill>
                <a:latin typeface="Calibri" panose="020F0502020204030204" pitchFamily="34" charset="0"/>
                <a:cs typeface="Arial" panose="020B0604020202020204" pitchFamily="34" charset="0"/>
              </a:defRPr>
            </a:lvl4pPr>
            <a:lvl5pPr marL="2057400" indent="-228600" defTabSz="762000">
              <a:defRPr>
                <a:solidFill>
                  <a:schemeClr val="tx1"/>
                </a:solidFill>
                <a:latin typeface="Calibri" panose="020F050202020403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a:p>
            <a:endParaRPr lang="el-GR" altLang="el-GR"/>
          </a:p>
        </p:txBody>
      </p:sp>
      <p:sp>
        <p:nvSpPr>
          <p:cNvPr id="92164" name="Text Box 4">
            <a:extLst>
              <a:ext uri="{FF2B5EF4-FFF2-40B4-BE49-F238E27FC236}">
                <a16:creationId xmlns:a16="http://schemas.microsoft.com/office/drawing/2014/main" id="{CFE7DE92-61DD-446F-B2D8-D3F84DFFDF1D}"/>
              </a:ext>
            </a:extLst>
          </p:cNvPr>
          <p:cNvSpPr txBox="1">
            <a:spLocks noChangeArrowheads="1"/>
          </p:cNvSpPr>
          <p:nvPr/>
        </p:nvSpPr>
        <p:spPr bwMode="auto">
          <a:xfrm>
            <a:off x="919164" y="1772692"/>
            <a:ext cx="879475" cy="459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defTabSz="762000">
              <a:defRPr>
                <a:solidFill>
                  <a:schemeClr val="tx1"/>
                </a:solidFill>
                <a:latin typeface="Calibri" panose="020F0502020204030204" pitchFamily="34" charset="0"/>
                <a:cs typeface="Arial" panose="020B0604020202020204" pitchFamily="34" charset="0"/>
              </a:defRPr>
            </a:lvl1pPr>
            <a:lvl2pPr marL="742950" indent="-285750" defTabSz="762000">
              <a:defRPr>
                <a:solidFill>
                  <a:schemeClr val="tx1"/>
                </a:solidFill>
                <a:latin typeface="Calibri" panose="020F0502020204030204" pitchFamily="34" charset="0"/>
                <a:cs typeface="Arial" panose="020B0604020202020204" pitchFamily="34" charset="0"/>
              </a:defRPr>
            </a:lvl2pPr>
            <a:lvl3pPr marL="1143000" indent="-228600" defTabSz="762000">
              <a:defRPr>
                <a:solidFill>
                  <a:schemeClr val="tx1"/>
                </a:solidFill>
                <a:latin typeface="Calibri" panose="020F0502020204030204" pitchFamily="34" charset="0"/>
                <a:cs typeface="Arial" panose="020B0604020202020204" pitchFamily="34" charset="0"/>
              </a:defRPr>
            </a:lvl3pPr>
            <a:lvl4pPr marL="1600200" indent="-228600" defTabSz="762000">
              <a:defRPr>
                <a:solidFill>
                  <a:schemeClr val="tx1"/>
                </a:solidFill>
                <a:latin typeface="Calibri" panose="020F0502020204030204" pitchFamily="34" charset="0"/>
                <a:cs typeface="Arial" panose="020B0604020202020204" pitchFamily="34" charset="0"/>
              </a:defRPr>
            </a:lvl4pPr>
            <a:lvl5pPr marL="2057400" indent="-228600" defTabSz="762000">
              <a:defRPr>
                <a:solidFill>
                  <a:schemeClr val="tx1"/>
                </a:solidFill>
                <a:latin typeface="Calibri" panose="020F050202020403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US" altLang="el-GR">
                <a:latin typeface="Arial" panose="020B0604020202020204" pitchFamily="34" charset="0"/>
              </a:rPr>
              <a:t>2018</a:t>
            </a:r>
          </a:p>
          <a:p>
            <a:endParaRPr lang="en-US" altLang="el-GR">
              <a:latin typeface="Arial" panose="020B0604020202020204" pitchFamily="34" charset="0"/>
            </a:endParaRPr>
          </a:p>
          <a:p>
            <a:endParaRPr lang="en-US" altLang="el-GR">
              <a:latin typeface="Arial" panose="020B0604020202020204" pitchFamily="34" charset="0"/>
            </a:endParaRPr>
          </a:p>
          <a:p>
            <a:r>
              <a:rPr lang="en-US" altLang="el-GR">
                <a:latin typeface="Arial" panose="020B0604020202020204" pitchFamily="34" charset="0"/>
              </a:rPr>
              <a:t>2010</a:t>
            </a:r>
          </a:p>
          <a:p>
            <a:endParaRPr lang="en-US" altLang="el-GR">
              <a:latin typeface="Arial" panose="020B0604020202020204" pitchFamily="34" charset="0"/>
            </a:endParaRPr>
          </a:p>
          <a:p>
            <a:endParaRPr lang="en-US" altLang="el-GR">
              <a:latin typeface="Arial" panose="020B0604020202020204" pitchFamily="34" charset="0"/>
            </a:endParaRPr>
          </a:p>
          <a:p>
            <a:endParaRPr lang="en-US" altLang="el-GR">
              <a:latin typeface="Arial" panose="020B0604020202020204" pitchFamily="34" charset="0"/>
            </a:endParaRPr>
          </a:p>
          <a:p>
            <a:r>
              <a:rPr lang="el-GR" altLang="el-GR">
                <a:latin typeface="Arial" panose="020B0604020202020204" pitchFamily="34" charset="0"/>
              </a:rPr>
              <a:t>2000</a:t>
            </a:r>
          </a:p>
          <a:p>
            <a:pPr>
              <a:lnSpc>
                <a:spcPct val="20000"/>
              </a:lnSpc>
            </a:pPr>
            <a:endParaRPr lang="el-GR" altLang="el-GR">
              <a:latin typeface="Arial" panose="020B0604020202020204" pitchFamily="34" charset="0"/>
            </a:endParaRPr>
          </a:p>
          <a:p>
            <a:pPr>
              <a:lnSpc>
                <a:spcPct val="130000"/>
              </a:lnSpc>
            </a:pPr>
            <a:endParaRPr lang="en-US" altLang="el-GR">
              <a:latin typeface="Arial" panose="020B0604020202020204" pitchFamily="34" charset="0"/>
            </a:endParaRPr>
          </a:p>
          <a:p>
            <a:pPr>
              <a:lnSpc>
                <a:spcPct val="130000"/>
              </a:lnSpc>
            </a:pPr>
            <a:endParaRPr lang="el-GR" altLang="el-GR">
              <a:latin typeface="Arial" panose="020B0604020202020204" pitchFamily="34" charset="0"/>
            </a:endParaRPr>
          </a:p>
          <a:p>
            <a:pPr>
              <a:lnSpc>
                <a:spcPct val="140000"/>
              </a:lnSpc>
            </a:pPr>
            <a:r>
              <a:rPr lang="el-GR" altLang="el-GR">
                <a:latin typeface="Arial" panose="020B0604020202020204" pitchFamily="34" charset="0"/>
              </a:rPr>
              <a:t>1990</a:t>
            </a:r>
          </a:p>
        </p:txBody>
      </p:sp>
      <p:sp>
        <p:nvSpPr>
          <p:cNvPr id="92165" name="AutoShape 5">
            <a:extLst>
              <a:ext uri="{FF2B5EF4-FFF2-40B4-BE49-F238E27FC236}">
                <a16:creationId xmlns:a16="http://schemas.microsoft.com/office/drawing/2014/main" id="{EE994994-6CAA-4310-B81E-D1E0F499F53B}"/>
              </a:ext>
            </a:extLst>
          </p:cNvPr>
          <p:cNvSpPr>
            <a:spLocks noChangeArrowheads="1"/>
          </p:cNvSpPr>
          <p:nvPr/>
        </p:nvSpPr>
        <p:spPr bwMode="auto">
          <a:xfrm>
            <a:off x="1558926" y="1556792"/>
            <a:ext cx="746125" cy="4895850"/>
          </a:xfrm>
          <a:prstGeom prst="upArrow">
            <a:avLst>
              <a:gd name="adj1" fmla="val 50000"/>
              <a:gd name="adj2" fmla="val 141866"/>
            </a:avLst>
          </a:prstGeom>
          <a:solidFill>
            <a:schemeClr val="tx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endParaRPr lang="el-GR" altLang="el-GR"/>
          </a:p>
        </p:txBody>
      </p:sp>
      <p:graphicFrame>
        <p:nvGraphicFramePr>
          <p:cNvPr id="92166" name="Object 6">
            <a:extLst>
              <a:ext uri="{FF2B5EF4-FFF2-40B4-BE49-F238E27FC236}">
                <a16:creationId xmlns:a16="http://schemas.microsoft.com/office/drawing/2014/main" id="{6DD075C9-0AAF-4596-826B-454AFAE6D006}"/>
              </a:ext>
            </a:extLst>
          </p:cNvPr>
          <p:cNvGraphicFramePr>
            <a:graphicFrameLocks/>
          </p:cNvGraphicFramePr>
          <p:nvPr>
            <p:extLst>
              <p:ext uri="{D42A27DB-BD31-4B8C-83A1-F6EECF244321}">
                <p14:modId xmlns:p14="http://schemas.microsoft.com/office/powerpoint/2010/main" val="2959829383"/>
              </p:ext>
            </p:extLst>
          </p:nvPr>
        </p:nvGraphicFramePr>
        <p:xfrm>
          <a:off x="6151612" y="1772692"/>
          <a:ext cx="3816424" cy="4679949"/>
        </p:xfrm>
        <a:graphic>
          <a:graphicData uri="http://schemas.openxmlformats.org/presentationml/2006/ole">
            <mc:AlternateContent xmlns:mc="http://schemas.openxmlformats.org/markup-compatibility/2006">
              <mc:Choice xmlns:v="urn:schemas-microsoft-com:vml" Requires="v">
                <p:oleObj spid="_x0000_s3074" name="Clip" r:id="rId3" imgW="3660393" imgH="3334487" progId="MS_ClipArt_Gallery.2">
                  <p:embed/>
                </p:oleObj>
              </mc:Choice>
              <mc:Fallback>
                <p:oleObj name="Clip" r:id="rId3" imgW="3660393" imgH="3334487" progId="MS_ClipArt_Gallery.2">
                  <p:embed/>
                  <p:pic>
                    <p:nvPicPr>
                      <p:cNvPr id="92166" name="Object 6">
                        <a:extLst>
                          <a:ext uri="{FF2B5EF4-FFF2-40B4-BE49-F238E27FC236}">
                            <a16:creationId xmlns:a16="http://schemas.microsoft.com/office/drawing/2014/main" id="{6DD075C9-0AAF-4596-826B-454AFAE6D006}"/>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51612" y="1772692"/>
                        <a:ext cx="3816424" cy="4679949"/>
                      </a:xfrm>
                      <a:prstGeom prst="rect">
                        <a:avLst/>
                      </a:prstGeom>
                      <a:noFill/>
                      <a:ln>
                        <a:noFill/>
                      </a:ln>
                      <a:effectLst/>
                    </p:spPr>
                  </p:pic>
                </p:oleObj>
              </mc:Fallback>
            </mc:AlternateContent>
          </a:graphicData>
        </a:graphic>
      </p:graphicFrame>
      <p:sp>
        <p:nvSpPr>
          <p:cNvPr id="92167" name="Rectangle 7">
            <a:extLst>
              <a:ext uri="{FF2B5EF4-FFF2-40B4-BE49-F238E27FC236}">
                <a16:creationId xmlns:a16="http://schemas.microsoft.com/office/drawing/2014/main" id="{B3930DF3-4225-4BD0-9A10-E98BD471C6A6}"/>
              </a:ext>
            </a:extLst>
          </p:cNvPr>
          <p:cNvSpPr>
            <a:spLocks noChangeArrowheads="1"/>
          </p:cNvSpPr>
          <p:nvPr/>
        </p:nvSpPr>
        <p:spPr bwMode="auto">
          <a:xfrm>
            <a:off x="2135188" y="2204492"/>
            <a:ext cx="6913562"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defTabSz="762000">
              <a:defRPr>
                <a:solidFill>
                  <a:schemeClr val="tx1"/>
                </a:solidFill>
                <a:latin typeface="Calibri" panose="020F0502020204030204" pitchFamily="34" charset="0"/>
                <a:cs typeface="Arial" panose="020B0604020202020204" pitchFamily="34" charset="0"/>
              </a:defRPr>
            </a:lvl1pPr>
            <a:lvl2pPr marL="742950" indent="-285750" defTabSz="762000">
              <a:defRPr>
                <a:solidFill>
                  <a:schemeClr val="tx1"/>
                </a:solidFill>
                <a:latin typeface="Calibri" panose="020F0502020204030204" pitchFamily="34" charset="0"/>
                <a:cs typeface="Arial" panose="020B0604020202020204" pitchFamily="34" charset="0"/>
              </a:defRPr>
            </a:lvl2pPr>
            <a:lvl3pPr marL="1143000" indent="-228600" defTabSz="762000">
              <a:defRPr>
                <a:solidFill>
                  <a:schemeClr val="tx1"/>
                </a:solidFill>
                <a:latin typeface="Calibri" panose="020F0502020204030204" pitchFamily="34" charset="0"/>
                <a:cs typeface="Arial" panose="020B0604020202020204" pitchFamily="34" charset="0"/>
              </a:defRPr>
            </a:lvl3pPr>
            <a:lvl4pPr marL="1600200" indent="-228600" defTabSz="762000">
              <a:defRPr>
                <a:solidFill>
                  <a:schemeClr val="tx1"/>
                </a:solidFill>
                <a:latin typeface="Calibri" panose="020F0502020204030204" pitchFamily="34" charset="0"/>
                <a:cs typeface="Arial" panose="020B0604020202020204" pitchFamily="34" charset="0"/>
              </a:defRPr>
            </a:lvl4pPr>
            <a:lvl5pPr marL="2057400" indent="-228600" defTabSz="762000">
              <a:defRPr>
                <a:solidFill>
                  <a:schemeClr val="tx1"/>
                </a:solidFill>
                <a:latin typeface="Calibri" panose="020F0502020204030204" pitchFamily="34" charset="0"/>
                <a:cs typeface="Arial" panose="020B0604020202020204" pitchFamily="34" charset="0"/>
              </a:defRPr>
            </a:lvl5pPr>
            <a:lvl6pPr marL="25146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7620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nSpc>
                <a:spcPct val="85000"/>
              </a:lnSpc>
            </a:pPr>
            <a:r>
              <a:rPr lang="en-US" altLang="el-GR" sz="2000" dirty="0">
                <a:solidFill>
                  <a:schemeClr val="tx2"/>
                </a:solidFill>
              </a:rPr>
              <a:t>TENOFOVIR ALAFENAMIDE (TAF) </a:t>
            </a:r>
          </a:p>
          <a:p>
            <a:pPr>
              <a:lnSpc>
                <a:spcPct val="85000"/>
              </a:lnSpc>
            </a:pPr>
            <a:endParaRPr lang="en-US" altLang="el-GR" sz="2000" dirty="0">
              <a:solidFill>
                <a:schemeClr val="tx2"/>
              </a:solidFill>
            </a:endParaRPr>
          </a:p>
          <a:p>
            <a:pPr>
              <a:lnSpc>
                <a:spcPct val="85000"/>
              </a:lnSpc>
            </a:pPr>
            <a:endParaRPr lang="en-US" altLang="el-GR" sz="2000" dirty="0">
              <a:solidFill>
                <a:schemeClr val="tx2"/>
              </a:solidFill>
            </a:endParaRPr>
          </a:p>
          <a:p>
            <a:pPr>
              <a:lnSpc>
                <a:spcPct val="85000"/>
              </a:lnSpc>
            </a:pPr>
            <a:endParaRPr lang="en-US" altLang="el-GR" sz="2000" dirty="0">
              <a:solidFill>
                <a:schemeClr val="tx2"/>
              </a:solidFill>
            </a:endParaRPr>
          </a:p>
          <a:p>
            <a:pPr>
              <a:lnSpc>
                <a:spcPct val="85000"/>
              </a:lnSpc>
            </a:pPr>
            <a:r>
              <a:rPr lang="en-US" altLang="el-GR" sz="2000" dirty="0">
                <a:solidFill>
                  <a:schemeClr val="tx2"/>
                </a:solidFill>
              </a:rPr>
              <a:t>TENOFOVIR DISOPROXIL FUMARATE (TDF)</a:t>
            </a:r>
            <a:endParaRPr lang="el-GR" altLang="el-GR" sz="2000" dirty="0">
              <a:solidFill>
                <a:schemeClr val="tx2"/>
              </a:solidFill>
            </a:endParaRPr>
          </a:p>
          <a:p>
            <a:pPr>
              <a:lnSpc>
                <a:spcPct val="85000"/>
              </a:lnSpc>
            </a:pPr>
            <a:r>
              <a:rPr lang="el-GR" altLang="el-GR" sz="2000" dirty="0">
                <a:solidFill>
                  <a:schemeClr val="tx2"/>
                </a:solidFill>
              </a:rPr>
              <a:t>ΤΕ</a:t>
            </a:r>
            <a:r>
              <a:rPr lang="en-US" altLang="el-GR" sz="2000" dirty="0">
                <a:solidFill>
                  <a:schemeClr val="tx2"/>
                </a:solidFill>
              </a:rPr>
              <a:t>LBIVUDINE </a:t>
            </a:r>
            <a:r>
              <a:rPr lang="el-GR" altLang="el-GR" sz="2000" dirty="0">
                <a:solidFill>
                  <a:schemeClr val="tx2"/>
                </a:solidFill>
              </a:rPr>
              <a:t>(</a:t>
            </a:r>
            <a:r>
              <a:rPr lang="en-US" altLang="el-GR" sz="2000" dirty="0">
                <a:solidFill>
                  <a:schemeClr val="tx2"/>
                </a:solidFill>
              </a:rPr>
              <a:t>TBV) </a:t>
            </a:r>
          </a:p>
          <a:p>
            <a:pPr>
              <a:lnSpc>
                <a:spcPct val="85000"/>
              </a:lnSpc>
            </a:pPr>
            <a:r>
              <a:rPr lang="en-US" altLang="el-GR" sz="2000" dirty="0">
                <a:solidFill>
                  <a:schemeClr val="tx2"/>
                </a:solidFill>
              </a:rPr>
              <a:t>ENTECAVIR (ETV) </a:t>
            </a:r>
          </a:p>
          <a:p>
            <a:pPr>
              <a:lnSpc>
                <a:spcPct val="85000"/>
              </a:lnSpc>
            </a:pPr>
            <a:r>
              <a:rPr lang="en-US" altLang="el-GR" sz="2000" dirty="0"/>
              <a:t>PEG-</a:t>
            </a:r>
            <a:r>
              <a:rPr lang="en-US" altLang="el-GR" sz="2000" dirty="0" err="1"/>
              <a:t>IFNa</a:t>
            </a:r>
            <a:r>
              <a:rPr lang="el-GR" altLang="el-GR" sz="2000" dirty="0"/>
              <a:t>-</a:t>
            </a:r>
            <a:r>
              <a:rPr lang="en-US" altLang="el-GR" sz="2000" dirty="0"/>
              <a:t>2a  </a:t>
            </a:r>
          </a:p>
          <a:p>
            <a:pPr>
              <a:lnSpc>
                <a:spcPct val="105000"/>
              </a:lnSpc>
            </a:pPr>
            <a:r>
              <a:rPr lang="el-GR" altLang="el-GR" sz="2000" dirty="0">
                <a:solidFill>
                  <a:schemeClr val="tx2"/>
                </a:solidFill>
              </a:rPr>
              <a:t>Α</a:t>
            </a:r>
            <a:r>
              <a:rPr lang="en-US" altLang="el-GR" sz="2000" dirty="0">
                <a:solidFill>
                  <a:schemeClr val="tx2"/>
                </a:solidFill>
              </a:rPr>
              <a:t>DEFOVIR</a:t>
            </a:r>
            <a:r>
              <a:rPr lang="el-GR" altLang="el-GR" sz="2000" dirty="0">
                <a:solidFill>
                  <a:schemeClr val="tx2"/>
                </a:solidFill>
              </a:rPr>
              <a:t> </a:t>
            </a:r>
            <a:r>
              <a:rPr lang="en-US" altLang="el-GR" sz="2000" dirty="0">
                <a:solidFill>
                  <a:schemeClr val="tx2"/>
                </a:solidFill>
              </a:rPr>
              <a:t>(ADV) </a:t>
            </a:r>
            <a:endParaRPr lang="el-GR" altLang="el-GR" sz="2000" dirty="0">
              <a:solidFill>
                <a:schemeClr val="tx2"/>
              </a:solidFill>
            </a:endParaRPr>
          </a:p>
          <a:p>
            <a:r>
              <a:rPr lang="en-US" altLang="el-GR" sz="2000" dirty="0">
                <a:solidFill>
                  <a:schemeClr val="tx2"/>
                </a:solidFill>
              </a:rPr>
              <a:t>LAMIVUDINE</a:t>
            </a:r>
            <a:r>
              <a:rPr lang="el-GR" altLang="el-GR" sz="2000" dirty="0">
                <a:solidFill>
                  <a:schemeClr val="tx2"/>
                </a:solidFill>
              </a:rPr>
              <a:t> </a:t>
            </a:r>
            <a:r>
              <a:rPr lang="en-US" altLang="el-GR" sz="2000" dirty="0">
                <a:solidFill>
                  <a:schemeClr val="tx2"/>
                </a:solidFill>
              </a:rPr>
              <a:t>(LAM) </a:t>
            </a:r>
            <a:endParaRPr lang="el-GR" altLang="el-GR" sz="2000" dirty="0">
              <a:solidFill>
                <a:schemeClr val="tx2"/>
              </a:solidFill>
            </a:endParaRPr>
          </a:p>
          <a:p>
            <a:pPr>
              <a:lnSpc>
                <a:spcPct val="35000"/>
              </a:lnSpc>
            </a:pPr>
            <a:endParaRPr lang="el-GR" altLang="el-GR" sz="2000" dirty="0">
              <a:solidFill>
                <a:schemeClr val="tx2"/>
              </a:solidFill>
            </a:endParaRPr>
          </a:p>
          <a:p>
            <a:pPr>
              <a:lnSpc>
                <a:spcPct val="95000"/>
              </a:lnSpc>
              <a:spcBef>
                <a:spcPts val="1800"/>
              </a:spcBef>
            </a:pPr>
            <a:endParaRPr lang="en-US" altLang="el-GR" sz="2000" dirty="0"/>
          </a:p>
          <a:p>
            <a:pPr>
              <a:lnSpc>
                <a:spcPct val="95000"/>
              </a:lnSpc>
              <a:spcBef>
                <a:spcPts val="600"/>
              </a:spcBef>
            </a:pPr>
            <a:r>
              <a:rPr lang="el-GR" altLang="el-GR" sz="2000" dirty="0"/>
              <a:t>Ι</a:t>
            </a:r>
            <a:r>
              <a:rPr lang="en-US" altLang="el-GR" sz="2000" dirty="0"/>
              <a:t>F</a:t>
            </a:r>
            <a:r>
              <a:rPr lang="el-GR" altLang="el-GR" sz="2000" dirty="0"/>
              <a:t>Να </a:t>
            </a:r>
          </a:p>
        </p:txBody>
      </p:sp>
      <p:sp>
        <p:nvSpPr>
          <p:cNvPr id="8" name="Rectangle 2">
            <a:extLst>
              <a:ext uri="{FF2B5EF4-FFF2-40B4-BE49-F238E27FC236}">
                <a16:creationId xmlns:a16="http://schemas.microsoft.com/office/drawing/2014/main" id="{284444D9-672E-4137-9629-10E73E52D8DB}"/>
              </a:ext>
            </a:extLst>
          </p:cNvPr>
          <p:cNvSpPr txBox="1">
            <a:spLocks noChangeArrowheads="1"/>
          </p:cNvSpPr>
          <p:nvPr/>
        </p:nvSpPr>
        <p:spPr>
          <a:xfrm>
            <a:off x="102940" y="341784"/>
            <a:ext cx="10085388" cy="1143000"/>
          </a:xfrm>
          <a:prstGeom prst="rect">
            <a:avLst/>
          </a:prstGeom>
        </p:spPr>
        <p:txBody>
          <a:bodyPr/>
          <a:lstStyle>
            <a:lvl1pPr algn="ctr" defTabSz="762000" rtl="0" eaLnBrk="0" fontAlgn="base" hangingPunct="0">
              <a:spcBef>
                <a:spcPct val="0"/>
              </a:spcBef>
              <a:spcAft>
                <a:spcPct val="0"/>
              </a:spcAft>
              <a:defRPr sz="4400">
                <a:solidFill>
                  <a:schemeClr val="tx2"/>
                </a:solidFill>
                <a:latin typeface="+mj-lt"/>
                <a:ea typeface="+mj-ea"/>
                <a:cs typeface="+mj-cs"/>
              </a:defRPr>
            </a:lvl1pPr>
            <a:lvl2pPr algn="ctr" defTabSz="762000" rtl="0" eaLnBrk="0" fontAlgn="base" hangingPunct="0">
              <a:spcBef>
                <a:spcPct val="0"/>
              </a:spcBef>
              <a:spcAft>
                <a:spcPct val="0"/>
              </a:spcAft>
              <a:defRPr sz="4400">
                <a:solidFill>
                  <a:schemeClr val="tx2"/>
                </a:solidFill>
                <a:latin typeface="Arial" charset="0"/>
              </a:defRPr>
            </a:lvl2pPr>
            <a:lvl3pPr algn="ctr" defTabSz="762000" rtl="0" eaLnBrk="0" fontAlgn="base" hangingPunct="0">
              <a:spcBef>
                <a:spcPct val="0"/>
              </a:spcBef>
              <a:spcAft>
                <a:spcPct val="0"/>
              </a:spcAft>
              <a:defRPr sz="4400">
                <a:solidFill>
                  <a:schemeClr val="tx2"/>
                </a:solidFill>
                <a:latin typeface="Arial" charset="0"/>
              </a:defRPr>
            </a:lvl3pPr>
            <a:lvl4pPr algn="ctr" defTabSz="762000" rtl="0" eaLnBrk="0" fontAlgn="base" hangingPunct="0">
              <a:spcBef>
                <a:spcPct val="0"/>
              </a:spcBef>
              <a:spcAft>
                <a:spcPct val="0"/>
              </a:spcAft>
              <a:defRPr sz="4400">
                <a:solidFill>
                  <a:schemeClr val="tx2"/>
                </a:solidFill>
                <a:latin typeface="Arial" charset="0"/>
              </a:defRPr>
            </a:lvl4pPr>
            <a:lvl5pPr algn="ctr" defTabSz="762000" rtl="0" eaLnBrk="0" fontAlgn="base" hangingPunct="0">
              <a:spcBef>
                <a:spcPct val="0"/>
              </a:spcBef>
              <a:spcAft>
                <a:spcPct val="0"/>
              </a:spcAft>
              <a:defRPr sz="4400">
                <a:solidFill>
                  <a:schemeClr val="tx2"/>
                </a:solidFill>
                <a:latin typeface="Arial" charset="0"/>
              </a:defRPr>
            </a:lvl5pPr>
            <a:lvl6pPr marL="457200" algn="ctr" defTabSz="762000" rtl="0" eaLnBrk="0" fontAlgn="base" hangingPunct="0">
              <a:spcBef>
                <a:spcPct val="0"/>
              </a:spcBef>
              <a:spcAft>
                <a:spcPct val="0"/>
              </a:spcAft>
              <a:defRPr sz="4400">
                <a:solidFill>
                  <a:schemeClr val="tx2"/>
                </a:solidFill>
                <a:latin typeface="Arial" charset="0"/>
              </a:defRPr>
            </a:lvl6pPr>
            <a:lvl7pPr marL="914400" algn="ctr" defTabSz="762000" rtl="0" eaLnBrk="0" fontAlgn="base" hangingPunct="0">
              <a:spcBef>
                <a:spcPct val="0"/>
              </a:spcBef>
              <a:spcAft>
                <a:spcPct val="0"/>
              </a:spcAft>
              <a:defRPr sz="4400">
                <a:solidFill>
                  <a:schemeClr val="tx2"/>
                </a:solidFill>
                <a:latin typeface="Arial" charset="0"/>
              </a:defRPr>
            </a:lvl7pPr>
            <a:lvl8pPr marL="1371600" algn="ctr" defTabSz="762000" rtl="0" eaLnBrk="0" fontAlgn="base" hangingPunct="0">
              <a:spcBef>
                <a:spcPct val="0"/>
              </a:spcBef>
              <a:spcAft>
                <a:spcPct val="0"/>
              </a:spcAft>
              <a:defRPr sz="4400">
                <a:solidFill>
                  <a:schemeClr val="tx2"/>
                </a:solidFill>
                <a:latin typeface="Arial" charset="0"/>
              </a:defRPr>
            </a:lvl8pPr>
            <a:lvl9pPr marL="1828800" algn="ctr" defTabSz="762000" rtl="0" eaLnBrk="0" fontAlgn="base" hangingPunct="0">
              <a:spcBef>
                <a:spcPct val="0"/>
              </a:spcBef>
              <a:spcAft>
                <a:spcPct val="0"/>
              </a:spcAft>
              <a:defRPr sz="4400">
                <a:solidFill>
                  <a:schemeClr val="tx2"/>
                </a:solidFill>
                <a:latin typeface="Arial" charset="0"/>
              </a:defRPr>
            </a:lvl9pPr>
          </a:lstStyle>
          <a:p>
            <a:pPr defTabSz="914400"/>
            <a:r>
              <a:rPr lang="el-GR" altLang="el-GR" sz="3600" b="1" kern="0" dirty="0"/>
              <a:t>Θεραπεία χρόνιας ηπατίτιδας </a:t>
            </a:r>
            <a:r>
              <a:rPr lang="en-GB" altLang="el-GR" sz="3600" b="1" kern="0" dirty="0"/>
              <a:t>B: </a:t>
            </a:r>
            <a:br>
              <a:rPr lang="en-GB" altLang="el-GR" sz="3600" b="1" kern="0" dirty="0"/>
            </a:br>
            <a:r>
              <a:rPr lang="el-GR" altLang="el-GR" sz="3600" b="1" kern="0" dirty="0"/>
              <a:t>ταχεία εξέλιξη τη 10ετία</a:t>
            </a:r>
            <a:r>
              <a:rPr lang="en-US" altLang="el-GR" sz="3600" b="1" kern="0" dirty="0"/>
              <a:t> </a:t>
            </a:r>
            <a:r>
              <a:rPr lang="el-GR" altLang="el-GR" sz="3600" b="1" kern="0" dirty="0"/>
              <a:t>του 2000</a:t>
            </a:r>
            <a:endParaRPr lang="en-GB" altLang="el-GR" sz="3600" b="1" kern="0" dirty="0"/>
          </a:p>
        </p:txBody>
      </p:sp>
    </p:spTree>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Immagine 1">
            <a:extLst>
              <a:ext uri="{FF2B5EF4-FFF2-40B4-BE49-F238E27FC236}">
                <a16:creationId xmlns:a16="http://schemas.microsoft.com/office/drawing/2014/main" id="{D12E10D5-00E3-40E4-865A-F13121678C5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9100" y="1833563"/>
            <a:ext cx="9437688" cy="399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1" name="Rettangolo 2">
            <a:extLst>
              <a:ext uri="{FF2B5EF4-FFF2-40B4-BE49-F238E27FC236}">
                <a16:creationId xmlns:a16="http://schemas.microsoft.com/office/drawing/2014/main" id="{0DD23C5D-55CA-4ACC-A1A7-72CC911D915C}"/>
              </a:ext>
            </a:extLst>
          </p:cNvPr>
          <p:cNvSpPr>
            <a:spLocks noChangeArrowheads="1"/>
          </p:cNvSpPr>
          <p:nvPr/>
        </p:nvSpPr>
        <p:spPr bwMode="auto">
          <a:xfrm>
            <a:off x="419100" y="222250"/>
            <a:ext cx="9437688"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l-GR" b="1">
                <a:solidFill>
                  <a:schemeClr val="tx2"/>
                </a:solidFill>
              </a:rPr>
              <a:t>Cumulative incidence of HBV resistance for NAs in pivotal trials in nucleos(t)ide-naive patients with </a:t>
            </a:r>
            <a:r>
              <a:rPr lang="it-IT" altLang="el-GR" b="1">
                <a:solidFill>
                  <a:schemeClr val="tx2"/>
                </a:solidFill>
              </a:rPr>
              <a:t>CHB</a:t>
            </a:r>
            <a:endParaRPr lang="it-IT" altLang="el-GR" sz="6000" b="1">
              <a:solidFill>
                <a:schemeClr val="tx2"/>
              </a:solidFill>
            </a:endParaRPr>
          </a:p>
        </p:txBody>
      </p:sp>
      <p:sp>
        <p:nvSpPr>
          <p:cNvPr id="32772" name="Rettangolo 3">
            <a:extLst>
              <a:ext uri="{FF2B5EF4-FFF2-40B4-BE49-F238E27FC236}">
                <a16:creationId xmlns:a16="http://schemas.microsoft.com/office/drawing/2014/main" id="{C7ACD0DB-7C97-4D29-89D6-90CCB9AF03CE}"/>
              </a:ext>
            </a:extLst>
          </p:cNvPr>
          <p:cNvSpPr>
            <a:spLocks noChangeArrowheads="1"/>
          </p:cNvSpPr>
          <p:nvPr/>
        </p:nvSpPr>
        <p:spPr bwMode="auto">
          <a:xfrm>
            <a:off x="1100138" y="1208088"/>
            <a:ext cx="81216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l-GR" sz="2000"/>
              <a:t>Collation of currently available data – not from head-to head </a:t>
            </a:r>
            <a:r>
              <a:rPr lang="it-IT" altLang="el-GR" sz="2000"/>
              <a:t>studies</a:t>
            </a:r>
          </a:p>
        </p:txBody>
      </p:sp>
      <p:sp>
        <p:nvSpPr>
          <p:cNvPr id="32773" name="Rettangolo 4">
            <a:extLst>
              <a:ext uri="{FF2B5EF4-FFF2-40B4-BE49-F238E27FC236}">
                <a16:creationId xmlns:a16="http://schemas.microsoft.com/office/drawing/2014/main" id="{BEAC8B5D-2E0B-4809-B51D-D799AED0FA0F}"/>
              </a:ext>
            </a:extLst>
          </p:cNvPr>
          <p:cNvSpPr>
            <a:spLocks noChangeArrowheads="1"/>
          </p:cNvSpPr>
          <p:nvPr/>
        </p:nvSpPr>
        <p:spPr bwMode="auto">
          <a:xfrm>
            <a:off x="419100" y="6115050"/>
            <a:ext cx="728345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l-GR" sz="1400"/>
              <a:t>Note: No evidence of resistance has been shown after 8 years of </a:t>
            </a:r>
            <a:r>
              <a:rPr lang="it-IT" altLang="el-GR" sz="1400"/>
              <a:t>TDF treatment.</a:t>
            </a:r>
          </a:p>
        </p:txBody>
      </p:sp>
      <p:sp>
        <p:nvSpPr>
          <p:cNvPr id="32774" name="Rettangolo 14">
            <a:extLst>
              <a:ext uri="{FF2B5EF4-FFF2-40B4-BE49-F238E27FC236}">
                <a16:creationId xmlns:a16="http://schemas.microsoft.com/office/drawing/2014/main" id="{1587C68E-45F7-48D1-B945-44A65F28BE2B}"/>
              </a:ext>
            </a:extLst>
          </p:cNvPr>
          <p:cNvSpPr>
            <a:spLocks noChangeArrowheads="1"/>
          </p:cNvSpPr>
          <p:nvPr/>
        </p:nvSpPr>
        <p:spPr bwMode="auto">
          <a:xfrm>
            <a:off x="5414963" y="6470650"/>
            <a:ext cx="43338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it-IT" altLang="el-GR" sz="1400" b="1">
                <a:solidFill>
                  <a:schemeClr val="accent2"/>
                </a:solidFill>
              </a:rPr>
              <a:t>EASL 2017 CPG HBV, J Hepatol 2017;</a:t>
            </a:r>
            <a:r>
              <a:rPr lang="el-GR" altLang="el-GR" sz="1400" b="1">
                <a:solidFill>
                  <a:schemeClr val="accent2"/>
                </a:solidFill>
              </a:rPr>
              <a:t>67:370-398.</a:t>
            </a:r>
            <a:endParaRPr lang="it-IT" altLang="el-GR" sz="1400" b="1">
              <a:solidFill>
                <a:schemeClr val="accent2"/>
              </a:solidFill>
            </a:endParaRPr>
          </a:p>
        </p:txBody>
      </p:sp>
      <p:sp>
        <p:nvSpPr>
          <p:cNvPr id="7" name="6 - Έλλειψη">
            <a:extLst>
              <a:ext uri="{FF2B5EF4-FFF2-40B4-BE49-F238E27FC236}">
                <a16:creationId xmlns:a16="http://schemas.microsoft.com/office/drawing/2014/main" id="{2D4FE2E7-6971-4E63-B10F-CB678982EAC7}"/>
              </a:ext>
            </a:extLst>
          </p:cNvPr>
          <p:cNvSpPr/>
          <p:nvPr/>
        </p:nvSpPr>
        <p:spPr>
          <a:xfrm>
            <a:off x="5062538" y="4292600"/>
            <a:ext cx="4779962" cy="172878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32776" name="8 - Ορθογώνιο">
            <a:extLst>
              <a:ext uri="{FF2B5EF4-FFF2-40B4-BE49-F238E27FC236}">
                <a16:creationId xmlns:a16="http://schemas.microsoft.com/office/drawing/2014/main" id="{A9384E27-1DCD-4FA3-8209-360BFAC2248F}"/>
              </a:ext>
            </a:extLst>
          </p:cNvPr>
          <p:cNvSpPr>
            <a:spLocks noChangeArrowheads="1"/>
          </p:cNvSpPr>
          <p:nvPr/>
        </p:nvSpPr>
        <p:spPr bwMode="auto">
          <a:xfrm>
            <a:off x="6348413" y="3773488"/>
            <a:ext cx="317658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b="1">
                <a:solidFill>
                  <a:srgbClr val="C00000"/>
                </a:solidFill>
              </a:rPr>
              <a:t>Treatment of choice</a:t>
            </a:r>
            <a:r>
              <a:rPr lang="en-US" altLang="el-GR"/>
              <a:t> </a:t>
            </a:r>
            <a:endParaRPr lang="el-GR" altLang="el-GR"/>
          </a:p>
        </p:txBody>
      </p:sp>
    </p:spTree>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7E63A-94E9-9AD3-D6C5-03BB8B6F240E}"/>
              </a:ext>
            </a:extLst>
          </p:cNvPr>
          <p:cNvSpPr>
            <a:spLocks noGrp="1"/>
          </p:cNvSpPr>
          <p:nvPr>
            <p:ph type="title"/>
          </p:nvPr>
        </p:nvSpPr>
        <p:spPr>
          <a:xfrm>
            <a:off x="1" y="396416"/>
            <a:ext cx="10286999" cy="731168"/>
          </a:xfrm>
        </p:spPr>
        <p:txBody>
          <a:bodyPr/>
          <a:lstStyle/>
          <a:p>
            <a:r>
              <a:rPr lang="el-GR" sz="2400" b="1" dirty="0"/>
              <a:t>Γεώργιος Παπαθεοδωρίδης – Δήλωση σύγκρουσης συμφερόντων</a:t>
            </a:r>
          </a:p>
        </p:txBody>
      </p:sp>
      <p:sp>
        <p:nvSpPr>
          <p:cNvPr id="3" name="Content Placeholder 2">
            <a:extLst>
              <a:ext uri="{FF2B5EF4-FFF2-40B4-BE49-F238E27FC236}">
                <a16:creationId xmlns:a16="http://schemas.microsoft.com/office/drawing/2014/main" id="{CEB929CE-6224-DDE0-743F-FFC325A0CC90}"/>
              </a:ext>
            </a:extLst>
          </p:cNvPr>
          <p:cNvSpPr>
            <a:spLocks noGrp="1"/>
          </p:cNvSpPr>
          <p:nvPr>
            <p:ph idx="1"/>
          </p:nvPr>
        </p:nvSpPr>
        <p:spPr>
          <a:xfrm>
            <a:off x="771525" y="1127584"/>
            <a:ext cx="8743950" cy="4968416"/>
          </a:xfrm>
        </p:spPr>
        <p:txBody>
          <a:bodyPr/>
          <a:lstStyle/>
          <a:p>
            <a:pPr marL="314682" indent="-314682">
              <a:lnSpc>
                <a:spcPct val="150000"/>
              </a:lnSpc>
              <a:spcBef>
                <a:spcPts val="1067"/>
              </a:spcBef>
            </a:pPr>
            <a:r>
              <a:rPr lang="el-GR" altLang="el-GR" sz="2000" b="1" u="sng" dirty="0"/>
              <a:t>Συμβουλευτικές υπηρεσίες</a:t>
            </a:r>
            <a:r>
              <a:rPr lang="el-GR" altLang="el-GR" sz="2000" b="1" dirty="0"/>
              <a:t>: </a:t>
            </a:r>
            <a:r>
              <a:rPr lang="en-US" altLang="el-GR" sz="2000" b="1" dirty="0"/>
              <a:t>Abbvie, Albireo, Astra Zeneca, Dicerna, </a:t>
            </a:r>
            <a:r>
              <a:rPr lang="el-GR" altLang="el-GR" sz="2000" b="1" dirty="0"/>
              <a:t>Ε</a:t>
            </a:r>
            <a:r>
              <a:rPr lang="en-US" altLang="el-GR" sz="2000" b="1" dirty="0" err="1"/>
              <a:t>lpen</a:t>
            </a:r>
            <a:r>
              <a:rPr lang="el-GR" altLang="el-GR" sz="2000" b="1" dirty="0"/>
              <a:t>, </a:t>
            </a:r>
            <a:r>
              <a:rPr lang="en-US" altLang="el-GR" sz="2000" b="1" dirty="0"/>
              <a:t>Genesis, Gilead, GlaxoSmithKline, Janssen, Ipsen, Merck Sharp &amp; Dohme, Novartis, Novo Nordisk, Roche, Takeda</a:t>
            </a:r>
            <a:r>
              <a:rPr lang="el-GR" altLang="el-GR" sz="2000" b="1" dirty="0"/>
              <a:t> </a:t>
            </a:r>
            <a:endParaRPr lang="en-US" altLang="el-GR" sz="2000" b="1" dirty="0"/>
          </a:p>
          <a:p>
            <a:pPr marL="314682" indent="-314682">
              <a:lnSpc>
                <a:spcPct val="150000"/>
              </a:lnSpc>
              <a:spcBef>
                <a:spcPts val="1600"/>
              </a:spcBef>
            </a:pPr>
            <a:r>
              <a:rPr lang="el-GR" altLang="el-GR" sz="2000" b="1" u="sng" dirty="0"/>
              <a:t>Διαλέξεις</a:t>
            </a:r>
            <a:r>
              <a:rPr lang="el-GR" altLang="el-GR" sz="2000" b="1" dirty="0"/>
              <a:t>: </a:t>
            </a:r>
            <a:r>
              <a:rPr lang="en-US" altLang="el-GR" sz="2000" b="1" dirty="0"/>
              <a:t>Abbvie,</a:t>
            </a:r>
            <a:r>
              <a:rPr lang="el-GR" altLang="el-GR" sz="2000" b="1" dirty="0"/>
              <a:t> </a:t>
            </a:r>
            <a:r>
              <a:rPr lang="en-US" altLang="el-GR" sz="2000" b="1" dirty="0"/>
              <a:t>Astra Zeneca, </a:t>
            </a:r>
            <a:r>
              <a:rPr lang="en-US" altLang="el-GR" sz="2000" b="1" dirty="0" err="1"/>
              <a:t>Elpen</a:t>
            </a:r>
            <a:r>
              <a:rPr lang="en-US" altLang="el-GR" sz="2000" b="1" dirty="0"/>
              <a:t>, Genesis, Gilead, GlaxoSmithKline, Janssen, Ipsen, Merck Sharp &amp;</a:t>
            </a:r>
            <a:r>
              <a:rPr lang="el-GR" altLang="el-GR" sz="2000" b="1" dirty="0"/>
              <a:t> </a:t>
            </a:r>
            <a:r>
              <a:rPr lang="en-US" altLang="el-GR" sz="2000" b="1" dirty="0"/>
              <a:t>Dohme, Novartis, Novo Nordisk, Roche, SOBI</a:t>
            </a:r>
          </a:p>
          <a:p>
            <a:pPr marL="314682" indent="-314682">
              <a:spcBef>
                <a:spcPts val="1600"/>
              </a:spcBef>
            </a:pPr>
            <a:r>
              <a:rPr lang="el-GR" altLang="el-GR" sz="2000" b="1" u="sng" dirty="0"/>
              <a:t>Χορηγίες</a:t>
            </a:r>
            <a:r>
              <a:rPr lang="el-GR" altLang="el-GR" sz="2000" b="1" dirty="0"/>
              <a:t>: </a:t>
            </a:r>
            <a:r>
              <a:rPr lang="en-US" altLang="el-GR" sz="2000" b="1" dirty="0"/>
              <a:t>Abbvie, Gilead, Takeda, </a:t>
            </a:r>
            <a:r>
              <a:rPr lang="en-US" altLang="el-GR" sz="2000" b="1" dirty="0" err="1"/>
              <a:t>Vianex</a:t>
            </a:r>
            <a:endParaRPr lang="el-GR" altLang="el-GR" sz="2000" b="1" dirty="0"/>
          </a:p>
          <a:p>
            <a:pPr marL="314682" indent="-314682">
              <a:lnSpc>
                <a:spcPct val="150000"/>
              </a:lnSpc>
              <a:spcBef>
                <a:spcPts val="1600"/>
              </a:spcBef>
            </a:pPr>
            <a:r>
              <a:rPr lang="el-GR" altLang="el-GR" sz="2000" b="1" u="sng" dirty="0"/>
              <a:t>Κλινικές δοκιμές</a:t>
            </a:r>
            <a:r>
              <a:rPr lang="el-GR" altLang="el-GR" sz="2000" b="1" dirty="0"/>
              <a:t>: </a:t>
            </a:r>
            <a:r>
              <a:rPr lang="en-US" altLang="el-GR" sz="2000" b="1" dirty="0"/>
              <a:t>Abbvie, Astellas, Bayer, Celgene, Eiger, Gilead, GlaxoSmithKline, Janssen, Merck Sharp &amp; Dohme, </a:t>
            </a:r>
            <a:r>
              <a:rPr lang="en-US" altLang="el-GR" sz="2000" b="1" dirty="0" err="1"/>
              <a:t>Noorik</a:t>
            </a:r>
            <a:r>
              <a:rPr lang="en-US" altLang="el-GR" sz="2000" b="1" dirty="0"/>
              <a:t>, Novartis, Novo Nordisk, Roche, Takeda</a:t>
            </a:r>
            <a:endParaRPr lang="el-GR" altLang="el-GR" sz="2000" b="1" dirty="0"/>
          </a:p>
          <a:p>
            <a:endParaRPr lang="el-GR" dirty="0"/>
          </a:p>
        </p:txBody>
      </p:sp>
    </p:spTree>
    <p:extLst>
      <p:ext uri="{BB962C8B-B14F-4D97-AF65-F5344CB8AC3E}">
        <p14:creationId xmlns:p14="http://schemas.microsoft.com/office/powerpoint/2010/main" val="1063727821"/>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098A6CEF-F887-4114-A8C1-ECFFE394DF4A}"/>
              </a:ext>
            </a:extLst>
          </p:cNvPr>
          <p:cNvSpPr>
            <a:spLocks noChangeArrowheads="1"/>
          </p:cNvSpPr>
          <p:nvPr/>
        </p:nvSpPr>
        <p:spPr bwMode="auto">
          <a:xfrm>
            <a:off x="0" y="404813"/>
            <a:ext cx="10287000" cy="6461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spcBef>
                <a:spcPct val="50000"/>
              </a:spcBef>
            </a:pPr>
            <a:r>
              <a:rPr lang="it-IT" altLang="it-IT" sz="3600" b="1" dirty="0">
                <a:solidFill>
                  <a:schemeClr val="tx2"/>
                </a:solidFill>
                <a:cs typeface="Arial" panose="020B0604020202020204" pitchFamily="34" charset="0"/>
              </a:rPr>
              <a:t>≥5 </a:t>
            </a:r>
            <a:r>
              <a:rPr lang="el-GR" altLang="it-IT" sz="3600" b="1" dirty="0">
                <a:solidFill>
                  <a:schemeClr val="tx2"/>
                </a:solidFill>
                <a:cs typeface="Arial" panose="020B0604020202020204" pitchFamily="34" charset="0"/>
              </a:rPr>
              <a:t>έτη θεραπείας με </a:t>
            </a:r>
            <a:r>
              <a:rPr lang="it-IT" altLang="it-IT" sz="3600" b="1" dirty="0">
                <a:solidFill>
                  <a:schemeClr val="tx2"/>
                </a:solidFill>
                <a:cs typeface="Arial" panose="020B0604020202020204" pitchFamily="34" charset="0"/>
              </a:rPr>
              <a:t>ETV </a:t>
            </a:r>
            <a:r>
              <a:rPr lang="el-GR" altLang="it-IT" sz="3600" b="1" dirty="0">
                <a:solidFill>
                  <a:schemeClr val="tx2"/>
                </a:solidFill>
                <a:cs typeface="Arial" panose="020B0604020202020204" pitchFamily="34" charset="0"/>
              </a:rPr>
              <a:t>ή</a:t>
            </a:r>
            <a:r>
              <a:rPr lang="it-IT" altLang="it-IT" sz="3600" b="1" dirty="0">
                <a:solidFill>
                  <a:schemeClr val="tx2"/>
                </a:solidFill>
                <a:cs typeface="Arial" panose="020B0604020202020204" pitchFamily="34" charset="0"/>
              </a:rPr>
              <a:t> TDF </a:t>
            </a:r>
            <a:r>
              <a:rPr lang="el-GR" altLang="it-IT" sz="3600" b="1" dirty="0">
                <a:solidFill>
                  <a:schemeClr val="tx2"/>
                </a:solidFill>
                <a:cs typeface="Arial" panose="020B0604020202020204" pitchFamily="34" charset="0"/>
              </a:rPr>
              <a:t>ή </a:t>
            </a:r>
            <a:r>
              <a:rPr lang="en-US" altLang="it-IT" sz="3600" b="1" dirty="0">
                <a:solidFill>
                  <a:schemeClr val="tx2"/>
                </a:solidFill>
                <a:cs typeface="Arial" panose="020B0604020202020204" pitchFamily="34" charset="0"/>
              </a:rPr>
              <a:t>TAF </a:t>
            </a:r>
            <a:r>
              <a:rPr lang="el-GR" altLang="it-IT" sz="3600" b="1" dirty="0">
                <a:solidFill>
                  <a:schemeClr val="tx2"/>
                </a:solidFill>
                <a:cs typeface="Arial" panose="020B0604020202020204" pitchFamily="34" charset="0"/>
              </a:rPr>
              <a:t>σε</a:t>
            </a:r>
            <a:r>
              <a:rPr lang="it-IT" altLang="it-IT" sz="3600" b="1" dirty="0">
                <a:solidFill>
                  <a:schemeClr val="tx2"/>
                </a:solidFill>
                <a:cs typeface="Arial" panose="020B0604020202020204" pitchFamily="34" charset="0"/>
              </a:rPr>
              <a:t> </a:t>
            </a:r>
            <a:r>
              <a:rPr lang="el-GR" altLang="it-IT" sz="3600" b="1" dirty="0">
                <a:solidFill>
                  <a:schemeClr val="tx2"/>
                </a:solidFill>
                <a:cs typeface="Arial" panose="020B0604020202020204" pitchFamily="34" charset="0"/>
              </a:rPr>
              <a:t>Χ</a:t>
            </a:r>
            <a:r>
              <a:rPr lang="it-IT" altLang="it-IT" sz="3600" b="1" dirty="0">
                <a:solidFill>
                  <a:schemeClr val="tx2"/>
                </a:solidFill>
                <a:cs typeface="Arial" panose="020B0604020202020204" pitchFamily="34" charset="0"/>
              </a:rPr>
              <a:t>HB </a:t>
            </a:r>
          </a:p>
        </p:txBody>
      </p:sp>
      <p:sp>
        <p:nvSpPr>
          <p:cNvPr id="372739" name="Text Box 3">
            <a:extLst>
              <a:ext uri="{FF2B5EF4-FFF2-40B4-BE49-F238E27FC236}">
                <a16:creationId xmlns:a16="http://schemas.microsoft.com/office/drawing/2014/main" id="{45F701B8-00D4-4228-85E8-37DA44982CE4}"/>
              </a:ext>
            </a:extLst>
          </p:cNvPr>
          <p:cNvSpPr txBox="1">
            <a:spLocks noChangeArrowheads="1"/>
          </p:cNvSpPr>
          <p:nvPr/>
        </p:nvSpPr>
        <p:spPr bwMode="auto">
          <a:xfrm>
            <a:off x="463550" y="1268413"/>
            <a:ext cx="9459913" cy="5294312"/>
          </a:xfrm>
          <a:prstGeom prst="rect">
            <a:avLst/>
          </a:prstGeom>
          <a:noFill/>
          <a:ln>
            <a:noFill/>
          </a:ln>
        </p:spPr>
        <p:txBody>
          <a:bodyPr>
            <a:spAutoFit/>
          </a:bodyPr>
          <a:lstStyle>
            <a:lvl1pPr marL="457200" indent="-457200" eaLnBrk="0" hangingPunct="0">
              <a:spcBef>
                <a:spcPct val="20000"/>
              </a:spcBef>
              <a:buChar char="•"/>
              <a:defRPr sz="3200">
                <a:solidFill>
                  <a:schemeClr val="tx1"/>
                </a:solidFill>
                <a:latin typeface="Times New Roman" pitchFamily="18"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lnSpc>
                <a:spcPts val="4000"/>
              </a:lnSpc>
              <a:spcBef>
                <a:spcPts val="1200"/>
              </a:spcBef>
              <a:spcAft>
                <a:spcPts val="1200"/>
              </a:spcAft>
              <a:buClr>
                <a:schemeClr val="tx1"/>
              </a:buClr>
              <a:buSzPct val="70000"/>
              <a:buFont typeface="Arial" pitchFamily="34" charset="0"/>
              <a:buChar char="►"/>
              <a:defRPr/>
            </a:pPr>
            <a:r>
              <a:rPr lang="el-GR" altLang="it-IT" sz="2400" b="1" dirty="0" err="1">
                <a:solidFill>
                  <a:schemeClr val="tx1">
                    <a:lumMod val="95000"/>
                    <a:lumOff val="5000"/>
                  </a:schemeClr>
                </a:solidFill>
                <a:latin typeface="Arial" pitchFamily="34" charset="0"/>
                <a:cs typeface="Arial" pitchFamily="34" charset="0"/>
              </a:rPr>
              <a:t>Ιολογική</a:t>
            </a:r>
            <a:r>
              <a:rPr lang="el-GR" altLang="it-IT" sz="2400" b="1" dirty="0">
                <a:solidFill>
                  <a:schemeClr val="tx1">
                    <a:lumMod val="95000"/>
                    <a:lumOff val="5000"/>
                  </a:schemeClr>
                </a:solidFill>
                <a:latin typeface="Arial" pitchFamily="34" charset="0"/>
                <a:cs typeface="Arial" pitchFamily="34" charset="0"/>
              </a:rPr>
              <a:t> ύφεση σχεδόν σε όλους </a:t>
            </a:r>
            <a:r>
              <a:rPr lang="en-GB" altLang="it-IT" sz="2400" b="1" dirty="0">
                <a:solidFill>
                  <a:schemeClr val="tx1">
                    <a:lumMod val="95000"/>
                    <a:lumOff val="5000"/>
                  </a:schemeClr>
                </a:solidFill>
                <a:latin typeface="Arial" pitchFamily="34" charset="0"/>
                <a:cs typeface="Arial" pitchFamily="34" charset="0"/>
              </a:rPr>
              <a:t>(95-100%)</a:t>
            </a:r>
            <a:r>
              <a:rPr lang="el-GR" altLang="it-IT" sz="2400" b="1" dirty="0">
                <a:solidFill>
                  <a:schemeClr val="tx1">
                    <a:lumMod val="95000"/>
                    <a:lumOff val="5000"/>
                  </a:schemeClr>
                </a:solidFill>
                <a:latin typeface="Arial" pitchFamily="34" charset="0"/>
                <a:cs typeface="Arial" pitchFamily="34" charset="0"/>
              </a:rPr>
              <a:t> τους ασθενείς</a:t>
            </a:r>
            <a:r>
              <a:rPr lang="en-GB" altLang="it-IT" sz="2400" b="1" dirty="0">
                <a:solidFill>
                  <a:schemeClr val="tx1">
                    <a:lumMod val="95000"/>
                    <a:lumOff val="5000"/>
                  </a:schemeClr>
                </a:solidFill>
                <a:latin typeface="Arial" pitchFamily="34" charset="0"/>
                <a:cs typeface="Arial" pitchFamily="34" charset="0"/>
              </a:rPr>
              <a:t> </a:t>
            </a:r>
          </a:p>
          <a:p>
            <a:pPr eaLnBrk="1" hangingPunct="1">
              <a:lnSpc>
                <a:spcPts val="4000"/>
              </a:lnSpc>
              <a:spcBef>
                <a:spcPts val="1200"/>
              </a:spcBef>
              <a:spcAft>
                <a:spcPts val="1200"/>
              </a:spcAft>
              <a:buClr>
                <a:schemeClr val="tx1"/>
              </a:buClr>
              <a:buSzPct val="70000"/>
              <a:buFont typeface="Arial" pitchFamily="34" charset="0"/>
              <a:buChar char="►"/>
              <a:defRPr/>
            </a:pPr>
            <a:r>
              <a:rPr lang="en-GB" altLang="it-IT" sz="2400" b="1" dirty="0" err="1">
                <a:solidFill>
                  <a:schemeClr val="tx1">
                    <a:lumMod val="95000"/>
                    <a:lumOff val="5000"/>
                  </a:schemeClr>
                </a:solidFill>
                <a:latin typeface="Arial" pitchFamily="34" charset="0"/>
                <a:cs typeface="Arial" pitchFamily="34" charset="0"/>
              </a:rPr>
              <a:t>HBeAg</a:t>
            </a:r>
            <a:r>
              <a:rPr lang="en-GB" altLang="it-IT" sz="2400" b="1" dirty="0">
                <a:solidFill>
                  <a:schemeClr val="tx1">
                    <a:lumMod val="95000"/>
                    <a:lumOff val="5000"/>
                  </a:schemeClr>
                </a:solidFill>
                <a:latin typeface="Arial" pitchFamily="34" charset="0"/>
                <a:cs typeface="Arial" pitchFamily="34" charset="0"/>
              </a:rPr>
              <a:t> </a:t>
            </a:r>
            <a:r>
              <a:rPr lang="el-GR" altLang="it-IT" sz="2400" b="1" dirty="0" err="1">
                <a:solidFill>
                  <a:schemeClr val="tx1">
                    <a:lumMod val="95000"/>
                    <a:lumOff val="5000"/>
                  </a:schemeClr>
                </a:solidFill>
                <a:latin typeface="Arial" pitchFamily="34" charset="0"/>
                <a:cs typeface="Arial" pitchFamily="34" charset="0"/>
              </a:rPr>
              <a:t>ορομετατροπή</a:t>
            </a:r>
            <a:r>
              <a:rPr lang="en-GB" altLang="it-IT" sz="2400" b="1" dirty="0">
                <a:solidFill>
                  <a:schemeClr val="tx1">
                    <a:lumMod val="95000"/>
                    <a:lumOff val="5000"/>
                  </a:schemeClr>
                </a:solidFill>
                <a:latin typeface="Arial" pitchFamily="34" charset="0"/>
                <a:cs typeface="Arial" pitchFamily="34" charset="0"/>
              </a:rPr>
              <a:t>: 40-50% </a:t>
            </a:r>
            <a:r>
              <a:rPr lang="el-GR" altLang="it-IT" sz="2400" b="1" dirty="0">
                <a:solidFill>
                  <a:schemeClr val="tx1">
                    <a:lumMod val="95000"/>
                    <a:lumOff val="5000"/>
                  </a:schemeClr>
                </a:solidFill>
                <a:latin typeface="Arial" pitchFamily="34" charset="0"/>
                <a:cs typeface="Arial" pitchFamily="34" charset="0"/>
              </a:rPr>
              <a:t>των</a:t>
            </a:r>
            <a:r>
              <a:rPr lang="en-GB" altLang="it-IT" sz="2400" b="1" dirty="0">
                <a:solidFill>
                  <a:schemeClr val="tx1">
                    <a:lumMod val="95000"/>
                    <a:lumOff val="5000"/>
                  </a:schemeClr>
                </a:solidFill>
                <a:latin typeface="Arial" pitchFamily="34" charset="0"/>
                <a:cs typeface="Arial" pitchFamily="34" charset="0"/>
              </a:rPr>
              <a:t> </a:t>
            </a:r>
            <a:r>
              <a:rPr lang="en-GB" altLang="it-IT" sz="2400" b="1" dirty="0" err="1">
                <a:solidFill>
                  <a:schemeClr val="tx1">
                    <a:lumMod val="95000"/>
                    <a:lumOff val="5000"/>
                  </a:schemeClr>
                </a:solidFill>
                <a:latin typeface="Arial" pitchFamily="34" charset="0"/>
                <a:cs typeface="Arial" pitchFamily="34" charset="0"/>
              </a:rPr>
              <a:t>HBeAg</a:t>
            </a:r>
            <a:r>
              <a:rPr lang="en-GB" altLang="it-IT" sz="2400" b="1" dirty="0">
                <a:solidFill>
                  <a:schemeClr val="tx1">
                    <a:lumMod val="95000"/>
                    <a:lumOff val="5000"/>
                  </a:schemeClr>
                </a:solidFill>
                <a:latin typeface="Arial" pitchFamily="34" charset="0"/>
                <a:cs typeface="Arial" pitchFamily="34" charset="0"/>
              </a:rPr>
              <a:t>+ </a:t>
            </a:r>
            <a:r>
              <a:rPr lang="el-GR" altLang="it-IT" sz="2400" b="1" dirty="0">
                <a:solidFill>
                  <a:schemeClr val="tx1">
                    <a:lumMod val="95000"/>
                    <a:lumOff val="5000"/>
                  </a:schemeClr>
                </a:solidFill>
                <a:latin typeface="Arial" pitchFamily="34" charset="0"/>
                <a:cs typeface="Arial" pitchFamily="34" charset="0"/>
              </a:rPr>
              <a:t>ασθενών</a:t>
            </a:r>
            <a:endParaRPr lang="en-GB" altLang="it-IT" sz="2400" b="1" dirty="0">
              <a:solidFill>
                <a:schemeClr val="tx1">
                  <a:lumMod val="95000"/>
                  <a:lumOff val="5000"/>
                </a:schemeClr>
              </a:solidFill>
              <a:latin typeface="Arial" pitchFamily="34" charset="0"/>
              <a:cs typeface="Arial" pitchFamily="34" charset="0"/>
            </a:endParaRPr>
          </a:p>
          <a:p>
            <a:pPr eaLnBrk="1" hangingPunct="1">
              <a:lnSpc>
                <a:spcPts val="4000"/>
              </a:lnSpc>
              <a:spcBef>
                <a:spcPts val="1200"/>
              </a:spcBef>
              <a:spcAft>
                <a:spcPts val="0"/>
              </a:spcAft>
              <a:buClr>
                <a:schemeClr val="tx1"/>
              </a:buClr>
              <a:buSzPct val="70000"/>
              <a:buFont typeface="Arial" pitchFamily="34" charset="0"/>
              <a:buChar char="►"/>
              <a:defRPr/>
            </a:pPr>
            <a:r>
              <a:rPr lang="el-GR" altLang="it-IT" sz="2400" b="1" dirty="0">
                <a:solidFill>
                  <a:schemeClr val="tx1">
                    <a:lumMod val="95000"/>
                    <a:lumOff val="5000"/>
                  </a:schemeClr>
                </a:solidFill>
                <a:latin typeface="Arial" pitchFamily="34" charset="0"/>
                <a:cs typeface="Arial" pitchFamily="34" charset="0"/>
              </a:rPr>
              <a:t>Αρνητικό </a:t>
            </a:r>
            <a:r>
              <a:rPr lang="en-GB" altLang="it-IT" sz="2400" b="1" dirty="0" err="1">
                <a:solidFill>
                  <a:schemeClr val="tx1">
                    <a:lumMod val="95000"/>
                    <a:lumOff val="5000"/>
                  </a:schemeClr>
                </a:solidFill>
                <a:latin typeface="Arial" pitchFamily="34" charset="0"/>
                <a:cs typeface="Arial" pitchFamily="34" charset="0"/>
              </a:rPr>
              <a:t>HBsAg</a:t>
            </a:r>
            <a:r>
              <a:rPr lang="en-GB" altLang="it-IT" sz="2400" b="1" dirty="0">
                <a:solidFill>
                  <a:schemeClr val="tx1">
                    <a:lumMod val="95000"/>
                    <a:lumOff val="5000"/>
                  </a:schemeClr>
                </a:solidFill>
                <a:latin typeface="Arial" pitchFamily="34" charset="0"/>
                <a:cs typeface="Arial" pitchFamily="34" charset="0"/>
              </a:rPr>
              <a:t>: 10-12% </a:t>
            </a:r>
            <a:r>
              <a:rPr lang="el-GR" altLang="it-IT" sz="2400" b="1" dirty="0">
                <a:solidFill>
                  <a:schemeClr val="tx1">
                    <a:lumMod val="95000"/>
                    <a:lumOff val="5000"/>
                  </a:schemeClr>
                </a:solidFill>
                <a:latin typeface="Arial" pitchFamily="34" charset="0"/>
                <a:cs typeface="Arial" pitchFamily="34" charset="0"/>
              </a:rPr>
              <a:t>των</a:t>
            </a:r>
            <a:r>
              <a:rPr lang="en-GB" altLang="it-IT" sz="2400" b="1" dirty="0">
                <a:solidFill>
                  <a:schemeClr val="tx1">
                    <a:lumMod val="95000"/>
                    <a:lumOff val="5000"/>
                  </a:schemeClr>
                </a:solidFill>
                <a:latin typeface="Arial" pitchFamily="34" charset="0"/>
                <a:cs typeface="Arial" pitchFamily="34" charset="0"/>
              </a:rPr>
              <a:t> </a:t>
            </a:r>
            <a:r>
              <a:rPr lang="en-GB" altLang="it-IT" sz="2400" b="1" dirty="0" err="1">
                <a:solidFill>
                  <a:schemeClr val="tx1">
                    <a:lumMod val="95000"/>
                    <a:lumOff val="5000"/>
                  </a:schemeClr>
                </a:solidFill>
                <a:latin typeface="Arial" pitchFamily="34" charset="0"/>
                <a:cs typeface="Arial" pitchFamily="34" charset="0"/>
              </a:rPr>
              <a:t>HBeAg</a:t>
            </a:r>
            <a:r>
              <a:rPr lang="en-GB" altLang="it-IT" sz="2400" b="1" dirty="0">
                <a:solidFill>
                  <a:schemeClr val="tx1">
                    <a:lumMod val="95000"/>
                    <a:lumOff val="5000"/>
                  </a:schemeClr>
                </a:solidFill>
                <a:latin typeface="Arial" pitchFamily="34" charset="0"/>
                <a:cs typeface="Arial" pitchFamily="34" charset="0"/>
              </a:rPr>
              <a:t>+, 1-2% </a:t>
            </a:r>
            <a:r>
              <a:rPr lang="el-GR" altLang="it-IT" sz="2400" b="1" dirty="0">
                <a:solidFill>
                  <a:schemeClr val="tx1">
                    <a:lumMod val="95000"/>
                    <a:lumOff val="5000"/>
                  </a:schemeClr>
                </a:solidFill>
                <a:latin typeface="Arial" pitchFamily="34" charset="0"/>
                <a:cs typeface="Arial" pitchFamily="34" charset="0"/>
              </a:rPr>
              <a:t>των</a:t>
            </a:r>
            <a:r>
              <a:rPr lang="en-GB" altLang="it-IT" sz="2400" b="1" dirty="0">
                <a:solidFill>
                  <a:schemeClr val="tx1">
                    <a:lumMod val="95000"/>
                    <a:lumOff val="5000"/>
                  </a:schemeClr>
                </a:solidFill>
                <a:latin typeface="Arial" pitchFamily="34" charset="0"/>
                <a:cs typeface="Arial" pitchFamily="34" charset="0"/>
              </a:rPr>
              <a:t> </a:t>
            </a:r>
            <a:r>
              <a:rPr lang="en-GB" altLang="it-IT" sz="2400" b="1" dirty="0" err="1">
                <a:solidFill>
                  <a:schemeClr val="tx1">
                    <a:lumMod val="95000"/>
                    <a:lumOff val="5000"/>
                  </a:schemeClr>
                </a:solidFill>
                <a:latin typeface="Arial" pitchFamily="34" charset="0"/>
                <a:cs typeface="Arial" pitchFamily="34" charset="0"/>
              </a:rPr>
              <a:t>HBeAg</a:t>
            </a:r>
            <a:r>
              <a:rPr lang="en-GB" altLang="it-IT" sz="2400" b="1" dirty="0">
                <a:solidFill>
                  <a:schemeClr val="tx1">
                    <a:lumMod val="95000"/>
                    <a:lumOff val="5000"/>
                  </a:schemeClr>
                </a:solidFill>
                <a:latin typeface="Arial" pitchFamily="34" charset="0"/>
                <a:cs typeface="Arial" pitchFamily="34" charset="0"/>
              </a:rPr>
              <a:t>-</a:t>
            </a:r>
            <a:r>
              <a:rPr lang="el-GR" altLang="it-IT" sz="2400" b="1" dirty="0">
                <a:solidFill>
                  <a:schemeClr val="tx1">
                    <a:lumMod val="95000"/>
                    <a:lumOff val="5000"/>
                  </a:schemeClr>
                </a:solidFill>
                <a:latin typeface="Arial" pitchFamily="34" charset="0"/>
                <a:cs typeface="Arial" pitchFamily="34" charset="0"/>
              </a:rPr>
              <a:t> ασθενών</a:t>
            </a:r>
            <a:endParaRPr lang="en-GB" altLang="it-IT" sz="2400" b="1" dirty="0">
              <a:solidFill>
                <a:schemeClr val="tx1">
                  <a:lumMod val="95000"/>
                  <a:lumOff val="5000"/>
                </a:schemeClr>
              </a:solidFill>
              <a:latin typeface="Arial" pitchFamily="34" charset="0"/>
              <a:cs typeface="Arial" pitchFamily="34" charset="0"/>
            </a:endParaRPr>
          </a:p>
          <a:p>
            <a:pPr eaLnBrk="1" hangingPunct="1">
              <a:lnSpc>
                <a:spcPct val="200000"/>
              </a:lnSpc>
              <a:spcBef>
                <a:spcPts val="1200"/>
              </a:spcBef>
              <a:spcAft>
                <a:spcPts val="1200"/>
              </a:spcAft>
              <a:buClr>
                <a:schemeClr val="tx1"/>
              </a:buClr>
              <a:buSzPct val="70000"/>
              <a:buFont typeface="Arial" pitchFamily="34" charset="0"/>
              <a:buChar char="►"/>
              <a:defRPr/>
            </a:pPr>
            <a:r>
              <a:rPr lang="el-GR" altLang="it-IT" sz="2400" b="1" dirty="0">
                <a:solidFill>
                  <a:schemeClr val="tx1">
                    <a:lumMod val="95000"/>
                    <a:lumOff val="5000"/>
                  </a:schemeClr>
                </a:solidFill>
                <a:latin typeface="Arial" pitchFamily="34" charset="0"/>
                <a:cs typeface="Arial" pitchFamily="34" charset="0"/>
              </a:rPr>
              <a:t>Όχι προβλήματα ανοχής-ασφάλειας</a:t>
            </a:r>
            <a:endParaRPr lang="en-GB" altLang="it-IT" sz="2400" b="1" dirty="0">
              <a:solidFill>
                <a:schemeClr val="tx1">
                  <a:lumMod val="95000"/>
                  <a:lumOff val="5000"/>
                </a:schemeClr>
              </a:solidFill>
              <a:latin typeface="Arial" pitchFamily="34" charset="0"/>
              <a:cs typeface="Arial" pitchFamily="34" charset="0"/>
            </a:endParaRPr>
          </a:p>
          <a:p>
            <a:pPr eaLnBrk="1" hangingPunct="1">
              <a:lnSpc>
                <a:spcPts val="4000"/>
              </a:lnSpc>
              <a:spcBef>
                <a:spcPts val="1800"/>
              </a:spcBef>
              <a:spcAft>
                <a:spcPts val="0"/>
              </a:spcAft>
              <a:buClr>
                <a:schemeClr val="tx1"/>
              </a:buClr>
              <a:buSzPct val="70000"/>
              <a:buFont typeface="Arial" pitchFamily="34" charset="0"/>
              <a:buChar char="►"/>
              <a:defRPr/>
            </a:pPr>
            <a:r>
              <a:rPr lang="el-GR" altLang="it-IT" sz="2400" b="1" dirty="0">
                <a:solidFill>
                  <a:schemeClr val="tx1">
                    <a:lumMod val="95000"/>
                    <a:lumOff val="5000"/>
                  </a:schemeClr>
                </a:solidFill>
                <a:latin typeface="Arial" pitchFamily="34" charset="0"/>
                <a:cs typeface="Arial" pitchFamily="34" charset="0"/>
              </a:rPr>
              <a:t>Ιστολογική βελτίωση </a:t>
            </a:r>
            <a:r>
              <a:rPr lang="en-GB" altLang="it-IT" sz="2400" b="1" dirty="0">
                <a:solidFill>
                  <a:schemeClr val="tx1">
                    <a:lumMod val="95000"/>
                    <a:lumOff val="5000"/>
                  </a:schemeClr>
                </a:solidFill>
                <a:latin typeface="Arial" pitchFamily="34" charset="0"/>
                <a:cs typeface="Arial" pitchFamily="34" charset="0"/>
              </a:rPr>
              <a:t>(</a:t>
            </a:r>
            <a:r>
              <a:rPr lang="el-GR" altLang="it-IT" sz="2400" b="1" dirty="0">
                <a:solidFill>
                  <a:schemeClr val="tx1">
                    <a:lumMod val="95000"/>
                    <a:lumOff val="5000"/>
                  </a:schemeClr>
                </a:solidFill>
                <a:latin typeface="Arial" pitchFamily="34" charset="0"/>
                <a:cs typeface="Arial" pitchFamily="34" charset="0"/>
              </a:rPr>
              <a:t>πιθανή υποστροφή κίρρωσης</a:t>
            </a:r>
            <a:r>
              <a:rPr lang="en-GB" altLang="it-IT" sz="2400" b="1" dirty="0">
                <a:solidFill>
                  <a:schemeClr val="tx1">
                    <a:lumMod val="95000"/>
                    <a:lumOff val="5000"/>
                  </a:schemeClr>
                </a:solidFill>
                <a:latin typeface="Arial" pitchFamily="34" charset="0"/>
                <a:cs typeface="Arial" pitchFamily="34" charset="0"/>
              </a:rPr>
              <a:t>)</a:t>
            </a:r>
          </a:p>
          <a:p>
            <a:pPr eaLnBrk="1" hangingPunct="1">
              <a:lnSpc>
                <a:spcPts val="4000"/>
              </a:lnSpc>
              <a:spcBef>
                <a:spcPts val="1800"/>
              </a:spcBef>
              <a:spcAft>
                <a:spcPts val="0"/>
              </a:spcAft>
              <a:buClr>
                <a:schemeClr val="tx1"/>
              </a:buClr>
              <a:buSzPct val="70000"/>
              <a:buFont typeface="Arial" pitchFamily="34" charset="0"/>
              <a:buChar char="►"/>
              <a:defRPr/>
            </a:pPr>
            <a:r>
              <a:rPr lang="el-GR" altLang="it-IT" sz="2400" b="1" dirty="0">
                <a:solidFill>
                  <a:schemeClr val="tx1">
                    <a:lumMod val="95000"/>
                    <a:lumOff val="5000"/>
                  </a:schemeClr>
                </a:solidFill>
                <a:latin typeface="Arial" pitchFamily="34" charset="0"/>
                <a:cs typeface="Arial" pitchFamily="34" charset="0"/>
              </a:rPr>
              <a:t>Βελτίωση μακροχρόνιας έκβασης - επιβίωσης</a:t>
            </a:r>
            <a:endParaRPr lang="en-GB" altLang="it-IT" sz="2400" b="1" dirty="0">
              <a:solidFill>
                <a:schemeClr val="tx1">
                  <a:lumMod val="95000"/>
                  <a:lumOff val="5000"/>
                </a:schemeClr>
              </a:solidFill>
              <a:latin typeface="Arial" pitchFamily="34" charset="0"/>
              <a:cs typeface="Arial" pitchFamily="34" charset="0"/>
            </a:endParaRPr>
          </a:p>
        </p:txBody>
      </p:sp>
    </p:spTree>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62" name="Picture 2" descr="Fig1A">
            <a:extLst>
              <a:ext uri="{FF2B5EF4-FFF2-40B4-BE49-F238E27FC236}">
                <a16:creationId xmlns:a16="http://schemas.microsoft.com/office/drawing/2014/main" id="{324F2D2A-05D2-40D4-9D57-AE1D6A177D6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076" y="1124744"/>
            <a:ext cx="4919905" cy="4045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67B1C49C-E376-46EC-A561-BC2E3A728AFE}"/>
              </a:ext>
            </a:extLst>
          </p:cNvPr>
          <p:cNvSpPr txBox="1"/>
          <p:nvPr/>
        </p:nvSpPr>
        <p:spPr>
          <a:xfrm>
            <a:off x="-8889" y="265606"/>
            <a:ext cx="10385552" cy="830997"/>
          </a:xfrm>
          <a:prstGeom prst="rect">
            <a:avLst/>
          </a:prstGeom>
          <a:noFill/>
        </p:spPr>
        <p:txBody>
          <a:bodyPr wrap="square" rtlCol="0">
            <a:spAutoFit/>
          </a:bodyPr>
          <a:lstStyle/>
          <a:p>
            <a:r>
              <a:rPr lang="el-GR" dirty="0">
                <a:solidFill>
                  <a:schemeClr val="tx2"/>
                </a:solidFill>
              </a:rPr>
              <a:t>Άριστη επιβίωση ασθενών με ΧΗΒ ±αντιρροπ</a:t>
            </a:r>
            <a:r>
              <a:rPr lang="en-US" dirty="0">
                <a:solidFill>
                  <a:schemeClr val="tx2"/>
                </a:solidFill>
              </a:rPr>
              <a:t>.</a:t>
            </a:r>
            <a:r>
              <a:rPr lang="el-GR" dirty="0">
                <a:solidFill>
                  <a:schemeClr val="tx2"/>
                </a:solidFill>
              </a:rPr>
              <a:t> κίρρωση υπό </a:t>
            </a:r>
            <a:r>
              <a:rPr lang="en-US" dirty="0">
                <a:solidFill>
                  <a:schemeClr val="tx2"/>
                </a:solidFill>
              </a:rPr>
              <a:t>ETV/TDF</a:t>
            </a:r>
          </a:p>
          <a:p>
            <a:pPr algn="ctr"/>
            <a:r>
              <a:rPr lang="en-US" dirty="0">
                <a:solidFill>
                  <a:schemeClr val="tx2"/>
                </a:solidFill>
              </a:rPr>
              <a:t>a “success story”</a:t>
            </a:r>
            <a:r>
              <a:rPr lang="el-GR" dirty="0">
                <a:solidFill>
                  <a:schemeClr val="tx2"/>
                </a:solidFill>
              </a:rPr>
              <a:t> </a:t>
            </a:r>
          </a:p>
        </p:txBody>
      </p:sp>
      <p:sp>
        <p:nvSpPr>
          <p:cNvPr id="4" name="Text Box 21">
            <a:extLst>
              <a:ext uri="{FF2B5EF4-FFF2-40B4-BE49-F238E27FC236}">
                <a16:creationId xmlns:a16="http://schemas.microsoft.com/office/drawing/2014/main" id="{7E66C9E9-EEB5-4F5F-A625-0CB8EE3632D4}"/>
              </a:ext>
            </a:extLst>
          </p:cNvPr>
          <p:cNvSpPr txBox="1">
            <a:spLocks noChangeArrowheads="1"/>
          </p:cNvSpPr>
          <p:nvPr/>
        </p:nvSpPr>
        <p:spPr bwMode="auto">
          <a:xfrm>
            <a:off x="2524125" y="6475413"/>
            <a:ext cx="551619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1600" dirty="0" err="1">
                <a:solidFill>
                  <a:schemeClr val="accent2"/>
                </a:solidFill>
              </a:rPr>
              <a:t>Papatheodoridis</a:t>
            </a:r>
            <a:r>
              <a:rPr lang="el-GR" altLang="el-GR" sz="1600" dirty="0">
                <a:solidFill>
                  <a:schemeClr val="accent2"/>
                </a:solidFill>
              </a:rPr>
              <a:t> </a:t>
            </a:r>
            <a:r>
              <a:rPr lang="en-US" altLang="el-GR" sz="1600" dirty="0">
                <a:solidFill>
                  <a:schemeClr val="accent2"/>
                </a:solidFill>
              </a:rPr>
              <a:t>GV et al. J </a:t>
            </a:r>
            <a:r>
              <a:rPr lang="en-US" altLang="el-GR" sz="1600" dirty="0" err="1">
                <a:solidFill>
                  <a:schemeClr val="accent2"/>
                </a:solidFill>
              </a:rPr>
              <a:t>Hepatol</a:t>
            </a:r>
            <a:r>
              <a:rPr lang="en-US" altLang="el-GR" sz="1600" dirty="0">
                <a:solidFill>
                  <a:schemeClr val="accent2"/>
                </a:solidFill>
              </a:rPr>
              <a:t> </a:t>
            </a:r>
            <a:r>
              <a:rPr lang="en-US" sz="1600" dirty="0">
                <a:solidFill>
                  <a:schemeClr val="accent2"/>
                </a:solidFill>
              </a:rPr>
              <a:t>2018;68:1129-1136.</a:t>
            </a:r>
            <a:endParaRPr lang="el-GR" altLang="el-GR" sz="1600" dirty="0">
              <a:solidFill>
                <a:schemeClr val="accent2"/>
              </a:solidFill>
            </a:endParaRPr>
          </a:p>
        </p:txBody>
      </p:sp>
      <p:pic>
        <p:nvPicPr>
          <p:cNvPr id="655363" name="Picture 3" descr="Fig2A">
            <a:extLst>
              <a:ext uri="{FF2B5EF4-FFF2-40B4-BE49-F238E27FC236}">
                <a16:creationId xmlns:a16="http://schemas.microsoft.com/office/drawing/2014/main" id="{BDEA6EC4-9A30-4384-8F64-7E98F5E3242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15199" y="1124744"/>
            <a:ext cx="5561464" cy="4045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AE51B7C7-0F63-4E70-ABE6-482359C946CA}"/>
              </a:ext>
            </a:extLst>
          </p:cNvPr>
          <p:cNvSpPr txBox="1"/>
          <p:nvPr/>
        </p:nvSpPr>
        <p:spPr>
          <a:xfrm>
            <a:off x="462980" y="5229200"/>
            <a:ext cx="9529082" cy="1132361"/>
          </a:xfrm>
          <a:prstGeom prst="rect">
            <a:avLst/>
          </a:prstGeom>
          <a:noFill/>
        </p:spPr>
        <p:txBody>
          <a:bodyPr wrap="none" rtlCol="0">
            <a:spAutoFit/>
          </a:bodyPr>
          <a:lstStyle/>
          <a:p>
            <a:pPr algn="ctr">
              <a:lnSpc>
                <a:spcPts val="2800"/>
              </a:lnSpc>
            </a:pPr>
            <a:r>
              <a:rPr lang="en-US" sz="1800" dirty="0"/>
              <a:t>Compared to general population matched for country, age, gender and calendar year </a:t>
            </a:r>
          </a:p>
          <a:p>
            <a:pPr algn="ctr">
              <a:lnSpc>
                <a:spcPts val="2800"/>
              </a:lnSpc>
            </a:pPr>
            <a:r>
              <a:rPr lang="en-US" sz="1800" u="sng" dirty="0"/>
              <a:t>Standardized Mortality Ratio = SMR (95% CI) </a:t>
            </a:r>
          </a:p>
          <a:p>
            <a:pPr algn="ctr">
              <a:lnSpc>
                <a:spcPts val="2800"/>
              </a:lnSpc>
            </a:pPr>
            <a:r>
              <a:rPr lang="en-US" sz="1800" dirty="0"/>
              <a:t>Total: 0.82 (0.66-1.03), </a:t>
            </a:r>
            <a:r>
              <a:rPr lang="en-US" sz="1800" dirty="0">
                <a:solidFill>
                  <a:schemeClr val="tx2"/>
                </a:solidFill>
              </a:rPr>
              <a:t>no Ci: 0.58 (0.41-0.82), </a:t>
            </a:r>
            <a:r>
              <a:rPr lang="en-US" sz="1800" dirty="0"/>
              <a:t>Ci: 1.22 (0.90-1.66) </a:t>
            </a:r>
          </a:p>
        </p:txBody>
      </p:sp>
    </p:spTree>
    <p:extLst>
      <p:ext uri="{BB962C8B-B14F-4D97-AF65-F5344CB8AC3E}">
        <p14:creationId xmlns:p14="http://schemas.microsoft.com/office/powerpoint/2010/main" val="2526641305"/>
      </p:ext>
    </p:extLst>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4">
            <a:extLst>
              <a:ext uri="{FF2B5EF4-FFF2-40B4-BE49-F238E27FC236}">
                <a16:creationId xmlns:a16="http://schemas.microsoft.com/office/drawing/2014/main" id="{F6B61468-19AE-4F40-9FC7-5B00689B51CF}"/>
              </a:ext>
            </a:extLst>
          </p:cNvPr>
          <p:cNvGraphicFramePr>
            <a:graphicFrameLocks noChangeAspect="1"/>
          </p:cNvGraphicFramePr>
          <p:nvPr/>
        </p:nvGraphicFramePr>
        <p:xfrm>
          <a:off x="1039813" y="1196975"/>
          <a:ext cx="6858000" cy="4572000"/>
        </p:xfrm>
        <a:graphic>
          <a:graphicData uri="http://schemas.openxmlformats.org/presentationml/2006/ole">
            <mc:AlternateContent xmlns:mc="http://schemas.openxmlformats.org/markup-compatibility/2006">
              <mc:Choice xmlns:v="urn:schemas-microsoft-com:vml" Requires="v">
                <p:oleObj spid="_x0000_s4098" name="Chart" r:id="rId3" imgW="6858145" imgH="4572000" progId="MSGraph.Chart.8">
                  <p:embed followColorScheme="full"/>
                </p:oleObj>
              </mc:Choice>
              <mc:Fallback>
                <p:oleObj name="Chart" r:id="rId3" imgW="6858145" imgH="4572000" progId="MSGraph.Chart.8">
                  <p:embed followColorScheme="full"/>
                  <p:pic>
                    <p:nvPicPr>
                      <p:cNvPr id="3074" name="Object 4">
                        <a:extLst>
                          <a:ext uri="{FF2B5EF4-FFF2-40B4-BE49-F238E27FC236}">
                            <a16:creationId xmlns:a16="http://schemas.microsoft.com/office/drawing/2014/main" id="{F6B61468-19AE-4F40-9FC7-5B00689B51CF}"/>
                          </a:ext>
                        </a:extLst>
                      </p:cNvPr>
                      <p:cNvPicPr>
                        <a:picLocks noChangeAspect="1" noChangeArrowheads="1"/>
                      </p:cNvPicPr>
                      <p:nvPr/>
                    </p:nvPicPr>
                    <p:blipFill>
                      <a:blip r:embed="rId4"/>
                      <a:srcRect/>
                      <a:stretch>
                        <a:fillRect/>
                      </a:stretch>
                    </p:blipFill>
                    <p:spPr bwMode="auto">
                      <a:xfrm>
                        <a:off x="1039813" y="1196975"/>
                        <a:ext cx="6858000" cy="4572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075" name="Text Box 5">
            <a:extLst>
              <a:ext uri="{FF2B5EF4-FFF2-40B4-BE49-F238E27FC236}">
                <a16:creationId xmlns:a16="http://schemas.microsoft.com/office/drawing/2014/main" id="{9AD7BA07-6B6D-412F-A66D-F4BE44ECC1DE}"/>
              </a:ext>
            </a:extLst>
          </p:cNvPr>
          <p:cNvSpPr txBox="1">
            <a:spLocks noChangeArrowheads="1"/>
          </p:cNvSpPr>
          <p:nvPr/>
        </p:nvSpPr>
        <p:spPr bwMode="auto">
          <a:xfrm>
            <a:off x="155575" y="3068638"/>
            <a:ext cx="127158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a:r>
              <a:rPr lang="el-GR" altLang="el-GR" sz="2000" b="1"/>
              <a:t>Ασθενείς</a:t>
            </a:r>
            <a:endParaRPr lang="en-US" altLang="el-GR" sz="2000" b="1"/>
          </a:p>
          <a:p>
            <a:pPr algn="ctr"/>
            <a:r>
              <a:rPr lang="el-GR" altLang="el-GR" sz="2000" b="1"/>
              <a:t>με</a:t>
            </a:r>
            <a:r>
              <a:rPr lang="en-US" altLang="el-GR" sz="2000" b="1"/>
              <a:t> H</a:t>
            </a:r>
            <a:r>
              <a:rPr lang="el-GR" altLang="el-GR" sz="2000" b="1"/>
              <a:t>ΚΚ</a:t>
            </a:r>
            <a:r>
              <a:rPr lang="en-US" altLang="el-GR" sz="2000" b="1"/>
              <a:t>,</a:t>
            </a:r>
          </a:p>
          <a:p>
            <a:pPr algn="ctr"/>
            <a:r>
              <a:rPr lang="en-US" altLang="el-GR" sz="2000" b="1"/>
              <a:t>%</a:t>
            </a:r>
            <a:endParaRPr lang="el-GR" altLang="el-GR" sz="2000" b="1"/>
          </a:p>
        </p:txBody>
      </p:sp>
      <p:sp>
        <p:nvSpPr>
          <p:cNvPr id="3076" name="Text Box 6">
            <a:extLst>
              <a:ext uri="{FF2B5EF4-FFF2-40B4-BE49-F238E27FC236}">
                <a16:creationId xmlns:a16="http://schemas.microsoft.com/office/drawing/2014/main" id="{0E36BA21-397C-46A3-A03D-EB0DACF39CC5}"/>
              </a:ext>
            </a:extLst>
          </p:cNvPr>
          <p:cNvSpPr txBox="1">
            <a:spLocks noChangeArrowheads="1"/>
          </p:cNvSpPr>
          <p:nvPr/>
        </p:nvSpPr>
        <p:spPr bwMode="auto">
          <a:xfrm>
            <a:off x="6367463" y="1560513"/>
            <a:ext cx="3960812" cy="295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120000"/>
              </a:lnSpc>
            </a:pPr>
            <a:r>
              <a:rPr lang="en-US" altLang="el-GR" sz="1800" b="1"/>
              <a:t>                   </a:t>
            </a:r>
            <a:r>
              <a:rPr lang="el-GR" altLang="el-GR" sz="1800" b="1"/>
              <a:t>  </a:t>
            </a:r>
            <a:r>
              <a:rPr lang="en-US" altLang="el-GR" sz="1800" b="1"/>
              <a:t>  </a:t>
            </a:r>
            <a:r>
              <a:rPr lang="el-GR" altLang="el-GR" sz="1800" b="1"/>
              <a:t>  Υπό         Χωρίς </a:t>
            </a:r>
          </a:p>
          <a:p>
            <a:r>
              <a:rPr lang="el-GR" altLang="el-GR" sz="1800" b="1"/>
              <a:t>                     θεραπεία</a:t>
            </a:r>
            <a:r>
              <a:rPr lang="en-US" altLang="el-GR" sz="1800" b="1"/>
              <a:t>  </a:t>
            </a:r>
            <a:r>
              <a:rPr lang="el-GR" altLang="el-GR" sz="1800" b="1"/>
              <a:t>θεραπεία</a:t>
            </a:r>
            <a:endParaRPr lang="en-US" altLang="el-GR" sz="1800" b="1"/>
          </a:p>
          <a:p>
            <a:pPr>
              <a:lnSpc>
                <a:spcPct val="120000"/>
              </a:lnSpc>
            </a:pPr>
            <a:r>
              <a:rPr lang="en-US" altLang="el-GR" sz="1800" b="1"/>
              <a:t>  </a:t>
            </a:r>
            <a:r>
              <a:rPr lang="el-GR" altLang="el-GR" sz="1800" b="1"/>
              <a:t>Ασθενείς, Αρ.</a:t>
            </a:r>
            <a:r>
              <a:rPr lang="en-US" altLang="el-GR" sz="1800" b="1"/>
              <a:t>: 779     </a:t>
            </a:r>
            <a:r>
              <a:rPr lang="el-GR" altLang="el-GR" sz="1800" b="1"/>
              <a:t>     </a:t>
            </a:r>
            <a:r>
              <a:rPr lang="en-US" altLang="el-GR" sz="1800" b="1"/>
              <a:t>534 </a:t>
            </a:r>
          </a:p>
          <a:p>
            <a:pPr>
              <a:lnSpc>
                <a:spcPct val="120000"/>
              </a:lnSpc>
            </a:pPr>
            <a:r>
              <a:rPr lang="en-US" altLang="el-GR" sz="1800" b="1"/>
              <a:t>  HBeAg(-)      </a:t>
            </a:r>
            <a:r>
              <a:rPr lang="el-GR" altLang="el-GR" sz="1800" b="1"/>
              <a:t>    </a:t>
            </a:r>
            <a:r>
              <a:rPr lang="en-US" altLang="el-GR" sz="1800" b="1"/>
              <a:t>49%   </a:t>
            </a:r>
            <a:r>
              <a:rPr lang="el-GR" altLang="el-GR" sz="1800" b="1"/>
              <a:t>      </a:t>
            </a:r>
            <a:r>
              <a:rPr lang="en-US" altLang="el-GR" sz="1800" b="1"/>
              <a:t>54%</a:t>
            </a:r>
          </a:p>
          <a:p>
            <a:pPr>
              <a:lnSpc>
                <a:spcPct val="120000"/>
              </a:lnSpc>
            </a:pPr>
            <a:r>
              <a:rPr lang="en-US" altLang="el-GR" sz="1800" b="1"/>
              <a:t>  </a:t>
            </a:r>
            <a:r>
              <a:rPr lang="el-GR" altLang="el-GR" sz="1800" b="1"/>
              <a:t>Αντιρρ</a:t>
            </a:r>
            <a:r>
              <a:rPr lang="en-US" altLang="el-GR" sz="1800" b="1"/>
              <a:t>. </a:t>
            </a:r>
            <a:r>
              <a:rPr lang="el-GR" altLang="el-GR" sz="1800" b="1"/>
              <a:t>ΚΙ</a:t>
            </a:r>
            <a:r>
              <a:rPr lang="en-US" altLang="el-GR" sz="1800" b="1"/>
              <a:t>: </a:t>
            </a:r>
            <a:r>
              <a:rPr lang="el-GR" altLang="el-GR" sz="1800" b="1"/>
              <a:t> </a:t>
            </a:r>
            <a:r>
              <a:rPr lang="en-US" altLang="el-GR" sz="1800" b="1"/>
              <a:t> </a:t>
            </a:r>
            <a:r>
              <a:rPr lang="el-GR" altLang="el-GR" sz="1800" b="1"/>
              <a:t>     </a:t>
            </a:r>
            <a:r>
              <a:rPr lang="en-US" altLang="el-GR" sz="1800" b="1"/>
              <a:t>29%  </a:t>
            </a:r>
            <a:r>
              <a:rPr lang="el-GR" altLang="el-GR" sz="1800" b="1"/>
              <a:t>       </a:t>
            </a:r>
            <a:r>
              <a:rPr lang="en-US" altLang="el-GR" sz="1800" b="1"/>
              <a:t>39%</a:t>
            </a:r>
          </a:p>
          <a:p>
            <a:pPr>
              <a:lnSpc>
                <a:spcPct val="120000"/>
              </a:lnSpc>
            </a:pPr>
            <a:r>
              <a:rPr lang="en-US" altLang="el-GR" sz="1800" b="1"/>
              <a:t>  FUP (mos): </a:t>
            </a:r>
            <a:r>
              <a:rPr lang="el-GR" altLang="el-GR" sz="1800" b="1"/>
              <a:t>    </a:t>
            </a:r>
            <a:r>
              <a:rPr lang="en-US" altLang="el-GR" sz="1800" b="1"/>
              <a:t>32-90 </a:t>
            </a:r>
            <a:r>
              <a:rPr lang="el-GR" altLang="el-GR" sz="1800" b="1"/>
              <a:t>     </a:t>
            </a:r>
            <a:r>
              <a:rPr lang="en-US" altLang="el-GR" sz="1800" b="1"/>
              <a:t>32-108 </a:t>
            </a:r>
          </a:p>
          <a:p>
            <a:pPr>
              <a:lnSpc>
                <a:spcPct val="120000"/>
              </a:lnSpc>
              <a:buFontTx/>
              <a:buChar char="•"/>
            </a:pPr>
            <a:r>
              <a:rPr lang="en-US" altLang="el-GR" sz="1800" b="1"/>
              <a:t> </a:t>
            </a:r>
            <a:r>
              <a:rPr lang="en-US" altLang="el-GR" sz="1600" b="1" i="1"/>
              <a:t>Liaw et al, NEJM 2004 </a:t>
            </a:r>
          </a:p>
          <a:p>
            <a:pPr>
              <a:lnSpc>
                <a:spcPct val="120000"/>
              </a:lnSpc>
              <a:buFontTx/>
              <a:buChar char="•"/>
            </a:pPr>
            <a:r>
              <a:rPr lang="en-US" altLang="el-GR" sz="1600" b="1" i="1"/>
              <a:t> Papatheodoridis et al, HEP 2005 </a:t>
            </a:r>
          </a:p>
          <a:p>
            <a:pPr>
              <a:lnSpc>
                <a:spcPct val="120000"/>
              </a:lnSpc>
              <a:buFontTx/>
              <a:buChar char="•"/>
            </a:pPr>
            <a:r>
              <a:rPr lang="en-US" altLang="el-GR" sz="1600" b="1" i="1"/>
              <a:t> Yuen et al, AVT 2007</a:t>
            </a:r>
            <a:endParaRPr lang="el-GR" altLang="el-GR" sz="1600" b="1" i="1"/>
          </a:p>
        </p:txBody>
      </p:sp>
      <p:sp>
        <p:nvSpPr>
          <p:cNvPr id="3077" name="Line 7">
            <a:extLst>
              <a:ext uri="{FF2B5EF4-FFF2-40B4-BE49-F238E27FC236}">
                <a16:creationId xmlns:a16="http://schemas.microsoft.com/office/drawing/2014/main" id="{FBF2DB31-BE2E-41E2-93BC-21743AFE626F}"/>
              </a:ext>
            </a:extLst>
          </p:cNvPr>
          <p:cNvSpPr>
            <a:spLocks noChangeShapeType="1"/>
          </p:cNvSpPr>
          <p:nvPr/>
        </p:nvSpPr>
        <p:spPr bwMode="auto">
          <a:xfrm>
            <a:off x="6511925" y="2205038"/>
            <a:ext cx="3600450"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78" name="Line 8">
            <a:extLst>
              <a:ext uri="{FF2B5EF4-FFF2-40B4-BE49-F238E27FC236}">
                <a16:creationId xmlns:a16="http://schemas.microsoft.com/office/drawing/2014/main" id="{6BFA83E5-F25A-417C-9AEB-32B6BF760163}"/>
              </a:ext>
            </a:extLst>
          </p:cNvPr>
          <p:cNvSpPr>
            <a:spLocks noChangeShapeType="1"/>
          </p:cNvSpPr>
          <p:nvPr/>
        </p:nvSpPr>
        <p:spPr bwMode="auto">
          <a:xfrm>
            <a:off x="6438900" y="3573463"/>
            <a:ext cx="3600450"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79" name="Line 9">
            <a:extLst>
              <a:ext uri="{FF2B5EF4-FFF2-40B4-BE49-F238E27FC236}">
                <a16:creationId xmlns:a16="http://schemas.microsoft.com/office/drawing/2014/main" id="{55968E95-55FC-4050-BC3F-4728832232E1}"/>
              </a:ext>
            </a:extLst>
          </p:cNvPr>
          <p:cNvSpPr>
            <a:spLocks noChangeShapeType="1"/>
          </p:cNvSpPr>
          <p:nvPr/>
        </p:nvSpPr>
        <p:spPr bwMode="auto">
          <a:xfrm flipV="1">
            <a:off x="2479675" y="1557338"/>
            <a:ext cx="0" cy="2160587"/>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0" name="Line 10">
            <a:extLst>
              <a:ext uri="{FF2B5EF4-FFF2-40B4-BE49-F238E27FC236}">
                <a16:creationId xmlns:a16="http://schemas.microsoft.com/office/drawing/2014/main" id="{19048CAC-1632-4BEB-A0B2-28FADD1FD978}"/>
              </a:ext>
            </a:extLst>
          </p:cNvPr>
          <p:cNvSpPr>
            <a:spLocks noChangeShapeType="1"/>
          </p:cNvSpPr>
          <p:nvPr/>
        </p:nvSpPr>
        <p:spPr bwMode="auto">
          <a:xfrm flipV="1">
            <a:off x="5503863" y="1557338"/>
            <a:ext cx="0" cy="935037"/>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1" name="Line 11">
            <a:extLst>
              <a:ext uri="{FF2B5EF4-FFF2-40B4-BE49-F238E27FC236}">
                <a16:creationId xmlns:a16="http://schemas.microsoft.com/office/drawing/2014/main" id="{65F4C7AC-E798-40D7-A757-009505BE0511}"/>
              </a:ext>
            </a:extLst>
          </p:cNvPr>
          <p:cNvSpPr>
            <a:spLocks noChangeShapeType="1"/>
          </p:cNvSpPr>
          <p:nvPr/>
        </p:nvSpPr>
        <p:spPr bwMode="auto">
          <a:xfrm>
            <a:off x="2479675" y="1557338"/>
            <a:ext cx="863600"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2" name="Text Box 12">
            <a:extLst>
              <a:ext uri="{FF2B5EF4-FFF2-40B4-BE49-F238E27FC236}">
                <a16:creationId xmlns:a16="http://schemas.microsoft.com/office/drawing/2014/main" id="{037EC546-8F16-4F86-A811-926D0C213207}"/>
              </a:ext>
            </a:extLst>
          </p:cNvPr>
          <p:cNvSpPr txBox="1">
            <a:spLocks noChangeArrowheads="1"/>
          </p:cNvSpPr>
          <p:nvPr/>
        </p:nvSpPr>
        <p:spPr bwMode="auto">
          <a:xfrm>
            <a:off x="3286125" y="1335088"/>
            <a:ext cx="1922463"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2000" b="1"/>
              <a:t>P=0.003</a:t>
            </a:r>
          </a:p>
          <a:p>
            <a:pPr>
              <a:lnSpc>
                <a:spcPct val="150000"/>
              </a:lnSpc>
            </a:pPr>
            <a:r>
              <a:rPr lang="en-US" altLang="el-GR" sz="2000" b="1"/>
              <a:t>     P=0.015</a:t>
            </a:r>
          </a:p>
          <a:p>
            <a:pPr>
              <a:lnSpc>
                <a:spcPct val="150000"/>
              </a:lnSpc>
            </a:pPr>
            <a:r>
              <a:rPr lang="en-US" altLang="el-GR" sz="2000" b="1"/>
              <a:t>           P=0.016</a:t>
            </a:r>
            <a:endParaRPr lang="el-GR" altLang="el-GR" sz="2000" b="1"/>
          </a:p>
        </p:txBody>
      </p:sp>
      <p:sp>
        <p:nvSpPr>
          <p:cNvPr id="3083" name="Line 13">
            <a:extLst>
              <a:ext uri="{FF2B5EF4-FFF2-40B4-BE49-F238E27FC236}">
                <a16:creationId xmlns:a16="http://schemas.microsoft.com/office/drawing/2014/main" id="{166DB298-8329-4ACF-A631-F97853FFA6F4}"/>
              </a:ext>
            </a:extLst>
          </p:cNvPr>
          <p:cNvSpPr>
            <a:spLocks noChangeShapeType="1"/>
          </p:cNvSpPr>
          <p:nvPr/>
        </p:nvSpPr>
        <p:spPr bwMode="auto">
          <a:xfrm>
            <a:off x="4422775" y="1557338"/>
            <a:ext cx="1081088"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4" name="Line 14">
            <a:extLst>
              <a:ext uri="{FF2B5EF4-FFF2-40B4-BE49-F238E27FC236}">
                <a16:creationId xmlns:a16="http://schemas.microsoft.com/office/drawing/2014/main" id="{3930D6DB-20CC-4189-A417-BC2E2ED2D34B}"/>
              </a:ext>
            </a:extLst>
          </p:cNvPr>
          <p:cNvSpPr>
            <a:spLocks noChangeShapeType="1"/>
          </p:cNvSpPr>
          <p:nvPr/>
        </p:nvSpPr>
        <p:spPr bwMode="auto">
          <a:xfrm flipV="1">
            <a:off x="3127375" y="1989138"/>
            <a:ext cx="0" cy="1728787"/>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5" name="Line 15">
            <a:extLst>
              <a:ext uri="{FF2B5EF4-FFF2-40B4-BE49-F238E27FC236}">
                <a16:creationId xmlns:a16="http://schemas.microsoft.com/office/drawing/2014/main" id="{06C1638F-F86A-4CEC-9976-488812859862}"/>
              </a:ext>
            </a:extLst>
          </p:cNvPr>
          <p:cNvSpPr>
            <a:spLocks noChangeShapeType="1"/>
          </p:cNvSpPr>
          <p:nvPr/>
        </p:nvSpPr>
        <p:spPr bwMode="auto">
          <a:xfrm>
            <a:off x="3127375" y="1989138"/>
            <a:ext cx="57626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6" name="Line 16">
            <a:extLst>
              <a:ext uri="{FF2B5EF4-FFF2-40B4-BE49-F238E27FC236}">
                <a16:creationId xmlns:a16="http://schemas.microsoft.com/office/drawing/2014/main" id="{B6B39D2C-4182-4B6D-98A0-F11A195A2199}"/>
              </a:ext>
            </a:extLst>
          </p:cNvPr>
          <p:cNvSpPr>
            <a:spLocks noChangeShapeType="1"/>
          </p:cNvSpPr>
          <p:nvPr/>
        </p:nvSpPr>
        <p:spPr bwMode="auto">
          <a:xfrm>
            <a:off x="4711700" y="1989138"/>
            <a:ext cx="79216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7" name="Line 17">
            <a:extLst>
              <a:ext uri="{FF2B5EF4-FFF2-40B4-BE49-F238E27FC236}">
                <a16:creationId xmlns:a16="http://schemas.microsoft.com/office/drawing/2014/main" id="{D4D393DE-1BDC-4D05-A8A3-ED2501AA2310}"/>
              </a:ext>
            </a:extLst>
          </p:cNvPr>
          <p:cNvSpPr>
            <a:spLocks noChangeShapeType="1"/>
          </p:cNvSpPr>
          <p:nvPr/>
        </p:nvSpPr>
        <p:spPr bwMode="auto">
          <a:xfrm flipV="1">
            <a:off x="3848100" y="2420938"/>
            <a:ext cx="0" cy="1296987"/>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8" name="Line 18">
            <a:extLst>
              <a:ext uri="{FF2B5EF4-FFF2-40B4-BE49-F238E27FC236}">
                <a16:creationId xmlns:a16="http://schemas.microsoft.com/office/drawing/2014/main" id="{D90855DE-73BF-4BF3-B1F6-8D9F123E7B17}"/>
              </a:ext>
            </a:extLst>
          </p:cNvPr>
          <p:cNvSpPr>
            <a:spLocks noChangeShapeType="1"/>
          </p:cNvSpPr>
          <p:nvPr/>
        </p:nvSpPr>
        <p:spPr bwMode="auto">
          <a:xfrm>
            <a:off x="3848100" y="2420938"/>
            <a:ext cx="287338"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89" name="Line 19">
            <a:extLst>
              <a:ext uri="{FF2B5EF4-FFF2-40B4-BE49-F238E27FC236}">
                <a16:creationId xmlns:a16="http://schemas.microsoft.com/office/drawing/2014/main" id="{0261BE8E-49A5-41EC-BEB3-120E701E89C6}"/>
              </a:ext>
            </a:extLst>
          </p:cNvPr>
          <p:cNvSpPr>
            <a:spLocks noChangeShapeType="1"/>
          </p:cNvSpPr>
          <p:nvPr/>
        </p:nvSpPr>
        <p:spPr bwMode="auto">
          <a:xfrm>
            <a:off x="5143500" y="2420938"/>
            <a:ext cx="360363" cy="0"/>
          </a:xfrm>
          <a:prstGeom prst="line">
            <a:avLst/>
          </a:prstGeom>
          <a:noFill/>
          <a:ln w="1270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3090" name="Text Box 20">
            <a:extLst>
              <a:ext uri="{FF2B5EF4-FFF2-40B4-BE49-F238E27FC236}">
                <a16:creationId xmlns:a16="http://schemas.microsoft.com/office/drawing/2014/main" id="{EBD610D8-878D-46CB-B37A-E223570AF81C}"/>
              </a:ext>
            </a:extLst>
          </p:cNvPr>
          <p:cNvSpPr txBox="1">
            <a:spLocks noChangeArrowheads="1"/>
          </p:cNvSpPr>
          <p:nvPr/>
        </p:nvSpPr>
        <p:spPr bwMode="auto">
          <a:xfrm>
            <a:off x="1830388" y="5408613"/>
            <a:ext cx="5329237"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2000"/>
              <a:t>      All     VR  BR/BTH     </a:t>
            </a:r>
            <a:r>
              <a:rPr lang="el-GR" altLang="el-GR" sz="2000"/>
              <a:t> Χωρίς θεραπεία</a:t>
            </a:r>
            <a:endParaRPr lang="en-US" altLang="el-GR" sz="2000"/>
          </a:p>
          <a:p>
            <a:r>
              <a:rPr lang="en-US" altLang="el-GR" sz="2000"/>
              <a:t>       </a:t>
            </a:r>
            <a:r>
              <a:rPr lang="el-GR" altLang="el-GR" sz="2000"/>
              <a:t>Υπό θεραπεία</a:t>
            </a:r>
            <a:r>
              <a:rPr lang="en-US" altLang="el-GR" sz="2000"/>
              <a:t> </a:t>
            </a:r>
          </a:p>
          <a:p>
            <a:r>
              <a:rPr lang="en-US" altLang="el-GR" sz="2000"/>
              <a:t>N    779   353   426                   534 </a:t>
            </a:r>
            <a:endParaRPr lang="el-GR" altLang="el-GR" sz="2000"/>
          </a:p>
        </p:txBody>
      </p:sp>
      <p:sp>
        <p:nvSpPr>
          <p:cNvPr id="3091" name="Text Box 21">
            <a:extLst>
              <a:ext uri="{FF2B5EF4-FFF2-40B4-BE49-F238E27FC236}">
                <a16:creationId xmlns:a16="http://schemas.microsoft.com/office/drawing/2014/main" id="{6CA9936C-2391-458B-82D9-FF4937959009}"/>
              </a:ext>
            </a:extLst>
          </p:cNvPr>
          <p:cNvSpPr txBox="1">
            <a:spLocks noChangeArrowheads="1"/>
          </p:cNvSpPr>
          <p:nvPr/>
        </p:nvSpPr>
        <p:spPr bwMode="auto">
          <a:xfrm>
            <a:off x="2524125" y="6475413"/>
            <a:ext cx="51704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sz="1600" b="1" dirty="0" err="1">
                <a:solidFill>
                  <a:schemeClr val="accent2"/>
                </a:solidFill>
              </a:rPr>
              <a:t>Papatheodoridis</a:t>
            </a:r>
            <a:r>
              <a:rPr lang="el-GR" altLang="el-GR" sz="1600" b="1" dirty="0">
                <a:solidFill>
                  <a:schemeClr val="accent2"/>
                </a:solidFill>
              </a:rPr>
              <a:t> </a:t>
            </a:r>
            <a:r>
              <a:rPr lang="en-US" altLang="el-GR" sz="1600" b="1" dirty="0">
                <a:solidFill>
                  <a:schemeClr val="accent2"/>
                </a:solidFill>
              </a:rPr>
              <a:t>GV et al. J </a:t>
            </a:r>
            <a:r>
              <a:rPr lang="en-US" altLang="el-GR" sz="1600" b="1" dirty="0" err="1">
                <a:solidFill>
                  <a:schemeClr val="accent2"/>
                </a:solidFill>
              </a:rPr>
              <a:t>Hepatol</a:t>
            </a:r>
            <a:r>
              <a:rPr lang="en-US" altLang="el-GR" sz="1600" b="1" dirty="0">
                <a:solidFill>
                  <a:schemeClr val="accent2"/>
                </a:solidFill>
              </a:rPr>
              <a:t> 2010;53:348-56</a:t>
            </a:r>
            <a:endParaRPr lang="el-GR" altLang="el-GR" sz="1600" b="1" dirty="0">
              <a:solidFill>
                <a:schemeClr val="accent2"/>
              </a:solidFill>
            </a:endParaRPr>
          </a:p>
        </p:txBody>
      </p:sp>
      <p:sp>
        <p:nvSpPr>
          <p:cNvPr id="346133" name="Text Box 21">
            <a:extLst>
              <a:ext uri="{FF2B5EF4-FFF2-40B4-BE49-F238E27FC236}">
                <a16:creationId xmlns:a16="http://schemas.microsoft.com/office/drawing/2014/main" id="{892A48F6-B8F8-4C19-BD46-D886BA0CD865}"/>
              </a:ext>
            </a:extLst>
          </p:cNvPr>
          <p:cNvSpPr txBox="1">
            <a:spLocks noChangeArrowheads="1"/>
          </p:cNvSpPr>
          <p:nvPr/>
        </p:nvSpPr>
        <p:spPr bwMode="auto">
          <a:xfrm>
            <a:off x="0" y="179388"/>
            <a:ext cx="10287000" cy="946150"/>
          </a:xfrm>
          <a:prstGeom prst="rect">
            <a:avLst/>
          </a:prstGeom>
          <a:gradFill rotWithShape="1">
            <a:gsLst>
              <a:gs pos="0">
                <a:schemeClr val="bg1"/>
              </a:gs>
              <a:gs pos="50000">
                <a:schemeClr val="bg1">
                  <a:gamma/>
                  <a:shade val="46275"/>
                  <a:invGamma/>
                </a:schemeClr>
              </a:gs>
              <a:gs pos="100000">
                <a:schemeClr val="bg1"/>
              </a:gs>
            </a:gsLst>
            <a:lin ang="5400000" scaled="1"/>
          </a:gradFill>
          <a:ln w="12700">
            <a:noFill/>
            <a:miter lim="800000"/>
            <a:headEnd type="none" w="sm" len="sm"/>
            <a:tailEnd type="none" w="sm" len="sm"/>
          </a:ln>
          <a:effectLst/>
        </p:spPr>
        <p:txBody>
          <a:bodyPr wrap="square">
            <a:spAutoFit/>
          </a:bodyPr>
          <a:lstStyle/>
          <a:p>
            <a:pPr algn="ctr">
              <a:defRPr/>
            </a:pPr>
            <a:r>
              <a:rPr lang="el-GR" sz="2800" b="1" dirty="0">
                <a:solidFill>
                  <a:schemeClr val="tx2"/>
                </a:solidFill>
              </a:rPr>
              <a:t>ΕΠΙΠΤΩΣΗ ΗΚΚ ΕΝΤΟΣ 4ΕΤΙΑΣ </a:t>
            </a:r>
          </a:p>
          <a:p>
            <a:pPr algn="ctr">
              <a:defRPr/>
            </a:pPr>
            <a:r>
              <a:rPr lang="el-GR" sz="2800" b="1" dirty="0">
                <a:solidFill>
                  <a:schemeClr val="tx2"/>
                </a:solidFill>
              </a:rPr>
              <a:t>ΣΕ ΑΣΘΕΝΕΙΣ ΜΕ ΧΗΒ ΥΠΟ ΑΝΤΙΙΚΑ</a:t>
            </a:r>
            <a:endParaRPr lang="en-US" sz="2800" b="1" dirty="0">
              <a:solidFill>
                <a:schemeClr val="tx2"/>
              </a:solidFill>
            </a:endParaRPr>
          </a:p>
        </p:txBody>
      </p:sp>
      <p:sp>
        <p:nvSpPr>
          <p:cNvPr id="3093" name="Line 7">
            <a:extLst>
              <a:ext uri="{FF2B5EF4-FFF2-40B4-BE49-F238E27FC236}">
                <a16:creationId xmlns:a16="http://schemas.microsoft.com/office/drawing/2014/main" id="{8E487F5D-131D-4C73-A90B-1AFC2A859540}"/>
              </a:ext>
            </a:extLst>
          </p:cNvPr>
          <p:cNvSpPr>
            <a:spLocks noChangeShapeType="1"/>
          </p:cNvSpPr>
          <p:nvPr/>
        </p:nvSpPr>
        <p:spPr bwMode="auto">
          <a:xfrm>
            <a:off x="6511925" y="1557338"/>
            <a:ext cx="3600450" cy="0"/>
          </a:xfrm>
          <a:prstGeom prst="line">
            <a:avLst/>
          </a:prstGeom>
          <a:noFill/>
          <a:ln w="28575">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Tree>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6E636E2B-4956-4D9D-ADE0-9CABE54489DE}"/>
              </a:ext>
            </a:extLst>
          </p:cNvPr>
          <p:cNvSpPr>
            <a:spLocks noGrp="1"/>
          </p:cNvSpPr>
          <p:nvPr>
            <p:ph type="title"/>
          </p:nvPr>
        </p:nvSpPr>
        <p:spPr>
          <a:xfrm>
            <a:off x="390525" y="341313"/>
            <a:ext cx="9577388" cy="1143000"/>
          </a:xfrm>
        </p:spPr>
        <p:txBody>
          <a:bodyPr/>
          <a:lstStyle/>
          <a:p>
            <a:pPr eaLnBrk="1" hangingPunct="1"/>
            <a:r>
              <a:rPr lang="en-US" altLang="en-US" sz="2800" b="1"/>
              <a:t>PAGE-B represents a simple to use HCC risk score for the first 5 years of ETV/TDF in Caucasian CHB patients</a:t>
            </a:r>
            <a:endParaRPr lang="en-GB" altLang="en-US" sz="2800" b="1"/>
          </a:p>
        </p:txBody>
      </p:sp>
      <p:sp>
        <p:nvSpPr>
          <p:cNvPr id="34819" name="Text Placeholder 3">
            <a:extLst>
              <a:ext uri="{FF2B5EF4-FFF2-40B4-BE49-F238E27FC236}">
                <a16:creationId xmlns:a16="http://schemas.microsoft.com/office/drawing/2014/main" id="{3A6E8670-6E70-4581-A829-663C1C4990AF}"/>
              </a:ext>
            </a:extLst>
          </p:cNvPr>
          <p:cNvSpPr>
            <a:spLocks noGrp="1"/>
          </p:cNvSpPr>
          <p:nvPr>
            <p:ph type="body" sz="quarter" idx="10"/>
          </p:nvPr>
        </p:nvSpPr>
        <p:spPr>
          <a:xfrm>
            <a:off x="69850" y="6453188"/>
            <a:ext cx="10217150" cy="346075"/>
          </a:xfrm>
        </p:spPr>
        <p:txBody>
          <a:bodyPr>
            <a:normAutofit/>
          </a:bodyPr>
          <a:lstStyle/>
          <a:p>
            <a:pPr algn="ctr" eaLnBrk="1" hangingPunct="1">
              <a:spcBef>
                <a:spcPct val="0"/>
              </a:spcBef>
            </a:pPr>
            <a:r>
              <a:rPr lang="en-US" altLang="en-US" sz="1600" b="1" dirty="0" err="1">
                <a:solidFill>
                  <a:schemeClr val="accent2"/>
                </a:solidFill>
              </a:rPr>
              <a:t>Papatheodoridis</a:t>
            </a:r>
            <a:r>
              <a:rPr lang="en-US" altLang="en-US" sz="1600" b="1" dirty="0">
                <a:solidFill>
                  <a:schemeClr val="accent2"/>
                </a:solidFill>
              </a:rPr>
              <a:t> GV et al. J </a:t>
            </a:r>
            <a:r>
              <a:rPr lang="en-US" altLang="en-US" sz="1600" b="1" dirty="0" err="1">
                <a:solidFill>
                  <a:schemeClr val="accent2"/>
                </a:solidFill>
              </a:rPr>
              <a:t>Hepatol</a:t>
            </a:r>
            <a:r>
              <a:rPr lang="en-US" altLang="en-US" sz="1600" b="1" dirty="0">
                <a:solidFill>
                  <a:schemeClr val="accent2"/>
                </a:solidFill>
              </a:rPr>
              <a:t> 201</a:t>
            </a:r>
            <a:r>
              <a:rPr lang="en-US" altLang="el-GR" sz="1600" b="1" dirty="0">
                <a:solidFill>
                  <a:schemeClr val="accent2"/>
                </a:solidFill>
              </a:rPr>
              <a:t>6;64:800-6</a:t>
            </a:r>
            <a:endParaRPr lang="en-US" altLang="en-US" sz="1600" b="1" dirty="0">
              <a:solidFill>
                <a:schemeClr val="accent2"/>
              </a:solidFill>
            </a:endParaRPr>
          </a:p>
        </p:txBody>
      </p:sp>
      <p:sp>
        <p:nvSpPr>
          <p:cNvPr id="34820" name="TextBox 2">
            <a:extLst>
              <a:ext uri="{FF2B5EF4-FFF2-40B4-BE49-F238E27FC236}">
                <a16:creationId xmlns:a16="http://schemas.microsoft.com/office/drawing/2014/main" id="{BFC70343-1BCA-4CCE-8759-06D25D80A937}"/>
              </a:ext>
            </a:extLst>
          </p:cNvPr>
          <p:cNvSpPr txBox="1">
            <a:spLocks noChangeArrowheads="1"/>
          </p:cNvSpPr>
          <p:nvPr/>
        </p:nvSpPr>
        <p:spPr bwMode="auto">
          <a:xfrm>
            <a:off x="534988" y="1773238"/>
            <a:ext cx="3990975"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lnSpc>
                <a:spcPct val="90000"/>
              </a:lnSpc>
            </a:pPr>
            <a:r>
              <a:rPr lang="en-US" altLang="en-US" sz="1600" b="1">
                <a:ea typeface="MS PGothic" panose="020B0600070205080204" pitchFamily="34" charset="-128"/>
              </a:rPr>
              <a:t>Construction of the PAGE-B</a:t>
            </a:r>
            <a:br>
              <a:rPr lang="en-US" altLang="en-US" sz="1600" b="1">
                <a:ea typeface="MS PGothic" panose="020B0600070205080204" pitchFamily="34" charset="-128"/>
              </a:rPr>
            </a:br>
            <a:r>
              <a:rPr lang="en-US" altLang="en-US" sz="1600" b="1">
                <a:ea typeface="MS PGothic" panose="020B0600070205080204" pitchFamily="34" charset="-128"/>
              </a:rPr>
              <a:t>risk score for HCC</a:t>
            </a:r>
          </a:p>
        </p:txBody>
      </p:sp>
      <p:graphicFrame>
        <p:nvGraphicFramePr>
          <p:cNvPr id="3" name="Table 2">
            <a:extLst>
              <a:ext uri="{FF2B5EF4-FFF2-40B4-BE49-F238E27FC236}">
                <a16:creationId xmlns:a16="http://schemas.microsoft.com/office/drawing/2014/main" id="{43AA8366-121D-4909-A96F-7EB77FF247CC}"/>
              </a:ext>
            </a:extLst>
          </p:cNvPr>
          <p:cNvGraphicFramePr>
            <a:graphicFrameLocks noGrp="1"/>
          </p:cNvGraphicFramePr>
          <p:nvPr/>
        </p:nvGraphicFramePr>
        <p:xfrm>
          <a:off x="319088" y="2387600"/>
          <a:ext cx="3884612" cy="3705223"/>
        </p:xfrm>
        <a:graphic>
          <a:graphicData uri="http://schemas.openxmlformats.org/drawingml/2006/table">
            <a:tbl>
              <a:tblPr firstRow="1" bandRow="1">
                <a:tableStyleId>{21E4AEA4-8DFA-4A89-87EB-49C32662AFE0}</a:tableStyleId>
              </a:tblPr>
              <a:tblGrid>
                <a:gridCol w="1294870">
                  <a:extLst>
                    <a:ext uri="{9D8B030D-6E8A-4147-A177-3AD203B41FA5}">
                      <a16:colId xmlns:a16="http://schemas.microsoft.com/office/drawing/2014/main" val="20000"/>
                    </a:ext>
                  </a:extLst>
                </a:gridCol>
                <a:gridCol w="1105268">
                  <a:extLst>
                    <a:ext uri="{9D8B030D-6E8A-4147-A177-3AD203B41FA5}">
                      <a16:colId xmlns:a16="http://schemas.microsoft.com/office/drawing/2014/main" val="20001"/>
                    </a:ext>
                  </a:extLst>
                </a:gridCol>
                <a:gridCol w="1484474">
                  <a:extLst>
                    <a:ext uri="{9D8B030D-6E8A-4147-A177-3AD203B41FA5}">
                      <a16:colId xmlns:a16="http://schemas.microsoft.com/office/drawing/2014/main" val="20002"/>
                    </a:ext>
                  </a:extLst>
                </a:gridCol>
              </a:tblGrid>
              <a:tr h="64203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Age (years)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Gender</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Platelets (/mm</a:t>
                      </a:r>
                      <a:r>
                        <a:rPr kumimoji="0" lang="en-US" altLang="en-US" sz="1400" b="1" u="none" strike="noStrike" cap="none" normalizeH="0" baseline="30000" dirty="0">
                          <a:ln>
                            <a:noFill/>
                          </a:ln>
                          <a:solidFill>
                            <a:schemeClr val="bg1">
                              <a:lumMod val="50000"/>
                            </a:schemeClr>
                          </a:solidFill>
                          <a:effectLst/>
                          <a:latin typeface="Arial" panose="020B0604020202020204" pitchFamily="34" charset="0"/>
                          <a:cs typeface="Arial" panose="020B0604020202020204" pitchFamily="34" charset="0"/>
                        </a:rPr>
                        <a:t>3</a:t>
                      </a: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0"/>
                  </a:ext>
                </a:extLst>
              </a:tr>
              <a:tr h="48422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16–29: 0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Female: 0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200,000: 0</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1"/>
                  </a:ext>
                </a:extLst>
              </a:tr>
              <a:tr h="64203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30–39: 2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Male: 6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100,000–199,999: 6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2"/>
                  </a:ext>
                </a:extLst>
              </a:tr>
              <a:tr h="48422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40–49: 4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lt;100,000: 9</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3"/>
                  </a:ext>
                </a:extLst>
              </a:tr>
              <a:tr h="48422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50–59: 6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4"/>
                  </a:ext>
                </a:extLst>
              </a:tr>
              <a:tr h="48422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60–69: 8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5"/>
                  </a:ext>
                </a:extLst>
              </a:tr>
              <a:tr h="484229">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400" b="1" u="none" strike="noStrike" cap="none" normalizeH="0" baseline="0" dirty="0">
                          <a:ln>
                            <a:noFill/>
                          </a:ln>
                          <a:solidFill>
                            <a:schemeClr val="bg1">
                              <a:lumMod val="50000"/>
                            </a:schemeClr>
                          </a:solidFill>
                          <a:effectLst/>
                          <a:latin typeface="Arial" panose="020B0604020202020204" pitchFamily="34" charset="0"/>
                          <a:cs typeface="Arial" panose="020B0604020202020204" pitchFamily="34" charset="0"/>
                        </a:rPr>
                        <a:t>≥70: 10 </a:t>
                      </a: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tc>
                  <a:txBody>
                    <a:bodyPr/>
                    <a:lstStyle>
                      <a:lvl1pPr eaLnBrk="0" hangingPunct="0">
                        <a:spcBef>
                          <a:spcPct val="20000"/>
                        </a:spcBef>
                        <a:buClr>
                          <a:schemeClr val="accent1"/>
                        </a:buClr>
                        <a:buFont typeface="Arial" pitchFamily="34" charset="0"/>
                        <a:defRPr sz="2000">
                          <a:solidFill>
                            <a:schemeClr val="tx1"/>
                          </a:solidFill>
                          <a:latin typeface="Arial" pitchFamily="34" charset="0"/>
                          <a:ea typeface="ＭＳ Ｐゴシック" pitchFamily="34" charset="-128"/>
                        </a:defRPr>
                      </a:lvl1pPr>
                      <a:lvl2pPr marL="37931725" indent="-37474525" eaLnBrk="0" hangingPunct="0">
                        <a:spcBef>
                          <a:spcPct val="20000"/>
                        </a:spcBef>
                        <a:buClr>
                          <a:schemeClr val="accent1"/>
                        </a:buClr>
                        <a:buFont typeface="Arial" pitchFamily="34" charset="0"/>
                        <a:defRPr>
                          <a:solidFill>
                            <a:schemeClr val="tx1"/>
                          </a:solidFill>
                          <a:latin typeface="Arial" pitchFamily="34" charset="0"/>
                          <a:ea typeface="ＭＳ Ｐゴシック" pitchFamily="34" charset="-128"/>
                        </a:defRPr>
                      </a:lvl2pPr>
                      <a:lvl3pPr eaLnBrk="0" hangingPunct="0">
                        <a:spcBef>
                          <a:spcPct val="20000"/>
                        </a:spcBef>
                        <a:defRPr sz="1600">
                          <a:solidFill>
                            <a:schemeClr val="tx1"/>
                          </a:solidFill>
                          <a:latin typeface="Arial" pitchFamily="34" charset="0"/>
                          <a:ea typeface="ＭＳ Ｐゴシック" pitchFamily="34" charset="-128"/>
                        </a:defRPr>
                      </a:lvl3pPr>
                      <a:lvl4pPr eaLnBrk="0" hangingPunct="0">
                        <a:spcBef>
                          <a:spcPct val="20000"/>
                        </a:spcBef>
                        <a:defRPr sz="1400">
                          <a:solidFill>
                            <a:schemeClr val="tx1"/>
                          </a:solidFill>
                          <a:latin typeface="Arial" pitchFamily="34" charset="0"/>
                          <a:ea typeface="ＭＳ Ｐゴシック" pitchFamily="34" charset="-128"/>
                        </a:defRPr>
                      </a:lvl4pPr>
                      <a:lvl5pPr eaLnBrk="0" hangingPunct="0">
                        <a:spcBef>
                          <a:spcPct val="20000"/>
                        </a:spcBef>
                        <a:defRPr sz="1400">
                          <a:solidFill>
                            <a:schemeClr val="tx1"/>
                          </a:solidFill>
                          <a:latin typeface="Arial" pitchFamily="34" charset="0"/>
                          <a:ea typeface="ＭＳ Ｐゴシック" pitchFamily="34" charset="-128"/>
                        </a:defRPr>
                      </a:lvl5pPr>
                      <a:lvl6pPr marL="457200" eaLnBrk="0" fontAlgn="base" hangingPunct="0">
                        <a:spcBef>
                          <a:spcPct val="2000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2000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2000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20000"/>
                        </a:spcBef>
                        <a:spcAft>
                          <a:spcPct val="0"/>
                        </a:spcAft>
                        <a:defRPr sz="1400">
                          <a:solidFill>
                            <a:schemeClr val="tx1"/>
                          </a:solidFill>
                          <a:latin typeface="Arial" pitchFamily="34" charset="0"/>
                          <a:ea typeface="ＭＳ Ｐゴシック"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chemeClr val="bg1">
                            <a:lumMod val="50000"/>
                          </a:schemeClr>
                        </a:solidFill>
                        <a:effectLst/>
                        <a:latin typeface="Arial" pitchFamily="34" charset="0"/>
                        <a:cs typeface="Arial" pitchFamily="34" charset="0"/>
                      </a:endParaRPr>
                    </a:p>
                  </a:txBody>
                  <a:tcPr marL="102858" marR="102858" marT="45719" marB="45719" anchor="ctr" horzOverflow="overflow"/>
                </a:tc>
                <a:extLst>
                  <a:ext uri="{0D108BD9-81ED-4DB2-BD59-A6C34878D82A}">
                    <a16:rowId xmlns:a16="http://schemas.microsoft.com/office/drawing/2014/main" val="10006"/>
                  </a:ext>
                </a:extLst>
              </a:tr>
            </a:tbl>
          </a:graphicData>
        </a:graphic>
      </p:graphicFrame>
      <p:pic>
        <p:nvPicPr>
          <p:cNvPr id="34855" name="Picture 2" descr="Figure thumbnail fx1">
            <a:extLst>
              <a:ext uri="{FF2B5EF4-FFF2-40B4-BE49-F238E27FC236}">
                <a16:creationId xmlns:a16="http://schemas.microsoft.com/office/drawing/2014/main" id="{9605E651-222A-4D67-B611-BE480BB5F91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7382" y="1684336"/>
            <a:ext cx="5922963" cy="440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79 - TextBox">
            <a:extLst>
              <a:ext uri="{FF2B5EF4-FFF2-40B4-BE49-F238E27FC236}">
                <a16:creationId xmlns:a16="http://schemas.microsoft.com/office/drawing/2014/main" id="{A6A7963B-A537-43B1-8B4D-C36A430E5F87}"/>
              </a:ext>
            </a:extLst>
          </p:cNvPr>
          <p:cNvSpPr txBox="1">
            <a:spLocks noChangeArrowheads="1"/>
          </p:cNvSpPr>
          <p:nvPr/>
        </p:nvSpPr>
        <p:spPr bwMode="auto">
          <a:xfrm>
            <a:off x="1616075" y="4508500"/>
            <a:ext cx="7991475" cy="8318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en-US" altLang="el-GR" b="1"/>
              <a:t>Males ≥40 yrs</a:t>
            </a:r>
            <a:r>
              <a:rPr lang="el-GR" altLang="el-GR" b="1"/>
              <a:t>,</a:t>
            </a:r>
            <a:r>
              <a:rPr lang="en-US" altLang="el-GR" b="1"/>
              <a:t> females ≥</a:t>
            </a:r>
            <a:r>
              <a:rPr lang="el-GR" altLang="el-GR" b="1"/>
              <a:t>7</a:t>
            </a:r>
            <a:r>
              <a:rPr lang="en-US" altLang="el-GR" b="1"/>
              <a:t>0 yrs</a:t>
            </a:r>
            <a:r>
              <a:rPr lang="el-GR" altLang="el-GR" b="1"/>
              <a:t>,</a:t>
            </a:r>
            <a:r>
              <a:rPr lang="en-US" altLang="el-GR" b="1"/>
              <a:t> PLT &lt;200,000</a:t>
            </a:r>
            <a:r>
              <a:rPr lang="el-GR" altLang="el-GR" b="1"/>
              <a:t>/</a:t>
            </a:r>
            <a:r>
              <a:rPr lang="en-US" altLang="el-GR" b="1"/>
              <a:t>mm</a:t>
            </a:r>
            <a:r>
              <a:rPr lang="en-US" altLang="el-GR" b="1" baseline="30000"/>
              <a:t>3</a:t>
            </a:r>
            <a:endParaRPr lang="en-US" altLang="el-GR" b="1"/>
          </a:p>
          <a:p>
            <a:pPr algn="ctr"/>
            <a:r>
              <a:rPr lang="en-US" altLang="el-GR" b="1"/>
              <a:t>&amp; ≥40 yrs or males: moderate to high HCC risk </a:t>
            </a:r>
            <a:endParaRPr lang="el-GR" altLang="el-GR" b="1"/>
          </a:p>
        </p:txBody>
      </p:sp>
      <p:sp>
        <p:nvSpPr>
          <p:cNvPr id="2" name="TextBox 1">
            <a:extLst>
              <a:ext uri="{FF2B5EF4-FFF2-40B4-BE49-F238E27FC236}">
                <a16:creationId xmlns:a16="http://schemas.microsoft.com/office/drawing/2014/main" id="{D9C8BCA5-939D-CF6C-9BA9-18B900277595}"/>
              </a:ext>
            </a:extLst>
          </p:cNvPr>
          <p:cNvSpPr txBox="1"/>
          <p:nvPr/>
        </p:nvSpPr>
        <p:spPr>
          <a:xfrm>
            <a:off x="1474044" y="2270805"/>
            <a:ext cx="8275535" cy="1131079"/>
          </a:xfrm>
          <a:prstGeom prst="rect">
            <a:avLst/>
          </a:prstGeom>
          <a:solidFill>
            <a:schemeClr val="accent1"/>
          </a:solidFill>
        </p:spPr>
        <p:txBody>
          <a:bodyPr wrap="none" rtlCol="0">
            <a:spAutoFit/>
          </a:bodyPr>
          <a:lstStyle/>
          <a:p>
            <a:pPr defTabSz="1028700">
              <a:defRPr/>
            </a:pPr>
            <a:r>
              <a:rPr lang="en-US" sz="2250" dirty="0">
                <a:solidFill>
                  <a:srgbClr val="0000FF">
                    <a:lumMod val="75000"/>
                  </a:srgbClr>
                </a:solidFill>
                <a:latin typeface="Arial" pitchFamily="34" charset="0"/>
                <a:cs typeface="+mn-cs"/>
              </a:rPr>
              <a:t>Independently validated in ≥10 Asian cohorts (&gt;60,000 pts) </a:t>
            </a:r>
          </a:p>
          <a:p>
            <a:pPr algn="ctr" defTabSz="1028700">
              <a:defRPr/>
            </a:pPr>
            <a:r>
              <a:rPr lang="en-US" sz="2250" dirty="0">
                <a:solidFill>
                  <a:srgbClr val="0000FF">
                    <a:lumMod val="75000"/>
                  </a:srgbClr>
                </a:solidFill>
                <a:latin typeface="Arial" pitchFamily="34" charset="0"/>
                <a:cs typeface="+mn-cs"/>
              </a:rPr>
              <a:t>&amp; in ≥5 Caucasian/mixed cohorts (&gt;5,000 pts)</a:t>
            </a:r>
            <a:endParaRPr lang="el-GR" sz="2250" dirty="0">
              <a:solidFill>
                <a:srgbClr val="0000FF">
                  <a:lumMod val="75000"/>
                </a:srgbClr>
              </a:solidFill>
              <a:latin typeface="Arial" pitchFamily="34" charset="0"/>
              <a:cs typeface="+mn-cs"/>
            </a:endParaRPr>
          </a:p>
          <a:p>
            <a:pPr algn="ctr" defTabSz="1028700">
              <a:defRPr/>
            </a:pPr>
            <a:r>
              <a:rPr lang="el-GR" sz="2250" dirty="0">
                <a:solidFill>
                  <a:srgbClr val="C00000"/>
                </a:solidFill>
                <a:latin typeface="Arial" pitchFamily="34" charset="0"/>
                <a:cs typeface="+mn-cs"/>
              </a:rPr>
              <a:t>Ι</a:t>
            </a:r>
            <a:r>
              <a:rPr lang="en-US" sz="2250" dirty="0" err="1">
                <a:solidFill>
                  <a:srgbClr val="C00000"/>
                </a:solidFill>
                <a:latin typeface="Arial" pitchFamily="34" charset="0"/>
                <a:cs typeface="+mn-cs"/>
              </a:rPr>
              <a:t>ncluded</a:t>
            </a:r>
            <a:r>
              <a:rPr lang="en-US" sz="2250" dirty="0">
                <a:solidFill>
                  <a:srgbClr val="C00000"/>
                </a:solidFill>
                <a:latin typeface="Arial" pitchFamily="34" charset="0"/>
                <a:cs typeface="+mn-cs"/>
              </a:rPr>
              <a:t> in European HBV &amp; HCC guidelines</a:t>
            </a:r>
            <a:endParaRPr lang="el-GR" sz="2250" dirty="0">
              <a:solidFill>
                <a:srgbClr val="C00000"/>
              </a:solidFill>
              <a:latin typeface="Arial" pitchFamily="34" charset="0"/>
              <a:cs typeface="+mn-cs"/>
            </a:endParaRP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16" fill="hold" grpId="0"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ox(in)">
                                      <p:cBhvr>
                                        <p:cTn id="7" dur="500"/>
                                        <p:tgtEl>
                                          <p:spTgt spid="8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BE2BCB9-F255-4392-B493-0A13C101386E}"/>
              </a:ext>
            </a:extLst>
          </p:cNvPr>
          <p:cNvGrpSpPr/>
          <p:nvPr/>
        </p:nvGrpSpPr>
        <p:grpSpPr>
          <a:xfrm>
            <a:off x="1183060" y="721511"/>
            <a:ext cx="8064896" cy="5587809"/>
            <a:chOff x="1111052" y="577495"/>
            <a:chExt cx="8064896" cy="5587809"/>
          </a:xfrm>
        </p:grpSpPr>
        <p:sp>
          <p:nvSpPr>
            <p:cNvPr id="11" name="圓角矩形 10">
              <a:extLst>
                <a:ext uri="{FF2B5EF4-FFF2-40B4-BE49-F238E27FC236}">
                  <a16:creationId xmlns:a16="http://schemas.microsoft.com/office/drawing/2014/main" id="{F710153A-9255-984D-8D11-143E7F244DA7}"/>
                </a:ext>
              </a:extLst>
            </p:cNvPr>
            <p:cNvSpPr/>
            <p:nvPr/>
          </p:nvSpPr>
          <p:spPr>
            <a:xfrm>
              <a:off x="1134044" y="2307318"/>
              <a:ext cx="8008577" cy="3857986"/>
            </a:xfrm>
            <a:prstGeom prst="roundRect">
              <a:avLst/>
            </a:prstGeom>
            <a:gradFill flip="none" rotWithShape="1">
              <a:gsLst>
                <a:gs pos="0">
                  <a:schemeClr val="accent4">
                    <a:lumMod val="20000"/>
                    <a:lumOff val="80000"/>
                  </a:schemeClr>
                </a:gs>
                <a:gs pos="50000">
                  <a:schemeClr val="accent2">
                    <a:lumMod val="20000"/>
                    <a:lumOff val="80000"/>
                  </a:schemeClr>
                </a:gs>
                <a:gs pos="99000">
                  <a:schemeClr val="accent4">
                    <a:lumMod val="40000"/>
                    <a:lumOff val="60000"/>
                  </a:schemeClr>
                </a:gs>
              </a:gsLst>
              <a:path path="circle">
                <a:fillToRect l="50000" t="50000" r="50000" b="50000"/>
              </a:path>
              <a:tileRect/>
            </a:gradFill>
            <a:ln w="190500" cmpd="thickThin">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720"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
          <p:nvSpPr>
            <p:cNvPr id="1330" name="手繪多邊形 1329">
              <a:extLst>
                <a:ext uri="{FF2B5EF4-FFF2-40B4-BE49-F238E27FC236}">
                  <a16:creationId xmlns:a16="http://schemas.microsoft.com/office/drawing/2014/main" id="{B01814EA-A287-5345-B60F-C5467393C743}"/>
                </a:ext>
              </a:extLst>
            </p:cNvPr>
            <p:cNvSpPr/>
            <p:nvPr/>
          </p:nvSpPr>
          <p:spPr>
            <a:xfrm>
              <a:off x="7457555" y="2478212"/>
              <a:ext cx="1037635" cy="783807"/>
            </a:xfrm>
            <a:custGeom>
              <a:avLst/>
              <a:gdLst>
                <a:gd name="connsiteX0" fmla="*/ 1879600 w 2819400"/>
                <a:gd name="connsiteY0" fmla="*/ 25898 h 2210298"/>
                <a:gd name="connsiteX1" fmla="*/ 1879600 w 2819400"/>
                <a:gd name="connsiteY1" fmla="*/ 25898 h 2210298"/>
                <a:gd name="connsiteX2" fmla="*/ 1270000 w 2819400"/>
                <a:gd name="connsiteY2" fmla="*/ 25898 h 2210298"/>
                <a:gd name="connsiteX3" fmla="*/ 1066800 w 2819400"/>
                <a:gd name="connsiteY3" fmla="*/ 76698 h 2210298"/>
                <a:gd name="connsiteX4" fmla="*/ 914400 w 2819400"/>
                <a:gd name="connsiteY4" fmla="*/ 127498 h 2210298"/>
                <a:gd name="connsiteX5" fmla="*/ 762000 w 2819400"/>
                <a:gd name="connsiteY5" fmla="*/ 152898 h 2210298"/>
                <a:gd name="connsiteX6" fmla="*/ 685800 w 2819400"/>
                <a:gd name="connsiteY6" fmla="*/ 178298 h 2210298"/>
                <a:gd name="connsiteX7" fmla="*/ 431800 w 2819400"/>
                <a:gd name="connsiteY7" fmla="*/ 229098 h 2210298"/>
                <a:gd name="connsiteX8" fmla="*/ 355600 w 2819400"/>
                <a:gd name="connsiteY8" fmla="*/ 254498 h 2210298"/>
                <a:gd name="connsiteX9" fmla="*/ 279400 w 2819400"/>
                <a:gd name="connsiteY9" fmla="*/ 305298 h 2210298"/>
                <a:gd name="connsiteX10" fmla="*/ 203200 w 2819400"/>
                <a:gd name="connsiteY10" fmla="*/ 483098 h 2210298"/>
                <a:gd name="connsiteX11" fmla="*/ 101600 w 2819400"/>
                <a:gd name="connsiteY11" fmla="*/ 635498 h 2210298"/>
                <a:gd name="connsiteX12" fmla="*/ 50800 w 2819400"/>
                <a:gd name="connsiteY12" fmla="*/ 711698 h 2210298"/>
                <a:gd name="connsiteX13" fmla="*/ 0 w 2819400"/>
                <a:gd name="connsiteY13" fmla="*/ 787898 h 2210298"/>
                <a:gd name="connsiteX14" fmla="*/ 76200 w 2819400"/>
                <a:gd name="connsiteY14" fmla="*/ 1092698 h 2210298"/>
                <a:gd name="connsiteX15" fmla="*/ 101600 w 2819400"/>
                <a:gd name="connsiteY15" fmla="*/ 1168898 h 2210298"/>
                <a:gd name="connsiteX16" fmla="*/ 127000 w 2819400"/>
                <a:gd name="connsiteY16" fmla="*/ 1245098 h 2210298"/>
                <a:gd name="connsiteX17" fmla="*/ 203200 w 2819400"/>
                <a:gd name="connsiteY17" fmla="*/ 1321298 h 2210298"/>
                <a:gd name="connsiteX18" fmla="*/ 304800 w 2819400"/>
                <a:gd name="connsiteY18" fmla="*/ 1499098 h 2210298"/>
                <a:gd name="connsiteX19" fmla="*/ 330200 w 2819400"/>
                <a:gd name="connsiteY19" fmla="*/ 1575298 h 2210298"/>
                <a:gd name="connsiteX20" fmla="*/ 381000 w 2819400"/>
                <a:gd name="connsiteY20" fmla="*/ 1854698 h 2210298"/>
                <a:gd name="connsiteX21" fmla="*/ 431800 w 2819400"/>
                <a:gd name="connsiteY21" fmla="*/ 1930898 h 2210298"/>
                <a:gd name="connsiteX22" fmla="*/ 457200 w 2819400"/>
                <a:gd name="connsiteY22" fmla="*/ 2007098 h 2210298"/>
                <a:gd name="connsiteX23" fmla="*/ 685800 w 2819400"/>
                <a:gd name="connsiteY23" fmla="*/ 2108698 h 2210298"/>
                <a:gd name="connsiteX24" fmla="*/ 762000 w 2819400"/>
                <a:gd name="connsiteY24" fmla="*/ 2134098 h 2210298"/>
                <a:gd name="connsiteX25" fmla="*/ 990600 w 2819400"/>
                <a:gd name="connsiteY25" fmla="*/ 2083298 h 2210298"/>
                <a:gd name="connsiteX26" fmla="*/ 1066800 w 2819400"/>
                <a:gd name="connsiteY26" fmla="*/ 2057898 h 2210298"/>
                <a:gd name="connsiteX27" fmla="*/ 1549400 w 2819400"/>
                <a:gd name="connsiteY27" fmla="*/ 2083298 h 2210298"/>
                <a:gd name="connsiteX28" fmla="*/ 1625600 w 2819400"/>
                <a:gd name="connsiteY28" fmla="*/ 2108698 h 2210298"/>
                <a:gd name="connsiteX29" fmla="*/ 1803400 w 2819400"/>
                <a:gd name="connsiteY29" fmla="*/ 2134098 h 2210298"/>
                <a:gd name="connsiteX30" fmla="*/ 1905000 w 2819400"/>
                <a:gd name="connsiteY30" fmla="*/ 2159498 h 2210298"/>
                <a:gd name="connsiteX31" fmla="*/ 2057400 w 2819400"/>
                <a:gd name="connsiteY31" fmla="*/ 2210298 h 2210298"/>
                <a:gd name="connsiteX32" fmla="*/ 2286000 w 2819400"/>
                <a:gd name="connsiteY32" fmla="*/ 2184898 h 2210298"/>
                <a:gd name="connsiteX33" fmla="*/ 2362200 w 2819400"/>
                <a:gd name="connsiteY33" fmla="*/ 2134098 h 2210298"/>
                <a:gd name="connsiteX34" fmla="*/ 2438400 w 2819400"/>
                <a:gd name="connsiteY34" fmla="*/ 2108698 h 2210298"/>
                <a:gd name="connsiteX35" fmla="*/ 2514600 w 2819400"/>
                <a:gd name="connsiteY35" fmla="*/ 2032498 h 2210298"/>
                <a:gd name="connsiteX36" fmla="*/ 2565400 w 2819400"/>
                <a:gd name="connsiteY36" fmla="*/ 1956298 h 2210298"/>
                <a:gd name="connsiteX37" fmla="*/ 2641600 w 2819400"/>
                <a:gd name="connsiteY37" fmla="*/ 1854698 h 2210298"/>
                <a:gd name="connsiteX38" fmla="*/ 2717800 w 2819400"/>
                <a:gd name="connsiteY38" fmla="*/ 1626098 h 2210298"/>
                <a:gd name="connsiteX39" fmla="*/ 2743200 w 2819400"/>
                <a:gd name="connsiteY39" fmla="*/ 1549898 h 2210298"/>
                <a:gd name="connsiteX40" fmla="*/ 2819400 w 2819400"/>
                <a:gd name="connsiteY40" fmla="*/ 1397498 h 2210298"/>
                <a:gd name="connsiteX41" fmla="*/ 2768600 w 2819400"/>
                <a:gd name="connsiteY41" fmla="*/ 1041898 h 2210298"/>
                <a:gd name="connsiteX42" fmla="*/ 2717800 w 2819400"/>
                <a:gd name="connsiteY42" fmla="*/ 889498 h 2210298"/>
                <a:gd name="connsiteX43" fmla="*/ 2667000 w 2819400"/>
                <a:gd name="connsiteY43" fmla="*/ 813298 h 2210298"/>
                <a:gd name="connsiteX44" fmla="*/ 2641600 w 2819400"/>
                <a:gd name="connsiteY44" fmla="*/ 737098 h 2210298"/>
                <a:gd name="connsiteX45" fmla="*/ 2565400 w 2819400"/>
                <a:gd name="connsiteY45" fmla="*/ 660898 h 2210298"/>
                <a:gd name="connsiteX46" fmla="*/ 2387600 w 2819400"/>
                <a:gd name="connsiteY46" fmla="*/ 457698 h 2210298"/>
                <a:gd name="connsiteX47" fmla="*/ 2260600 w 2819400"/>
                <a:gd name="connsiteY47" fmla="*/ 305298 h 2210298"/>
                <a:gd name="connsiteX48" fmla="*/ 2133600 w 2819400"/>
                <a:gd name="connsiteY48" fmla="*/ 178298 h 2210298"/>
                <a:gd name="connsiteX49" fmla="*/ 2006600 w 2819400"/>
                <a:gd name="connsiteY49" fmla="*/ 51298 h 2210298"/>
                <a:gd name="connsiteX50" fmla="*/ 1879600 w 2819400"/>
                <a:gd name="connsiteY50" fmla="*/ 25898 h 221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819400" h="2210298">
                  <a:moveTo>
                    <a:pt x="1879600" y="25898"/>
                  </a:moveTo>
                  <a:lnTo>
                    <a:pt x="1879600" y="25898"/>
                  </a:lnTo>
                  <a:cubicBezTo>
                    <a:pt x="1589314" y="1708"/>
                    <a:pt x="1560286" y="-17645"/>
                    <a:pt x="1270000" y="25898"/>
                  </a:cubicBezTo>
                  <a:cubicBezTo>
                    <a:pt x="1200955" y="36255"/>
                    <a:pt x="1134533" y="59765"/>
                    <a:pt x="1066800" y="76698"/>
                  </a:cubicBezTo>
                  <a:cubicBezTo>
                    <a:pt x="1014851" y="89685"/>
                    <a:pt x="967219" y="118695"/>
                    <a:pt x="914400" y="127498"/>
                  </a:cubicBezTo>
                  <a:cubicBezTo>
                    <a:pt x="863600" y="135965"/>
                    <a:pt x="812274" y="141726"/>
                    <a:pt x="762000" y="152898"/>
                  </a:cubicBezTo>
                  <a:cubicBezTo>
                    <a:pt x="735864" y="158706"/>
                    <a:pt x="711888" y="172278"/>
                    <a:pt x="685800" y="178298"/>
                  </a:cubicBezTo>
                  <a:cubicBezTo>
                    <a:pt x="601668" y="197713"/>
                    <a:pt x="513713" y="201794"/>
                    <a:pt x="431800" y="229098"/>
                  </a:cubicBezTo>
                  <a:cubicBezTo>
                    <a:pt x="406400" y="237565"/>
                    <a:pt x="379547" y="242524"/>
                    <a:pt x="355600" y="254498"/>
                  </a:cubicBezTo>
                  <a:cubicBezTo>
                    <a:pt x="328296" y="268150"/>
                    <a:pt x="304800" y="288365"/>
                    <a:pt x="279400" y="305298"/>
                  </a:cubicBezTo>
                  <a:cubicBezTo>
                    <a:pt x="253123" y="384128"/>
                    <a:pt x="250280" y="404631"/>
                    <a:pt x="203200" y="483098"/>
                  </a:cubicBezTo>
                  <a:cubicBezTo>
                    <a:pt x="171788" y="535451"/>
                    <a:pt x="135467" y="584698"/>
                    <a:pt x="101600" y="635498"/>
                  </a:cubicBezTo>
                  <a:lnTo>
                    <a:pt x="50800" y="711698"/>
                  </a:lnTo>
                  <a:lnTo>
                    <a:pt x="0" y="787898"/>
                  </a:lnTo>
                  <a:cubicBezTo>
                    <a:pt x="34203" y="993117"/>
                    <a:pt x="9114" y="891440"/>
                    <a:pt x="76200" y="1092698"/>
                  </a:cubicBezTo>
                  <a:lnTo>
                    <a:pt x="101600" y="1168898"/>
                  </a:lnTo>
                  <a:cubicBezTo>
                    <a:pt x="110067" y="1194298"/>
                    <a:pt x="108068" y="1226166"/>
                    <a:pt x="127000" y="1245098"/>
                  </a:cubicBezTo>
                  <a:cubicBezTo>
                    <a:pt x="152400" y="1270498"/>
                    <a:pt x="180204" y="1293703"/>
                    <a:pt x="203200" y="1321298"/>
                  </a:cubicBezTo>
                  <a:cubicBezTo>
                    <a:pt x="240713" y="1366314"/>
                    <a:pt x="282879" y="1447950"/>
                    <a:pt x="304800" y="1499098"/>
                  </a:cubicBezTo>
                  <a:cubicBezTo>
                    <a:pt x="315347" y="1523707"/>
                    <a:pt x="321733" y="1549898"/>
                    <a:pt x="330200" y="1575298"/>
                  </a:cubicBezTo>
                  <a:cubicBezTo>
                    <a:pt x="338956" y="1645344"/>
                    <a:pt x="341845" y="1776388"/>
                    <a:pt x="381000" y="1854698"/>
                  </a:cubicBezTo>
                  <a:cubicBezTo>
                    <a:pt x="394652" y="1882002"/>
                    <a:pt x="418148" y="1903594"/>
                    <a:pt x="431800" y="1930898"/>
                  </a:cubicBezTo>
                  <a:cubicBezTo>
                    <a:pt x="443774" y="1954845"/>
                    <a:pt x="440474" y="1986191"/>
                    <a:pt x="457200" y="2007098"/>
                  </a:cubicBezTo>
                  <a:cubicBezTo>
                    <a:pt x="501111" y="2061986"/>
                    <a:pt x="639232" y="2093175"/>
                    <a:pt x="685800" y="2108698"/>
                  </a:cubicBezTo>
                  <a:lnTo>
                    <a:pt x="762000" y="2134098"/>
                  </a:lnTo>
                  <a:cubicBezTo>
                    <a:pt x="849296" y="2116639"/>
                    <a:pt x="906902" y="2107212"/>
                    <a:pt x="990600" y="2083298"/>
                  </a:cubicBezTo>
                  <a:cubicBezTo>
                    <a:pt x="1016344" y="2075943"/>
                    <a:pt x="1041400" y="2066365"/>
                    <a:pt x="1066800" y="2057898"/>
                  </a:cubicBezTo>
                  <a:cubicBezTo>
                    <a:pt x="1227667" y="2066365"/>
                    <a:pt x="1388972" y="2068714"/>
                    <a:pt x="1549400" y="2083298"/>
                  </a:cubicBezTo>
                  <a:cubicBezTo>
                    <a:pt x="1576064" y="2085722"/>
                    <a:pt x="1599346" y="2103447"/>
                    <a:pt x="1625600" y="2108698"/>
                  </a:cubicBezTo>
                  <a:cubicBezTo>
                    <a:pt x="1684306" y="2120439"/>
                    <a:pt x="1744497" y="2123388"/>
                    <a:pt x="1803400" y="2134098"/>
                  </a:cubicBezTo>
                  <a:cubicBezTo>
                    <a:pt x="1837746" y="2140343"/>
                    <a:pt x="1871563" y="2149467"/>
                    <a:pt x="1905000" y="2159498"/>
                  </a:cubicBezTo>
                  <a:cubicBezTo>
                    <a:pt x="1956290" y="2174885"/>
                    <a:pt x="2057400" y="2210298"/>
                    <a:pt x="2057400" y="2210298"/>
                  </a:cubicBezTo>
                  <a:cubicBezTo>
                    <a:pt x="2133600" y="2201831"/>
                    <a:pt x="2211620" y="2203493"/>
                    <a:pt x="2286000" y="2184898"/>
                  </a:cubicBezTo>
                  <a:cubicBezTo>
                    <a:pt x="2315616" y="2177494"/>
                    <a:pt x="2334896" y="2147750"/>
                    <a:pt x="2362200" y="2134098"/>
                  </a:cubicBezTo>
                  <a:cubicBezTo>
                    <a:pt x="2386147" y="2122124"/>
                    <a:pt x="2413000" y="2117165"/>
                    <a:pt x="2438400" y="2108698"/>
                  </a:cubicBezTo>
                  <a:cubicBezTo>
                    <a:pt x="2463800" y="2083298"/>
                    <a:pt x="2491604" y="2060093"/>
                    <a:pt x="2514600" y="2032498"/>
                  </a:cubicBezTo>
                  <a:cubicBezTo>
                    <a:pt x="2534143" y="2009047"/>
                    <a:pt x="2547657" y="1981139"/>
                    <a:pt x="2565400" y="1956298"/>
                  </a:cubicBezTo>
                  <a:cubicBezTo>
                    <a:pt x="2590006" y="1921850"/>
                    <a:pt x="2616200" y="1888565"/>
                    <a:pt x="2641600" y="1854698"/>
                  </a:cubicBezTo>
                  <a:lnTo>
                    <a:pt x="2717800" y="1626098"/>
                  </a:lnTo>
                  <a:cubicBezTo>
                    <a:pt x="2726267" y="1600698"/>
                    <a:pt x="2728348" y="1572175"/>
                    <a:pt x="2743200" y="1549898"/>
                  </a:cubicBezTo>
                  <a:cubicBezTo>
                    <a:pt x="2808852" y="1451421"/>
                    <a:pt x="2784347" y="1502658"/>
                    <a:pt x="2819400" y="1397498"/>
                  </a:cubicBezTo>
                  <a:cubicBezTo>
                    <a:pt x="2811882" y="1337354"/>
                    <a:pt x="2786911" y="1115142"/>
                    <a:pt x="2768600" y="1041898"/>
                  </a:cubicBezTo>
                  <a:cubicBezTo>
                    <a:pt x="2755613" y="989949"/>
                    <a:pt x="2747503" y="934053"/>
                    <a:pt x="2717800" y="889498"/>
                  </a:cubicBezTo>
                  <a:cubicBezTo>
                    <a:pt x="2700867" y="864098"/>
                    <a:pt x="2680652" y="840602"/>
                    <a:pt x="2667000" y="813298"/>
                  </a:cubicBezTo>
                  <a:cubicBezTo>
                    <a:pt x="2655026" y="789351"/>
                    <a:pt x="2656452" y="759375"/>
                    <a:pt x="2641600" y="737098"/>
                  </a:cubicBezTo>
                  <a:cubicBezTo>
                    <a:pt x="2621675" y="707210"/>
                    <a:pt x="2587453" y="689252"/>
                    <a:pt x="2565400" y="660898"/>
                  </a:cubicBezTo>
                  <a:cubicBezTo>
                    <a:pt x="2405836" y="455744"/>
                    <a:pt x="2535115" y="556042"/>
                    <a:pt x="2387600" y="457698"/>
                  </a:cubicBezTo>
                  <a:cubicBezTo>
                    <a:pt x="2261473" y="268508"/>
                    <a:pt x="2423576" y="500870"/>
                    <a:pt x="2260600" y="305298"/>
                  </a:cubicBezTo>
                  <a:cubicBezTo>
                    <a:pt x="2154767" y="178298"/>
                    <a:pt x="2273300" y="271431"/>
                    <a:pt x="2133600" y="178298"/>
                  </a:cubicBezTo>
                  <a:cubicBezTo>
                    <a:pt x="2092207" y="116209"/>
                    <a:pt x="2081859" y="79520"/>
                    <a:pt x="2006600" y="51298"/>
                  </a:cubicBezTo>
                  <a:cubicBezTo>
                    <a:pt x="1966177" y="36139"/>
                    <a:pt x="1900767" y="30131"/>
                    <a:pt x="1879600" y="25898"/>
                  </a:cubicBezTo>
                  <a:close/>
                </a:path>
              </a:pathLst>
            </a:custGeom>
            <a:solidFill>
              <a:schemeClr val="bg1"/>
            </a:solidFill>
            <a:ln w="666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 name="橢圓 1">
              <a:extLst>
                <a:ext uri="{FF2B5EF4-FFF2-40B4-BE49-F238E27FC236}">
                  <a16:creationId xmlns:a16="http://schemas.microsoft.com/office/drawing/2014/main" id="{666692A4-8693-4849-8599-37C08DF54898}"/>
                </a:ext>
              </a:extLst>
            </p:cNvPr>
            <p:cNvSpPr/>
            <p:nvPr/>
          </p:nvSpPr>
          <p:spPr>
            <a:xfrm>
              <a:off x="1769494" y="4131670"/>
              <a:ext cx="3937686" cy="1874824"/>
            </a:xfrm>
            <a:prstGeom prst="ellipse">
              <a:avLst/>
            </a:prstGeom>
            <a:gradFill flip="none" rotWithShape="1">
              <a:gsLst>
                <a:gs pos="0">
                  <a:schemeClr val="accent4">
                    <a:lumMod val="20000"/>
                    <a:lumOff val="80000"/>
                  </a:schemeClr>
                </a:gs>
                <a:gs pos="50000">
                  <a:schemeClr val="accent4">
                    <a:lumMod val="40000"/>
                    <a:lumOff val="60000"/>
                    <a:alpha val="42288"/>
                  </a:schemeClr>
                </a:gs>
                <a:gs pos="100000">
                  <a:srgbClr val="FFFF00">
                    <a:alpha val="41000"/>
                  </a:srgbClr>
                </a:gs>
              </a:gsLst>
              <a:path path="circle">
                <a:fillToRect l="50000" t="50000" r="50000" b="50000"/>
              </a:path>
              <a:tileRect/>
            </a:gradFill>
            <a:ln w="120650" cmpd="sng">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
          <p:nvSpPr>
            <p:cNvPr id="35" name="橢圓 34">
              <a:extLst>
                <a:ext uri="{FF2B5EF4-FFF2-40B4-BE49-F238E27FC236}">
                  <a16:creationId xmlns:a16="http://schemas.microsoft.com/office/drawing/2014/main" id="{7373E70C-D92B-C84F-9B0C-3F92EC346586}"/>
                </a:ext>
              </a:extLst>
            </p:cNvPr>
            <p:cNvSpPr/>
            <p:nvPr/>
          </p:nvSpPr>
          <p:spPr>
            <a:xfrm>
              <a:off x="2217808" y="2067795"/>
              <a:ext cx="1415730" cy="1194224"/>
            </a:xfrm>
            <a:prstGeom prst="ellipse">
              <a:avLst/>
            </a:prstGeom>
            <a:solidFill>
              <a:schemeClr val="bg1"/>
            </a:solidFill>
            <a:ln w="127000" cmpd="thickThin">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6" name="矩形 35">
              <a:extLst>
                <a:ext uri="{FF2B5EF4-FFF2-40B4-BE49-F238E27FC236}">
                  <a16:creationId xmlns:a16="http://schemas.microsoft.com/office/drawing/2014/main" id="{48402E62-9984-204C-BBA6-BD1724A1B9A5}"/>
                </a:ext>
              </a:extLst>
            </p:cNvPr>
            <p:cNvSpPr/>
            <p:nvPr/>
          </p:nvSpPr>
          <p:spPr>
            <a:xfrm>
              <a:off x="2002605" y="1809102"/>
              <a:ext cx="1958883" cy="4553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37" name="群組 36">
              <a:extLst>
                <a:ext uri="{FF2B5EF4-FFF2-40B4-BE49-F238E27FC236}">
                  <a16:creationId xmlns:a16="http://schemas.microsoft.com/office/drawing/2014/main" id="{01558AF7-10FC-AC45-BBA8-EDF1B404C7CE}"/>
                </a:ext>
              </a:extLst>
            </p:cNvPr>
            <p:cNvGrpSpPr/>
            <p:nvPr/>
          </p:nvGrpSpPr>
          <p:grpSpPr>
            <a:xfrm rot="4712461">
              <a:off x="1977564" y="2509648"/>
              <a:ext cx="393829" cy="553501"/>
              <a:chOff x="3794629" y="7963694"/>
              <a:chExt cx="1006289" cy="1097497"/>
            </a:xfrm>
          </p:grpSpPr>
          <p:sp>
            <p:nvSpPr>
              <p:cNvPr id="38" name="圓角矩形 37">
                <a:extLst>
                  <a:ext uri="{FF2B5EF4-FFF2-40B4-BE49-F238E27FC236}">
                    <a16:creationId xmlns:a16="http://schemas.microsoft.com/office/drawing/2014/main" id="{6CE6323B-2823-4B49-AAC3-37E4946612C7}"/>
                  </a:ext>
                </a:extLst>
              </p:cNvPr>
              <p:cNvSpPr/>
              <p:nvPr/>
            </p:nvSpPr>
            <p:spPr>
              <a:xfrm flipH="1">
                <a:off x="3924619" y="8188592"/>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 name="圓角矩形 38">
                <a:extLst>
                  <a:ext uri="{FF2B5EF4-FFF2-40B4-BE49-F238E27FC236}">
                    <a16:creationId xmlns:a16="http://schemas.microsoft.com/office/drawing/2014/main" id="{BA785EFE-46C2-7A4E-AE75-66709BFB1271}"/>
                  </a:ext>
                </a:extLst>
              </p:cNvPr>
              <p:cNvSpPr/>
              <p:nvPr/>
            </p:nvSpPr>
            <p:spPr>
              <a:xfrm flipH="1">
                <a:off x="4084017" y="8188592"/>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 name="圓角矩形 39">
                <a:extLst>
                  <a:ext uri="{FF2B5EF4-FFF2-40B4-BE49-F238E27FC236}">
                    <a16:creationId xmlns:a16="http://schemas.microsoft.com/office/drawing/2014/main" id="{1F93FB27-8116-5449-97A1-0450BCB8A9D1}"/>
                  </a:ext>
                </a:extLst>
              </p:cNvPr>
              <p:cNvSpPr/>
              <p:nvPr/>
            </p:nvSpPr>
            <p:spPr>
              <a:xfrm flipH="1">
                <a:off x="4234276" y="8188592"/>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 name="圓角矩形 40">
                <a:extLst>
                  <a:ext uri="{FF2B5EF4-FFF2-40B4-BE49-F238E27FC236}">
                    <a16:creationId xmlns:a16="http://schemas.microsoft.com/office/drawing/2014/main" id="{65D92AA5-510E-5D4B-A4BE-A2AD72F99B4C}"/>
                  </a:ext>
                </a:extLst>
              </p:cNvPr>
              <p:cNvSpPr/>
              <p:nvPr/>
            </p:nvSpPr>
            <p:spPr>
              <a:xfrm flipH="1">
                <a:off x="4386251" y="8184890"/>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 name="圓角矩形 41">
                <a:extLst>
                  <a:ext uri="{FF2B5EF4-FFF2-40B4-BE49-F238E27FC236}">
                    <a16:creationId xmlns:a16="http://schemas.microsoft.com/office/drawing/2014/main" id="{44814BAE-3A44-934D-BA8F-4053290F8AFB}"/>
                  </a:ext>
                </a:extLst>
              </p:cNvPr>
              <p:cNvSpPr/>
              <p:nvPr/>
            </p:nvSpPr>
            <p:spPr>
              <a:xfrm flipH="1">
                <a:off x="4553313" y="8184890"/>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3" name="手繪多邊形 42">
                <a:extLst>
                  <a:ext uri="{FF2B5EF4-FFF2-40B4-BE49-F238E27FC236}">
                    <a16:creationId xmlns:a16="http://schemas.microsoft.com/office/drawing/2014/main" id="{3C2FF9F9-CACE-F743-AE9F-79CC24DE0A8D}"/>
                  </a:ext>
                </a:extLst>
              </p:cNvPr>
              <p:cNvSpPr/>
              <p:nvPr/>
            </p:nvSpPr>
            <p:spPr>
              <a:xfrm>
                <a:off x="3945809" y="796369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4" name="手繪多邊形 43">
                <a:extLst>
                  <a:ext uri="{FF2B5EF4-FFF2-40B4-BE49-F238E27FC236}">
                    <a16:creationId xmlns:a16="http://schemas.microsoft.com/office/drawing/2014/main" id="{0C551A0A-5640-FA42-97F7-B81FA7E33069}"/>
                  </a:ext>
                </a:extLst>
              </p:cNvPr>
              <p:cNvSpPr/>
              <p:nvPr/>
            </p:nvSpPr>
            <p:spPr>
              <a:xfrm>
                <a:off x="4174409" y="79827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5" name="手繪多邊形 44">
                <a:extLst>
                  <a:ext uri="{FF2B5EF4-FFF2-40B4-BE49-F238E27FC236}">
                    <a16:creationId xmlns:a16="http://schemas.microsoft.com/office/drawing/2014/main" id="{07B5C3C3-9640-E445-B567-A15CD7B84548}"/>
                  </a:ext>
                </a:extLst>
              </p:cNvPr>
              <p:cNvSpPr/>
              <p:nvPr/>
            </p:nvSpPr>
            <p:spPr>
              <a:xfrm>
                <a:off x="4345859" y="800179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6" name="手繪多邊形 45">
                <a:extLst>
                  <a:ext uri="{FF2B5EF4-FFF2-40B4-BE49-F238E27FC236}">
                    <a16:creationId xmlns:a16="http://schemas.microsoft.com/office/drawing/2014/main" id="{AED5143B-6DC1-FF43-BA86-D4EEBCDFB0AE}"/>
                  </a:ext>
                </a:extLst>
              </p:cNvPr>
              <p:cNvSpPr/>
              <p:nvPr/>
            </p:nvSpPr>
            <p:spPr>
              <a:xfrm rot="10800000">
                <a:off x="4517309" y="87828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7" name="手繪多邊形 46">
                <a:extLst>
                  <a:ext uri="{FF2B5EF4-FFF2-40B4-BE49-F238E27FC236}">
                    <a16:creationId xmlns:a16="http://schemas.microsoft.com/office/drawing/2014/main" id="{DA997A36-6E69-7C40-AFDA-AB392187C8E5}"/>
                  </a:ext>
                </a:extLst>
              </p:cNvPr>
              <p:cNvSpPr/>
              <p:nvPr/>
            </p:nvSpPr>
            <p:spPr>
              <a:xfrm rot="11035833">
                <a:off x="4307759" y="88209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8" name="手繪多邊形 47">
                <a:extLst>
                  <a:ext uri="{FF2B5EF4-FFF2-40B4-BE49-F238E27FC236}">
                    <a16:creationId xmlns:a16="http://schemas.microsoft.com/office/drawing/2014/main" id="{CFD61270-BA8C-734F-AC56-05B50B35A8DA}"/>
                  </a:ext>
                </a:extLst>
              </p:cNvPr>
              <p:cNvSpPr/>
              <p:nvPr/>
            </p:nvSpPr>
            <p:spPr>
              <a:xfrm rot="10800000">
                <a:off x="4117259" y="88209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cxnSp>
            <p:nvCxnSpPr>
              <p:cNvPr id="49" name="曲線接點 48">
                <a:extLst>
                  <a:ext uri="{FF2B5EF4-FFF2-40B4-BE49-F238E27FC236}">
                    <a16:creationId xmlns:a16="http://schemas.microsoft.com/office/drawing/2014/main" id="{3E2B34CB-89AB-AD4D-BA42-63349F398795}"/>
                  </a:ext>
                </a:extLst>
              </p:cNvPr>
              <p:cNvCxnSpPr>
                <a:cxnSpLocks/>
              </p:cNvCxnSpPr>
              <p:nvPr/>
            </p:nvCxnSpPr>
            <p:spPr>
              <a:xfrm rot="5400000" flipH="1" flipV="1">
                <a:off x="4587226" y="7971198"/>
                <a:ext cx="221196" cy="206189"/>
              </a:xfrm>
              <a:prstGeom prst="curvedConnector3">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曲線接點 49">
                <a:extLst>
                  <a:ext uri="{FF2B5EF4-FFF2-40B4-BE49-F238E27FC236}">
                    <a16:creationId xmlns:a16="http://schemas.microsoft.com/office/drawing/2014/main" id="{02A8E24F-C4E2-AA4D-ADC6-879F48E8E1AA}"/>
                  </a:ext>
                </a:extLst>
              </p:cNvPr>
              <p:cNvCxnSpPr>
                <a:cxnSpLocks/>
              </p:cNvCxnSpPr>
              <p:nvPr/>
            </p:nvCxnSpPr>
            <p:spPr>
              <a:xfrm rot="5400000" flipH="1" flipV="1">
                <a:off x="3787126" y="8847498"/>
                <a:ext cx="221196" cy="206189"/>
              </a:xfrm>
              <a:prstGeom prst="curvedConnector3">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51" name="群組 50">
              <a:extLst>
                <a:ext uri="{FF2B5EF4-FFF2-40B4-BE49-F238E27FC236}">
                  <a16:creationId xmlns:a16="http://schemas.microsoft.com/office/drawing/2014/main" id="{525D0317-3ABA-DF4E-A6F0-C86E20AC0C76}"/>
                </a:ext>
              </a:extLst>
            </p:cNvPr>
            <p:cNvGrpSpPr/>
            <p:nvPr/>
          </p:nvGrpSpPr>
          <p:grpSpPr>
            <a:xfrm>
              <a:off x="2686333" y="3036723"/>
              <a:ext cx="490627" cy="444299"/>
              <a:chOff x="3794629" y="7963694"/>
              <a:chExt cx="1006289" cy="1097497"/>
            </a:xfrm>
          </p:grpSpPr>
          <p:sp>
            <p:nvSpPr>
              <p:cNvPr id="52" name="圓角矩形 51">
                <a:extLst>
                  <a:ext uri="{FF2B5EF4-FFF2-40B4-BE49-F238E27FC236}">
                    <a16:creationId xmlns:a16="http://schemas.microsoft.com/office/drawing/2014/main" id="{11504656-E3E8-9448-96AB-648CA03C31B4}"/>
                  </a:ext>
                </a:extLst>
              </p:cNvPr>
              <p:cNvSpPr/>
              <p:nvPr/>
            </p:nvSpPr>
            <p:spPr>
              <a:xfrm flipH="1">
                <a:off x="3924619" y="8188592"/>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3" name="圓角矩形 52">
                <a:extLst>
                  <a:ext uri="{FF2B5EF4-FFF2-40B4-BE49-F238E27FC236}">
                    <a16:creationId xmlns:a16="http://schemas.microsoft.com/office/drawing/2014/main" id="{9F5741DC-7DCB-4B45-BB2D-4B278228AE05}"/>
                  </a:ext>
                </a:extLst>
              </p:cNvPr>
              <p:cNvSpPr/>
              <p:nvPr/>
            </p:nvSpPr>
            <p:spPr>
              <a:xfrm flipH="1">
                <a:off x="4084017" y="8188592"/>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4" name="圓角矩形 53">
                <a:extLst>
                  <a:ext uri="{FF2B5EF4-FFF2-40B4-BE49-F238E27FC236}">
                    <a16:creationId xmlns:a16="http://schemas.microsoft.com/office/drawing/2014/main" id="{6A2C9775-3980-4247-9A57-1A9650E283E2}"/>
                  </a:ext>
                </a:extLst>
              </p:cNvPr>
              <p:cNvSpPr/>
              <p:nvPr/>
            </p:nvSpPr>
            <p:spPr>
              <a:xfrm flipH="1">
                <a:off x="4234276" y="8188592"/>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5" name="圓角矩形 54">
                <a:extLst>
                  <a:ext uri="{FF2B5EF4-FFF2-40B4-BE49-F238E27FC236}">
                    <a16:creationId xmlns:a16="http://schemas.microsoft.com/office/drawing/2014/main" id="{D266A2A2-5BEB-FB46-9DBB-AC1CED885697}"/>
                  </a:ext>
                </a:extLst>
              </p:cNvPr>
              <p:cNvSpPr/>
              <p:nvPr/>
            </p:nvSpPr>
            <p:spPr>
              <a:xfrm flipH="1">
                <a:off x="4386251" y="8184890"/>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6" name="圓角矩形 55">
                <a:extLst>
                  <a:ext uri="{FF2B5EF4-FFF2-40B4-BE49-F238E27FC236}">
                    <a16:creationId xmlns:a16="http://schemas.microsoft.com/office/drawing/2014/main" id="{1D955E69-E5B0-AA41-A148-7C38415640F1}"/>
                  </a:ext>
                </a:extLst>
              </p:cNvPr>
              <p:cNvSpPr/>
              <p:nvPr/>
            </p:nvSpPr>
            <p:spPr>
              <a:xfrm flipH="1">
                <a:off x="4553313" y="8184890"/>
                <a:ext cx="150259" cy="685006"/>
              </a:xfrm>
              <a:prstGeom prst="roundRect">
                <a:avLst/>
              </a:prstGeom>
              <a:gradFill flip="none" rotWithShape="1">
                <a:gsLst>
                  <a:gs pos="0">
                    <a:schemeClr val="accent6">
                      <a:lumMod val="50000"/>
                    </a:schemeClr>
                  </a:gs>
                  <a:gs pos="46000">
                    <a:schemeClr val="accent6">
                      <a:lumMod val="95000"/>
                      <a:lumOff val="5000"/>
                    </a:schemeClr>
                  </a:gs>
                  <a:gs pos="100000">
                    <a:schemeClr val="accent6">
                      <a:lumMod val="50000"/>
                    </a:schemeClr>
                  </a:gs>
                </a:gsLst>
                <a:lin ang="0" scaled="1"/>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7" name="手繪多邊形 56">
                <a:extLst>
                  <a:ext uri="{FF2B5EF4-FFF2-40B4-BE49-F238E27FC236}">
                    <a16:creationId xmlns:a16="http://schemas.microsoft.com/office/drawing/2014/main" id="{6B954E46-9AAB-F54B-85F2-09DC5AB4A36A}"/>
                  </a:ext>
                </a:extLst>
              </p:cNvPr>
              <p:cNvSpPr/>
              <p:nvPr/>
            </p:nvSpPr>
            <p:spPr>
              <a:xfrm>
                <a:off x="3945809" y="796369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8" name="手繪多邊形 57">
                <a:extLst>
                  <a:ext uri="{FF2B5EF4-FFF2-40B4-BE49-F238E27FC236}">
                    <a16:creationId xmlns:a16="http://schemas.microsoft.com/office/drawing/2014/main" id="{F04569CA-9A02-FC49-85AC-C9CFA2814D6E}"/>
                  </a:ext>
                </a:extLst>
              </p:cNvPr>
              <p:cNvSpPr/>
              <p:nvPr/>
            </p:nvSpPr>
            <p:spPr>
              <a:xfrm>
                <a:off x="4174409" y="79827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9" name="手繪多邊形 58">
                <a:extLst>
                  <a:ext uri="{FF2B5EF4-FFF2-40B4-BE49-F238E27FC236}">
                    <a16:creationId xmlns:a16="http://schemas.microsoft.com/office/drawing/2014/main" id="{D246B47C-CD45-884E-BE43-62DF011323E1}"/>
                  </a:ext>
                </a:extLst>
              </p:cNvPr>
              <p:cNvSpPr/>
              <p:nvPr/>
            </p:nvSpPr>
            <p:spPr>
              <a:xfrm>
                <a:off x="4345859" y="800179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0" name="手繪多邊形 59">
                <a:extLst>
                  <a:ext uri="{FF2B5EF4-FFF2-40B4-BE49-F238E27FC236}">
                    <a16:creationId xmlns:a16="http://schemas.microsoft.com/office/drawing/2014/main" id="{D3C32AD4-DB4A-0445-A784-F58F92F438F8}"/>
                  </a:ext>
                </a:extLst>
              </p:cNvPr>
              <p:cNvSpPr/>
              <p:nvPr/>
            </p:nvSpPr>
            <p:spPr>
              <a:xfrm rot="10800000">
                <a:off x="4517309" y="87828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1" name="手繪多邊形 60">
                <a:extLst>
                  <a:ext uri="{FF2B5EF4-FFF2-40B4-BE49-F238E27FC236}">
                    <a16:creationId xmlns:a16="http://schemas.microsoft.com/office/drawing/2014/main" id="{AC7A76DE-A10B-314B-A3D5-4C9F306B44FD}"/>
                  </a:ext>
                </a:extLst>
              </p:cNvPr>
              <p:cNvSpPr/>
              <p:nvPr/>
            </p:nvSpPr>
            <p:spPr>
              <a:xfrm rot="11035833">
                <a:off x="4307759" y="88209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2" name="手繪多邊形 61">
                <a:extLst>
                  <a:ext uri="{FF2B5EF4-FFF2-40B4-BE49-F238E27FC236}">
                    <a16:creationId xmlns:a16="http://schemas.microsoft.com/office/drawing/2014/main" id="{706F96E7-F7C8-E44A-8556-34AFA50A29C7}"/>
                  </a:ext>
                </a:extLst>
              </p:cNvPr>
              <p:cNvSpPr/>
              <p:nvPr/>
            </p:nvSpPr>
            <p:spPr>
              <a:xfrm rot="10800000">
                <a:off x="4117259" y="8820944"/>
                <a:ext cx="150260" cy="221196"/>
              </a:xfrm>
              <a:custGeom>
                <a:avLst/>
                <a:gdLst>
                  <a:gd name="connsiteX0" fmla="*/ 0 w 171450"/>
                  <a:gd name="connsiteY0" fmla="*/ 190576 h 209626"/>
                  <a:gd name="connsiteX1" fmla="*/ 57150 w 171450"/>
                  <a:gd name="connsiteY1" fmla="*/ 76 h 209626"/>
                  <a:gd name="connsiteX2" fmla="*/ 171450 w 171450"/>
                  <a:gd name="connsiteY2" fmla="*/ 209626 h 209626"/>
                  <a:gd name="connsiteX3" fmla="*/ 171450 w 171450"/>
                  <a:gd name="connsiteY3" fmla="*/ 209626 h 209626"/>
                </a:gdLst>
                <a:ahLst/>
                <a:cxnLst>
                  <a:cxn ang="0">
                    <a:pos x="connsiteX0" y="connsiteY0"/>
                  </a:cxn>
                  <a:cxn ang="0">
                    <a:pos x="connsiteX1" y="connsiteY1"/>
                  </a:cxn>
                  <a:cxn ang="0">
                    <a:pos x="connsiteX2" y="connsiteY2"/>
                  </a:cxn>
                  <a:cxn ang="0">
                    <a:pos x="connsiteX3" y="connsiteY3"/>
                  </a:cxn>
                </a:cxnLst>
                <a:rect l="l" t="t" r="r" b="b"/>
                <a:pathLst>
                  <a:path w="171450" h="209626">
                    <a:moveTo>
                      <a:pt x="0" y="190576"/>
                    </a:moveTo>
                    <a:cubicBezTo>
                      <a:pt x="14287" y="93738"/>
                      <a:pt x="28575" y="-3099"/>
                      <a:pt x="57150" y="76"/>
                    </a:cubicBezTo>
                    <a:cubicBezTo>
                      <a:pt x="85725" y="3251"/>
                      <a:pt x="171450" y="209626"/>
                      <a:pt x="171450" y="209626"/>
                    </a:cubicBezTo>
                    <a:lnTo>
                      <a:pt x="171450" y="209626"/>
                    </a:lnTo>
                  </a:path>
                </a:pathLst>
              </a:custGeom>
              <a:noFill/>
              <a:ln w="190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cxnSp>
            <p:nvCxnSpPr>
              <p:cNvPr id="63" name="曲線接點 62">
                <a:extLst>
                  <a:ext uri="{FF2B5EF4-FFF2-40B4-BE49-F238E27FC236}">
                    <a16:creationId xmlns:a16="http://schemas.microsoft.com/office/drawing/2014/main" id="{D6E47178-41FD-3E4B-A46A-A468355B1719}"/>
                  </a:ext>
                </a:extLst>
              </p:cNvPr>
              <p:cNvCxnSpPr>
                <a:cxnSpLocks/>
              </p:cNvCxnSpPr>
              <p:nvPr/>
            </p:nvCxnSpPr>
            <p:spPr>
              <a:xfrm rot="5400000" flipH="1" flipV="1">
                <a:off x="4587226" y="7971198"/>
                <a:ext cx="221196" cy="206189"/>
              </a:xfrm>
              <a:prstGeom prst="curvedConnector3">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曲線接點 63">
                <a:extLst>
                  <a:ext uri="{FF2B5EF4-FFF2-40B4-BE49-F238E27FC236}">
                    <a16:creationId xmlns:a16="http://schemas.microsoft.com/office/drawing/2014/main" id="{0E6A618F-48FE-764E-B7D5-7949A9FFAE6D}"/>
                  </a:ext>
                </a:extLst>
              </p:cNvPr>
              <p:cNvCxnSpPr>
                <a:cxnSpLocks/>
              </p:cNvCxnSpPr>
              <p:nvPr/>
            </p:nvCxnSpPr>
            <p:spPr>
              <a:xfrm rot="5400000" flipH="1" flipV="1">
                <a:off x="3787126" y="8847498"/>
                <a:ext cx="221196" cy="206189"/>
              </a:xfrm>
              <a:prstGeom prst="curvedConnector3">
                <a:avLst/>
              </a:prstGeom>
              <a:ln w="1905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07" name="文字方塊 106">
              <a:extLst>
                <a:ext uri="{FF2B5EF4-FFF2-40B4-BE49-F238E27FC236}">
                  <a16:creationId xmlns:a16="http://schemas.microsoft.com/office/drawing/2014/main" id="{63648469-79C4-3D40-85BA-8742561D1CF2}"/>
                </a:ext>
              </a:extLst>
            </p:cNvPr>
            <p:cNvSpPr txBox="1"/>
            <p:nvPr/>
          </p:nvSpPr>
          <p:spPr>
            <a:xfrm>
              <a:off x="2394104" y="3454826"/>
              <a:ext cx="1282956"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NTCP receptor</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155" name="群組 154">
              <a:extLst>
                <a:ext uri="{FF2B5EF4-FFF2-40B4-BE49-F238E27FC236}">
                  <a16:creationId xmlns:a16="http://schemas.microsoft.com/office/drawing/2014/main" id="{D1E8CB73-E12B-0344-A009-EAA596137319}"/>
                </a:ext>
              </a:extLst>
            </p:cNvPr>
            <p:cNvGrpSpPr/>
            <p:nvPr/>
          </p:nvGrpSpPr>
          <p:grpSpPr>
            <a:xfrm>
              <a:off x="7514251" y="946423"/>
              <a:ext cx="764443" cy="684690"/>
              <a:chOff x="7472545" y="8933668"/>
              <a:chExt cx="1891716" cy="1788271"/>
            </a:xfrm>
          </p:grpSpPr>
          <p:sp>
            <p:nvSpPr>
              <p:cNvPr id="156" name="橢圓 155">
                <a:extLst>
                  <a:ext uri="{FF2B5EF4-FFF2-40B4-BE49-F238E27FC236}">
                    <a16:creationId xmlns:a16="http://schemas.microsoft.com/office/drawing/2014/main" id="{20BA0FA1-F350-6F4D-983C-82D2B3DE092A}"/>
                  </a:ext>
                </a:extLst>
              </p:cNvPr>
              <p:cNvSpPr>
                <a:spLocks noChangeAspect="1"/>
              </p:cNvSpPr>
              <p:nvPr/>
            </p:nvSpPr>
            <p:spPr>
              <a:xfrm>
                <a:off x="7669168" y="9084195"/>
                <a:ext cx="1477636" cy="1475999"/>
              </a:xfrm>
              <a:prstGeom prst="ellipse">
                <a:avLst/>
              </a:prstGeom>
              <a:gradFill flip="none" rotWithShape="1">
                <a:gsLst>
                  <a:gs pos="0">
                    <a:schemeClr val="accent2">
                      <a:lumMod val="40000"/>
                      <a:lumOff val="60000"/>
                    </a:schemeClr>
                  </a:gs>
                  <a:gs pos="48000">
                    <a:schemeClr val="accent2">
                      <a:lumMod val="60000"/>
                      <a:lumOff val="40000"/>
                    </a:schemeClr>
                  </a:gs>
                  <a:gs pos="53000">
                    <a:schemeClr val="accent2">
                      <a:lumMod val="60000"/>
                      <a:lumOff val="40000"/>
                    </a:schemeClr>
                  </a:gs>
                  <a:gs pos="100000">
                    <a:schemeClr val="accent2">
                      <a:lumMod val="20355"/>
                      <a:alpha val="0"/>
                    </a:schemeClr>
                  </a:gs>
                </a:gsLst>
                <a:path path="circle">
                  <a:fillToRect l="50000" t="50000" r="50000" b="50000"/>
                </a:path>
                <a:tileRect/>
              </a:gradFill>
              <a:ln w="41275" cmpd="tri">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157" name="群組 156">
                <a:extLst>
                  <a:ext uri="{FF2B5EF4-FFF2-40B4-BE49-F238E27FC236}">
                    <a16:creationId xmlns:a16="http://schemas.microsoft.com/office/drawing/2014/main" id="{5ACBCA03-2A02-E14A-97B5-AF1FFD486395}"/>
                  </a:ext>
                </a:extLst>
              </p:cNvPr>
              <p:cNvGrpSpPr/>
              <p:nvPr/>
            </p:nvGrpSpPr>
            <p:grpSpPr>
              <a:xfrm>
                <a:off x="7759886" y="9244302"/>
                <a:ext cx="1312419" cy="1170600"/>
                <a:chOff x="8316000" y="8964000"/>
                <a:chExt cx="1312419" cy="1170600"/>
              </a:xfrm>
            </p:grpSpPr>
            <p:sp>
              <p:nvSpPr>
                <p:cNvPr id="182" name="手繪多邊形 181">
                  <a:extLst>
                    <a:ext uri="{FF2B5EF4-FFF2-40B4-BE49-F238E27FC236}">
                      <a16:creationId xmlns:a16="http://schemas.microsoft.com/office/drawing/2014/main" id="{95C1EA2C-2F52-ED48-B2F2-E9B108305E50}"/>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3" name="手繪多邊形 182">
                  <a:extLst>
                    <a:ext uri="{FF2B5EF4-FFF2-40B4-BE49-F238E27FC236}">
                      <a16:creationId xmlns:a16="http://schemas.microsoft.com/office/drawing/2014/main" id="{4C2B9A3E-7BE5-3643-9CE3-FD5BBF792378}"/>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4" name="手繪多邊形 183">
                  <a:extLst>
                    <a:ext uri="{FF2B5EF4-FFF2-40B4-BE49-F238E27FC236}">
                      <a16:creationId xmlns:a16="http://schemas.microsoft.com/office/drawing/2014/main" id="{DEE20872-E1BA-6440-AA72-9FAED4FB6F6E}"/>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5" name="手繪多邊形 184">
                  <a:extLst>
                    <a:ext uri="{FF2B5EF4-FFF2-40B4-BE49-F238E27FC236}">
                      <a16:creationId xmlns:a16="http://schemas.microsoft.com/office/drawing/2014/main" id="{398C067B-F4DB-9342-9194-5D8986D473B5}"/>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alpha val="97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6" name="手繪多邊形 185">
                  <a:extLst>
                    <a:ext uri="{FF2B5EF4-FFF2-40B4-BE49-F238E27FC236}">
                      <a16:creationId xmlns:a16="http://schemas.microsoft.com/office/drawing/2014/main" id="{49F64831-E0B5-DD4F-9B52-79313C441B87}"/>
                    </a:ext>
                  </a:extLst>
                </p:cNvPr>
                <p:cNvSpPr/>
                <p:nvPr/>
              </p:nvSpPr>
              <p:spPr>
                <a:xfrm rot="60000">
                  <a:off x="9279466" y="9000067"/>
                  <a:ext cx="344691" cy="536768"/>
                </a:xfrm>
                <a:custGeom>
                  <a:avLst/>
                  <a:gdLst>
                    <a:gd name="connsiteX0" fmla="*/ 12700 w 330200"/>
                    <a:gd name="connsiteY0" fmla="*/ 0 h 533400"/>
                    <a:gd name="connsiteX1" fmla="*/ 0 w 330200"/>
                    <a:gd name="connsiteY1" fmla="*/ 520700 h 533400"/>
                    <a:gd name="connsiteX2" fmla="*/ 330200 w 330200"/>
                    <a:gd name="connsiteY2" fmla="*/ 533400 h 533400"/>
                    <a:gd name="connsiteX3" fmla="*/ 12700 w 330200"/>
                    <a:gd name="connsiteY3" fmla="*/ 0 h 533400"/>
                  </a:gdLst>
                  <a:ahLst/>
                  <a:cxnLst>
                    <a:cxn ang="0">
                      <a:pos x="connsiteX0" y="connsiteY0"/>
                    </a:cxn>
                    <a:cxn ang="0">
                      <a:pos x="connsiteX1" y="connsiteY1"/>
                    </a:cxn>
                    <a:cxn ang="0">
                      <a:pos x="connsiteX2" y="connsiteY2"/>
                    </a:cxn>
                    <a:cxn ang="0">
                      <a:pos x="connsiteX3" y="connsiteY3"/>
                    </a:cxn>
                  </a:cxnLst>
                  <a:rect l="l" t="t" r="r" b="b"/>
                  <a:pathLst>
                    <a:path w="330200" h="533400">
                      <a:moveTo>
                        <a:pt x="12700" y="0"/>
                      </a:moveTo>
                      <a:lnTo>
                        <a:pt x="0" y="520700"/>
                      </a:lnTo>
                      <a:lnTo>
                        <a:pt x="330200" y="533400"/>
                      </a:lnTo>
                      <a:lnTo>
                        <a:pt x="1270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7" name="手繪多邊形 186">
                  <a:extLst>
                    <a:ext uri="{FF2B5EF4-FFF2-40B4-BE49-F238E27FC236}">
                      <a16:creationId xmlns:a16="http://schemas.microsoft.com/office/drawing/2014/main" id="{F4E93771-F87A-934E-B8EB-F4F51E7062EB}"/>
                    </a:ext>
                  </a:extLst>
                </p:cNvPr>
                <p:cNvSpPr/>
                <p:nvPr/>
              </p:nvSpPr>
              <p:spPr>
                <a:xfrm>
                  <a:off x="9268419" y="9521085"/>
                  <a:ext cx="360000" cy="612000"/>
                </a:xfrm>
                <a:custGeom>
                  <a:avLst/>
                  <a:gdLst>
                    <a:gd name="connsiteX0" fmla="*/ 0 w 355600"/>
                    <a:gd name="connsiteY0" fmla="*/ 0 h 609600"/>
                    <a:gd name="connsiteX1" fmla="*/ 25400 w 355600"/>
                    <a:gd name="connsiteY1" fmla="*/ 609600 h 609600"/>
                    <a:gd name="connsiteX2" fmla="*/ 355600 w 355600"/>
                    <a:gd name="connsiteY2" fmla="*/ 25400 h 609600"/>
                    <a:gd name="connsiteX3" fmla="*/ 0 w 355600"/>
                    <a:gd name="connsiteY3" fmla="*/ 0 h 609600"/>
                  </a:gdLst>
                  <a:ahLst/>
                  <a:cxnLst>
                    <a:cxn ang="0">
                      <a:pos x="connsiteX0" y="connsiteY0"/>
                    </a:cxn>
                    <a:cxn ang="0">
                      <a:pos x="connsiteX1" y="connsiteY1"/>
                    </a:cxn>
                    <a:cxn ang="0">
                      <a:pos x="connsiteX2" y="connsiteY2"/>
                    </a:cxn>
                    <a:cxn ang="0">
                      <a:pos x="connsiteX3" y="connsiteY3"/>
                    </a:cxn>
                  </a:cxnLst>
                  <a:rect l="l" t="t" r="r" b="b"/>
                  <a:pathLst>
                    <a:path w="355600" h="609600">
                      <a:moveTo>
                        <a:pt x="0" y="0"/>
                      </a:moveTo>
                      <a:lnTo>
                        <a:pt x="25400" y="609600"/>
                      </a:lnTo>
                      <a:lnTo>
                        <a:pt x="355600" y="25400"/>
                      </a:lnTo>
                      <a:lnTo>
                        <a:pt x="0" y="0"/>
                      </a:lnTo>
                      <a:close/>
                    </a:path>
                  </a:pathLst>
                </a:custGeom>
                <a:solidFill>
                  <a:schemeClr val="accent6">
                    <a:lumMod val="75000"/>
                    <a:alpha val="83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8" name="手繪多邊形 187">
                  <a:extLst>
                    <a:ext uri="{FF2B5EF4-FFF2-40B4-BE49-F238E27FC236}">
                      <a16:creationId xmlns:a16="http://schemas.microsoft.com/office/drawing/2014/main" id="{21C72025-7B8D-074A-AD36-5AC956305473}"/>
                    </a:ext>
                  </a:extLst>
                </p:cNvPr>
                <p:cNvSpPr/>
                <p:nvPr/>
              </p:nvSpPr>
              <p:spPr>
                <a:xfrm rot="60000">
                  <a:off x="8805334" y="9516533"/>
                  <a:ext cx="482600" cy="609600"/>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9" name="手繪多邊形 188">
                  <a:extLst>
                    <a:ext uri="{FF2B5EF4-FFF2-40B4-BE49-F238E27FC236}">
                      <a16:creationId xmlns:a16="http://schemas.microsoft.com/office/drawing/2014/main" id="{5DC2583B-1DBC-6148-AF7F-A287C9027B22}"/>
                    </a:ext>
                  </a:extLst>
                </p:cNvPr>
                <p:cNvSpPr/>
                <p:nvPr/>
              </p:nvSpPr>
              <p:spPr>
                <a:xfrm>
                  <a:off x="8652933" y="9626600"/>
                  <a:ext cx="635000" cy="508000"/>
                </a:xfrm>
                <a:custGeom>
                  <a:avLst/>
                  <a:gdLst>
                    <a:gd name="connsiteX0" fmla="*/ 152400 w 635000"/>
                    <a:gd name="connsiteY0" fmla="*/ 0 h 508000"/>
                    <a:gd name="connsiteX1" fmla="*/ 0 w 635000"/>
                    <a:gd name="connsiteY1" fmla="*/ 508000 h 508000"/>
                    <a:gd name="connsiteX2" fmla="*/ 635000 w 635000"/>
                    <a:gd name="connsiteY2" fmla="*/ 499533 h 508000"/>
                    <a:gd name="connsiteX3" fmla="*/ 152400 w 635000"/>
                    <a:gd name="connsiteY3" fmla="*/ 0 h 508000"/>
                  </a:gdLst>
                  <a:ahLst/>
                  <a:cxnLst>
                    <a:cxn ang="0">
                      <a:pos x="connsiteX0" y="connsiteY0"/>
                    </a:cxn>
                    <a:cxn ang="0">
                      <a:pos x="connsiteX1" y="connsiteY1"/>
                    </a:cxn>
                    <a:cxn ang="0">
                      <a:pos x="connsiteX2" y="connsiteY2"/>
                    </a:cxn>
                    <a:cxn ang="0">
                      <a:pos x="connsiteX3" y="connsiteY3"/>
                    </a:cxn>
                  </a:cxnLst>
                  <a:rect l="l" t="t" r="r" b="b"/>
                  <a:pathLst>
                    <a:path w="635000" h="508000">
                      <a:moveTo>
                        <a:pt x="152400" y="0"/>
                      </a:moveTo>
                      <a:lnTo>
                        <a:pt x="0" y="508000"/>
                      </a:lnTo>
                      <a:lnTo>
                        <a:pt x="635000" y="499533"/>
                      </a:lnTo>
                      <a:lnTo>
                        <a:pt x="152400" y="0"/>
                      </a:lnTo>
                      <a:close/>
                    </a:path>
                  </a:pathLst>
                </a:custGeom>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90" name="手繪多邊形 189">
                  <a:extLst>
                    <a:ext uri="{FF2B5EF4-FFF2-40B4-BE49-F238E27FC236}">
                      <a16:creationId xmlns:a16="http://schemas.microsoft.com/office/drawing/2014/main" id="{4F02155D-5FB5-3B41-AC3C-FCE009B2CCC5}"/>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91" name="手繪多邊形 190">
                  <a:extLst>
                    <a:ext uri="{FF2B5EF4-FFF2-40B4-BE49-F238E27FC236}">
                      <a16:creationId xmlns:a16="http://schemas.microsoft.com/office/drawing/2014/main" id="{814D9AB6-8560-DC41-A113-81FB05C34279}"/>
                    </a:ext>
                  </a:extLst>
                </p:cNvPr>
                <p:cNvSpPr/>
                <p:nvPr/>
              </p:nvSpPr>
              <p:spPr>
                <a:xfrm>
                  <a:off x="8644467" y="9635067"/>
                  <a:ext cx="635000" cy="499533"/>
                </a:xfrm>
                <a:custGeom>
                  <a:avLst/>
                  <a:gdLst>
                    <a:gd name="connsiteX0" fmla="*/ 152400 w 635000"/>
                    <a:gd name="connsiteY0" fmla="*/ 0 h 499533"/>
                    <a:gd name="connsiteX1" fmla="*/ 0 w 635000"/>
                    <a:gd name="connsiteY1" fmla="*/ 499533 h 499533"/>
                    <a:gd name="connsiteX2" fmla="*/ 635000 w 635000"/>
                    <a:gd name="connsiteY2" fmla="*/ 491066 h 499533"/>
                    <a:gd name="connsiteX3" fmla="*/ 635000 w 635000"/>
                    <a:gd name="connsiteY3" fmla="*/ 491066 h 499533"/>
                  </a:gdLst>
                  <a:ahLst/>
                  <a:cxnLst>
                    <a:cxn ang="0">
                      <a:pos x="connsiteX0" y="connsiteY0"/>
                    </a:cxn>
                    <a:cxn ang="0">
                      <a:pos x="connsiteX1" y="connsiteY1"/>
                    </a:cxn>
                    <a:cxn ang="0">
                      <a:pos x="connsiteX2" y="connsiteY2"/>
                    </a:cxn>
                    <a:cxn ang="0">
                      <a:pos x="connsiteX3" y="connsiteY3"/>
                    </a:cxn>
                  </a:cxnLst>
                  <a:rect l="l" t="t" r="r" b="b"/>
                  <a:pathLst>
                    <a:path w="635000" h="499533">
                      <a:moveTo>
                        <a:pt x="152400" y="0"/>
                      </a:moveTo>
                      <a:lnTo>
                        <a:pt x="0" y="499533"/>
                      </a:lnTo>
                      <a:lnTo>
                        <a:pt x="635000" y="491066"/>
                      </a:lnTo>
                      <a:lnTo>
                        <a:pt x="635000" y="491066"/>
                      </a:lnTo>
                    </a:path>
                  </a:pathLst>
                </a:custGeom>
                <a:solidFill>
                  <a:schemeClr val="accent6">
                    <a:lumMod val="60000"/>
                    <a:lumOff val="40000"/>
                    <a:alpha val="7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92" name="手繪多邊形 191">
                  <a:extLst>
                    <a:ext uri="{FF2B5EF4-FFF2-40B4-BE49-F238E27FC236}">
                      <a16:creationId xmlns:a16="http://schemas.microsoft.com/office/drawing/2014/main" id="{002B685F-6E5E-164A-915B-782193E8FA73}"/>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158" name="橢圓 157">
                <a:extLst>
                  <a:ext uri="{FF2B5EF4-FFF2-40B4-BE49-F238E27FC236}">
                    <a16:creationId xmlns:a16="http://schemas.microsoft.com/office/drawing/2014/main" id="{53964703-001D-9E40-AA35-70F0F5DD6488}"/>
                  </a:ext>
                </a:extLst>
              </p:cNvPr>
              <p:cNvSpPr/>
              <p:nvPr/>
            </p:nvSpPr>
            <p:spPr>
              <a:xfrm>
                <a:off x="7893818" y="897584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59" name="橢圓 158">
                <a:extLst>
                  <a:ext uri="{FF2B5EF4-FFF2-40B4-BE49-F238E27FC236}">
                    <a16:creationId xmlns:a16="http://schemas.microsoft.com/office/drawing/2014/main" id="{1E549DA6-2F68-A647-BA8C-FC9A9776D44E}"/>
                  </a:ext>
                </a:extLst>
              </p:cNvPr>
              <p:cNvSpPr/>
              <p:nvPr/>
            </p:nvSpPr>
            <p:spPr>
              <a:xfrm>
                <a:off x="9157992" y="972820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0" name="橢圓 159">
                <a:extLst>
                  <a:ext uri="{FF2B5EF4-FFF2-40B4-BE49-F238E27FC236}">
                    <a16:creationId xmlns:a16="http://schemas.microsoft.com/office/drawing/2014/main" id="{220DC2EC-CF15-AB44-9861-C5D338CECFF3}"/>
                  </a:ext>
                </a:extLst>
              </p:cNvPr>
              <p:cNvSpPr/>
              <p:nvPr/>
            </p:nvSpPr>
            <p:spPr>
              <a:xfrm>
                <a:off x="8783852" y="900932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1" name="橢圓 160">
                <a:extLst>
                  <a:ext uri="{FF2B5EF4-FFF2-40B4-BE49-F238E27FC236}">
                    <a16:creationId xmlns:a16="http://schemas.microsoft.com/office/drawing/2014/main" id="{F034B036-42B6-E04E-8344-B00C9991236C}"/>
                  </a:ext>
                </a:extLst>
              </p:cNvPr>
              <p:cNvSpPr/>
              <p:nvPr/>
            </p:nvSpPr>
            <p:spPr>
              <a:xfrm>
                <a:off x="8721355" y="1047351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2" name="橢圓 161">
                <a:extLst>
                  <a:ext uri="{FF2B5EF4-FFF2-40B4-BE49-F238E27FC236}">
                    <a16:creationId xmlns:a16="http://schemas.microsoft.com/office/drawing/2014/main" id="{71154DD5-55FC-9948-94B6-6BAA0CC18101}"/>
                  </a:ext>
                </a:extLst>
              </p:cNvPr>
              <p:cNvSpPr/>
              <p:nvPr/>
            </p:nvSpPr>
            <p:spPr>
              <a:xfrm>
                <a:off x="7888013" y="1045184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3" name="橢圓 162">
                <a:extLst>
                  <a:ext uri="{FF2B5EF4-FFF2-40B4-BE49-F238E27FC236}">
                    <a16:creationId xmlns:a16="http://schemas.microsoft.com/office/drawing/2014/main" id="{DC57A22E-588A-0E4C-AE3D-E238AE408C1C}"/>
                  </a:ext>
                </a:extLst>
              </p:cNvPr>
              <p:cNvSpPr/>
              <p:nvPr/>
            </p:nvSpPr>
            <p:spPr>
              <a:xfrm>
                <a:off x="7472545" y="974736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4" name="橢圓 163">
                <a:extLst>
                  <a:ext uri="{FF2B5EF4-FFF2-40B4-BE49-F238E27FC236}">
                    <a16:creationId xmlns:a16="http://schemas.microsoft.com/office/drawing/2014/main" id="{6A976C7C-9822-2246-BCD5-85CD22578A70}"/>
                  </a:ext>
                </a:extLst>
              </p:cNvPr>
              <p:cNvSpPr>
                <a:spLocks noChangeAspect="1"/>
              </p:cNvSpPr>
              <p:nvPr/>
            </p:nvSpPr>
            <p:spPr>
              <a:xfrm>
                <a:off x="8381045" y="8933668"/>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5" name="橢圓 164">
                <a:extLst>
                  <a:ext uri="{FF2B5EF4-FFF2-40B4-BE49-F238E27FC236}">
                    <a16:creationId xmlns:a16="http://schemas.microsoft.com/office/drawing/2014/main" id="{D6874B3E-FB1C-D547-8663-192DA123BEC4}"/>
                  </a:ext>
                </a:extLst>
              </p:cNvPr>
              <p:cNvSpPr>
                <a:spLocks noChangeAspect="1"/>
              </p:cNvSpPr>
              <p:nvPr/>
            </p:nvSpPr>
            <p:spPr>
              <a:xfrm>
                <a:off x="8388046" y="10572045"/>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6" name="橢圓 165">
                <a:extLst>
                  <a:ext uri="{FF2B5EF4-FFF2-40B4-BE49-F238E27FC236}">
                    <a16:creationId xmlns:a16="http://schemas.microsoft.com/office/drawing/2014/main" id="{9DB409F6-5421-9046-BF46-30DB977B6249}"/>
                  </a:ext>
                </a:extLst>
              </p:cNvPr>
              <p:cNvSpPr>
                <a:spLocks noChangeAspect="1"/>
              </p:cNvSpPr>
              <p:nvPr/>
            </p:nvSpPr>
            <p:spPr>
              <a:xfrm>
                <a:off x="9065435" y="937567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7" name="橢圓 166">
                <a:extLst>
                  <a:ext uri="{FF2B5EF4-FFF2-40B4-BE49-F238E27FC236}">
                    <a16:creationId xmlns:a16="http://schemas.microsoft.com/office/drawing/2014/main" id="{9CC769D7-E1BC-9A42-8F51-3429A3CE4E0A}"/>
                  </a:ext>
                </a:extLst>
              </p:cNvPr>
              <p:cNvSpPr>
                <a:spLocks noChangeAspect="1"/>
              </p:cNvSpPr>
              <p:nvPr/>
            </p:nvSpPr>
            <p:spPr>
              <a:xfrm>
                <a:off x="9033211" y="1018752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8" name="橢圓 167">
                <a:extLst>
                  <a:ext uri="{FF2B5EF4-FFF2-40B4-BE49-F238E27FC236}">
                    <a16:creationId xmlns:a16="http://schemas.microsoft.com/office/drawing/2014/main" id="{9793BFE4-71DF-844F-9D48-0C974A4ABA3D}"/>
                  </a:ext>
                </a:extLst>
              </p:cNvPr>
              <p:cNvSpPr>
                <a:spLocks noChangeAspect="1"/>
              </p:cNvSpPr>
              <p:nvPr/>
            </p:nvSpPr>
            <p:spPr>
              <a:xfrm>
                <a:off x="7627352" y="10160902"/>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69" name="橢圓 168">
                <a:extLst>
                  <a:ext uri="{FF2B5EF4-FFF2-40B4-BE49-F238E27FC236}">
                    <a16:creationId xmlns:a16="http://schemas.microsoft.com/office/drawing/2014/main" id="{E27E33FD-68C6-BF44-BE3E-D4F8BDE4089A}"/>
                  </a:ext>
                </a:extLst>
              </p:cNvPr>
              <p:cNvSpPr>
                <a:spLocks noChangeAspect="1"/>
              </p:cNvSpPr>
              <p:nvPr/>
            </p:nvSpPr>
            <p:spPr>
              <a:xfrm>
                <a:off x="7653243" y="9316894"/>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0" name="橢圓 169">
                <a:extLst>
                  <a:ext uri="{FF2B5EF4-FFF2-40B4-BE49-F238E27FC236}">
                    <a16:creationId xmlns:a16="http://schemas.microsoft.com/office/drawing/2014/main" id="{A14BE057-9504-6D41-8CF9-0811A02F99F3}"/>
                  </a:ext>
                </a:extLst>
              </p:cNvPr>
              <p:cNvSpPr>
                <a:spLocks noChangeAspect="1"/>
              </p:cNvSpPr>
              <p:nvPr/>
            </p:nvSpPr>
            <p:spPr>
              <a:xfrm>
                <a:off x="8594212" y="900929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1" name="橢圓 170">
                <a:extLst>
                  <a:ext uri="{FF2B5EF4-FFF2-40B4-BE49-F238E27FC236}">
                    <a16:creationId xmlns:a16="http://schemas.microsoft.com/office/drawing/2014/main" id="{740B4E62-B85D-9A4C-85CC-EB0BEA26DFCB}"/>
                  </a:ext>
                </a:extLst>
              </p:cNvPr>
              <p:cNvSpPr>
                <a:spLocks noChangeAspect="1"/>
              </p:cNvSpPr>
              <p:nvPr/>
            </p:nvSpPr>
            <p:spPr>
              <a:xfrm>
                <a:off x="8196210" y="898406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2" name="橢圓 171">
                <a:extLst>
                  <a:ext uri="{FF2B5EF4-FFF2-40B4-BE49-F238E27FC236}">
                    <a16:creationId xmlns:a16="http://schemas.microsoft.com/office/drawing/2014/main" id="{84FFF80B-E19E-1142-AD2F-4101682FC392}"/>
                  </a:ext>
                </a:extLst>
              </p:cNvPr>
              <p:cNvSpPr>
                <a:spLocks noChangeAspect="1"/>
              </p:cNvSpPr>
              <p:nvPr/>
            </p:nvSpPr>
            <p:spPr>
              <a:xfrm>
                <a:off x="8966871" y="924896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3" name="橢圓 172">
                <a:extLst>
                  <a:ext uri="{FF2B5EF4-FFF2-40B4-BE49-F238E27FC236}">
                    <a16:creationId xmlns:a16="http://schemas.microsoft.com/office/drawing/2014/main" id="{BB36FF3F-B552-594F-9707-2F07009F68CE}"/>
                  </a:ext>
                </a:extLst>
              </p:cNvPr>
              <p:cNvSpPr>
                <a:spLocks noChangeAspect="1"/>
              </p:cNvSpPr>
              <p:nvPr/>
            </p:nvSpPr>
            <p:spPr>
              <a:xfrm>
                <a:off x="9146125" y="9576854"/>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4" name="橢圓 173">
                <a:extLst>
                  <a:ext uri="{FF2B5EF4-FFF2-40B4-BE49-F238E27FC236}">
                    <a16:creationId xmlns:a16="http://schemas.microsoft.com/office/drawing/2014/main" id="{7DADE44D-C61E-6C40-A5AE-E76060FB61BD}"/>
                  </a:ext>
                </a:extLst>
              </p:cNvPr>
              <p:cNvSpPr>
                <a:spLocks noChangeAspect="1"/>
              </p:cNvSpPr>
              <p:nvPr/>
            </p:nvSpPr>
            <p:spPr>
              <a:xfrm>
                <a:off x="9127689" y="1002853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5" name="橢圓 174">
                <a:extLst>
                  <a:ext uri="{FF2B5EF4-FFF2-40B4-BE49-F238E27FC236}">
                    <a16:creationId xmlns:a16="http://schemas.microsoft.com/office/drawing/2014/main" id="{DD82BBAD-03DC-2D41-B718-AC20E59F7925}"/>
                  </a:ext>
                </a:extLst>
              </p:cNvPr>
              <p:cNvSpPr>
                <a:spLocks noChangeAspect="1"/>
              </p:cNvSpPr>
              <p:nvPr/>
            </p:nvSpPr>
            <p:spPr>
              <a:xfrm>
                <a:off x="8933134" y="1034629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6" name="橢圓 175">
                <a:extLst>
                  <a:ext uri="{FF2B5EF4-FFF2-40B4-BE49-F238E27FC236}">
                    <a16:creationId xmlns:a16="http://schemas.microsoft.com/office/drawing/2014/main" id="{4E0EDB05-6AA6-4F41-9B03-6E7752C5D068}"/>
                  </a:ext>
                </a:extLst>
              </p:cNvPr>
              <p:cNvSpPr>
                <a:spLocks noChangeAspect="1"/>
              </p:cNvSpPr>
              <p:nvPr/>
            </p:nvSpPr>
            <p:spPr>
              <a:xfrm>
                <a:off x="8572340" y="1056767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7" name="橢圓 176">
                <a:extLst>
                  <a:ext uri="{FF2B5EF4-FFF2-40B4-BE49-F238E27FC236}">
                    <a16:creationId xmlns:a16="http://schemas.microsoft.com/office/drawing/2014/main" id="{18F3AB2A-1BC8-814B-BBCB-5DF6548331A6}"/>
                  </a:ext>
                </a:extLst>
              </p:cNvPr>
              <p:cNvSpPr>
                <a:spLocks noChangeAspect="1"/>
              </p:cNvSpPr>
              <p:nvPr/>
            </p:nvSpPr>
            <p:spPr>
              <a:xfrm>
                <a:off x="8195734" y="10574559"/>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8" name="橢圓 177">
                <a:extLst>
                  <a:ext uri="{FF2B5EF4-FFF2-40B4-BE49-F238E27FC236}">
                    <a16:creationId xmlns:a16="http://schemas.microsoft.com/office/drawing/2014/main" id="{1B490FD2-B268-E445-9FB3-FB1F81FC558D}"/>
                  </a:ext>
                </a:extLst>
              </p:cNvPr>
              <p:cNvSpPr>
                <a:spLocks noChangeAspect="1"/>
              </p:cNvSpPr>
              <p:nvPr/>
            </p:nvSpPr>
            <p:spPr>
              <a:xfrm>
                <a:off x="7765311" y="1034437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79" name="橢圓 178">
                <a:extLst>
                  <a:ext uri="{FF2B5EF4-FFF2-40B4-BE49-F238E27FC236}">
                    <a16:creationId xmlns:a16="http://schemas.microsoft.com/office/drawing/2014/main" id="{7199C857-D5BD-6044-A4DB-A91A521F62C7}"/>
                  </a:ext>
                </a:extLst>
              </p:cNvPr>
              <p:cNvSpPr>
                <a:spLocks noChangeAspect="1"/>
              </p:cNvSpPr>
              <p:nvPr/>
            </p:nvSpPr>
            <p:spPr>
              <a:xfrm>
                <a:off x="7577334" y="1000866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0" name="橢圓 179">
                <a:extLst>
                  <a:ext uri="{FF2B5EF4-FFF2-40B4-BE49-F238E27FC236}">
                    <a16:creationId xmlns:a16="http://schemas.microsoft.com/office/drawing/2014/main" id="{07EB19E8-0ED8-4B4A-9143-57CC2B9732FD}"/>
                  </a:ext>
                </a:extLst>
              </p:cNvPr>
              <p:cNvSpPr>
                <a:spLocks noChangeAspect="1"/>
              </p:cNvSpPr>
              <p:nvPr/>
            </p:nvSpPr>
            <p:spPr>
              <a:xfrm>
                <a:off x="7586404" y="952556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81" name="橢圓 180">
                <a:extLst>
                  <a:ext uri="{FF2B5EF4-FFF2-40B4-BE49-F238E27FC236}">
                    <a16:creationId xmlns:a16="http://schemas.microsoft.com/office/drawing/2014/main" id="{8E3B3C24-66D3-5F4D-8F67-3DD0635A143A}"/>
                  </a:ext>
                </a:extLst>
              </p:cNvPr>
              <p:cNvSpPr>
                <a:spLocks noChangeAspect="1"/>
              </p:cNvSpPr>
              <p:nvPr/>
            </p:nvSpPr>
            <p:spPr>
              <a:xfrm>
                <a:off x="7806138" y="919428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108" name="群組 107">
              <a:extLst>
                <a:ext uri="{FF2B5EF4-FFF2-40B4-BE49-F238E27FC236}">
                  <a16:creationId xmlns:a16="http://schemas.microsoft.com/office/drawing/2014/main" id="{557350CC-28A9-A943-A1F7-7AAEC80F2560}"/>
                </a:ext>
              </a:extLst>
            </p:cNvPr>
            <p:cNvGrpSpPr/>
            <p:nvPr/>
          </p:nvGrpSpPr>
          <p:grpSpPr>
            <a:xfrm>
              <a:off x="2366076" y="2391457"/>
              <a:ext cx="764443" cy="684690"/>
              <a:chOff x="7472545" y="8933668"/>
              <a:chExt cx="1891716" cy="1788271"/>
            </a:xfrm>
          </p:grpSpPr>
          <p:sp>
            <p:nvSpPr>
              <p:cNvPr id="110" name="橢圓 109">
                <a:extLst>
                  <a:ext uri="{FF2B5EF4-FFF2-40B4-BE49-F238E27FC236}">
                    <a16:creationId xmlns:a16="http://schemas.microsoft.com/office/drawing/2014/main" id="{B1BA6CE9-5539-4942-99C3-7EC22C121859}"/>
                  </a:ext>
                </a:extLst>
              </p:cNvPr>
              <p:cNvSpPr>
                <a:spLocks noChangeAspect="1"/>
              </p:cNvSpPr>
              <p:nvPr/>
            </p:nvSpPr>
            <p:spPr>
              <a:xfrm>
                <a:off x="7669168" y="9084195"/>
                <a:ext cx="1477636" cy="1475999"/>
              </a:xfrm>
              <a:prstGeom prst="ellipse">
                <a:avLst/>
              </a:prstGeom>
              <a:gradFill flip="none" rotWithShape="1">
                <a:gsLst>
                  <a:gs pos="0">
                    <a:schemeClr val="accent2">
                      <a:lumMod val="40000"/>
                      <a:lumOff val="60000"/>
                    </a:schemeClr>
                  </a:gs>
                  <a:gs pos="48000">
                    <a:schemeClr val="accent2">
                      <a:lumMod val="60000"/>
                      <a:lumOff val="40000"/>
                    </a:schemeClr>
                  </a:gs>
                  <a:gs pos="53000">
                    <a:schemeClr val="accent2">
                      <a:lumMod val="60000"/>
                      <a:lumOff val="40000"/>
                    </a:schemeClr>
                  </a:gs>
                  <a:gs pos="100000">
                    <a:schemeClr val="accent2">
                      <a:lumMod val="20355"/>
                      <a:alpha val="0"/>
                    </a:schemeClr>
                  </a:gs>
                </a:gsLst>
                <a:path path="circle">
                  <a:fillToRect l="50000" t="50000" r="50000" b="50000"/>
                </a:path>
                <a:tileRect/>
              </a:gradFill>
              <a:ln w="41275" cmpd="tri">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112" name="群組 111">
                <a:extLst>
                  <a:ext uri="{FF2B5EF4-FFF2-40B4-BE49-F238E27FC236}">
                    <a16:creationId xmlns:a16="http://schemas.microsoft.com/office/drawing/2014/main" id="{07335CB1-7294-6644-AAC0-BF1841423639}"/>
                  </a:ext>
                </a:extLst>
              </p:cNvPr>
              <p:cNvGrpSpPr/>
              <p:nvPr/>
            </p:nvGrpSpPr>
            <p:grpSpPr>
              <a:xfrm>
                <a:off x="7759886" y="9244302"/>
                <a:ext cx="1312419" cy="1170600"/>
                <a:chOff x="8316000" y="8964000"/>
                <a:chExt cx="1312419" cy="1170600"/>
              </a:xfrm>
            </p:grpSpPr>
            <p:sp>
              <p:nvSpPr>
                <p:cNvPr id="144" name="手繪多邊形 143">
                  <a:extLst>
                    <a:ext uri="{FF2B5EF4-FFF2-40B4-BE49-F238E27FC236}">
                      <a16:creationId xmlns:a16="http://schemas.microsoft.com/office/drawing/2014/main" id="{5114FDBD-B141-6E4C-B531-C9D88F10B132}"/>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5" name="手繪多邊形 144">
                  <a:extLst>
                    <a:ext uri="{FF2B5EF4-FFF2-40B4-BE49-F238E27FC236}">
                      <a16:creationId xmlns:a16="http://schemas.microsoft.com/office/drawing/2014/main" id="{605F451C-8C98-0945-A8F1-842922A0E602}"/>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6" name="手繪多邊形 145">
                  <a:extLst>
                    <a:ext uri="{FF2B5EF4-FFF2-40B4-BE49-F238E27FC236}">
                      <a16:creationId xmlns:a16="http://schemas.microsoft.com/office/drawing/2014/main" id="{4875C16D-AFA5-9249-A4F1-D69869AF38B8}"/>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7" name="手繪多邊形 146">
                  <a:extLst>
                    <a:ext uri="{FF2B5EF4-FFF2-40B4-BE49-F238E27FC236}">
                      <a16:creationId xmlns:a16="http://schemas.microsoft.com/office/drawing/2014/main" id="{286AC559-1871-484C-A3FB-4E6544B52EA8}"/>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alpha val="97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8" name="手繪多邊形 147">
                  <a:extLst>
                    <a:ext uri="{FF2B5EF4-FFF2-40B4-BE49-F238E27FC236}">
                      <a16:creationId xmlns:a16="http://schemas.microsoft.com/office/drawing/2014/main" id="{E0D4A38D-7604-6C4A-A38B-7CDCD9342981}"/>
                    </a:ext>
                  </a:extLst>
                </p:cNvPr>
                <p:cNvSpPr/>
                <p:nvPr/>
              </p:nvSpPr>
              <p:spPr>
                <a:xfrm rot="60000">
                  <a:off x="9279466" y="9000067"/>
                  <a:ext cx="344691" cy="536768"/>
                </a:xfrm>
                <a:custGeom>
                  <a:avLst/>
                  <a:gdLst>
                    <a:gd name="connsiteX0" fmla="*/ 12700 w 330200"/>
                    <a:gd name="connsiteY0" fmla="*/ 0 h 533400"/>
                    <a:gd name="connsiteX1" fmla="*/ 0 w 330200"/>
                    <a:gd name="connsiteY1" fmla="*/ 520700 h 533400"/>
                    <a:gd name="connsiteX2" fmla="*/ 330200 w 330200"/>
                    <a:gd name="connsiteY2" fmla="*/ 533400 h 533400"/>
                    <a:gd name="connsiteX3" fmla="*/ 12700 w 330200"/>
                    <a:gd name="connsiteY3" fmla="*/ 0 h 533400"/>
                  </a:gdLst>
                  <a:ahLst/>
                  <a:cxnLst>
                    <a:cxn ang="0">
                      <a:pos x="connsiteX0" y="connsiteY0"/>
                    </a:cxn>
                    <a:cxn ang="0">
                      <a:pos x="connsiteX1" y="connsiteY1"/>
                    </a:cxn>
                    <a:cxn ang="0">
                      <a:pos x="connsiteX2" y="connsiteY2"/>
                    </a:cxn>
                    <a:cxn ang="0">
                      <a:pos x="connsiteX3" y="connsiteY3"/>
                    </a:cxn>
                  </a:cxnLst>
                  <a:rect l="l" t="t" r="r" b="b"/>
                  <a:pathLst>
                    <a:path w="330200" h="533400">
                      <a:moveTo>
                        <a:pt x="12700" y="0"/>
                      </a:moveTo>
                      <a:lnTo>
                        <a:pt x="0" y="520700"/>
                      </a:lnTo>
                      <a:lnTo>
                        <a:pt x="330200" y="533400"/>
                      </a:lnTo>
                      <a:lnTo>
                        <a:pt x="1270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9" name="手繪多邊形 148">
                  <a:extLst>
                    <a:ext uri="{FF2B5EF4-FFF2-40B4-BE49-F238E27FC236}">
                      <a16:creationId xmlns:a16="http://schemas.microsoft.com/office/drawing/2014/main" id="{572AE5E9-66F8-884C-86C0-8A1E1393F158}"/>
                    </a:ext>
                  </a:extLst>
                </p:cNvPr>
                <p:cNvSpPr/>
                <p:nvPr/>
              </p:nvSpPr>
              <p:spPr>
                <a:xfrm>
                  <a:off x="9268419" y="9521085"/>
                  <a:ext cx="360000" cy="612000"/>
                </a:xfrm>
                <a:custGeom>
                  <a:avLst/>
                  <a:gdLst>
                    <a:gd name="connsiteX0" fmla="*/ 0 w 355600"/>
                    <a:gd name="connsiteY0" fmla="*/ 0 h 609600"/>
                    <a:gd name="connsiteX1" fmla="*/ 25400 w 355600"/>
                    <a:gd name="connsiteY1" fmla="*/ 609600 h 609600"/>
                    <a:gd name="connsiteX2" fmla="*/ 355600 w 355600"/>
                    <a:gd name="connsiteY2" fmla="*/ 25400 h 609600"/>
                    <a:gd name="connsiteX3" fmla="*/ 0 w 355600"/>
                    <a:gd name="connsiteY3" fmla="*/ 0 h 609600"/>
                  </a:gdLst>
                  <a:ahLst/>
                  <a:cxnLst>
                    <a:cxn ang="0">
                      <a:pos x="connsiteX0" y="connsiteY0"/>
                    </a:cxn>
                    <a:cxn ang="0">
                      <a:pos x="connsiteX1" y="connsiteY1"/>
                    </a:cxn>
                    <a:cxn ang="0">
                      <a:pos x="connsiteX2" y="connsiteY2"/>
                    </a:cxn>
                    <a:cxn ang="0">
                      <a:pos x="connsiteX3" y="connsiteY3"/>
                    </a:cxn>
                  </a:cxnLst>
                  <a:rect l="l" t="t" r="r" b="b"/>
                  <a:pathLst>
                    <a:path w="355600" h="609600">
                      <a:moveTo>
                        <a:pt x="0" y="0"/>
                      </a:moveTo>
                      <a:lnTo>
                        <a:pt x="25400" y="609600"/>
                      </a:lnTo>
                      <a:lnTo>
                        <a:pt x="355600" y="25400"/>
                      </a:lnTo>
                      <a:lnTo>
                        <a:pt x="0" y="0"/>
                      </a:lnTo>
                      <a:close/>
                    </a:path>
                  </a:pathLst>
                </a:custGeom>
                <a:solidFill>
                  <a:schemeClr val="accent6">
                    <a:lumMod val="75000"/>
                    <a:alpha val="83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50" name="手繪多邊形 149">
                  <a:extLst>
                    <a:ext uri="{FF2B5EF4-FFF2-40B4-BE49-F238E27FC236}">
                      <a16:creationId xmlns:a16="http://schemas.microsoft.com/office/drawing/2014/main" id="{4940036B-39FF-6E47-AD65-FA3CBEDF2922}"/>
                    </a:ext>
                  </a:extLst>
                </p:cNvPr>
                <p:cNvSpPr/>
                <p:nvPr/>
              </p:nvSpPr>
              <p:spPr>
                <a:xfrm rot="60000">
                  <a:off x="8805334" y="9516533"/>
                  <a:ext cx="482600" cy="609600"/>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51" name="手繪多邊形 150">
                  <a:extLst>
                    <a:ext uri="{FF2B5EF4-FFF2-40B4-BE49-F238E27FC236}">
                      <a16:creationId xmlns:a16="http://schemas.microsoft.com/office/drawing/2014/main" id="{31BCB67B-8C2B-D64E-B4A6-B5DBC5197528}"/>
                    </a:ext>
                  </a:extLst>
                </p:cNvPr>
                <p:cNvSpPr/>
                <p:nvPr/>
              </p:nvSpPr>
              <p:spPr>
                <a:xfrm>
                  <a:off x="8652933" y="9626600"/>
                  <a:ext cx="635000" cy="508000"/>
                </a:xfrm>
                <a:custGeom>
                  <a:avLst/>
                  <a:gdLst>
                    <a:gd name="connsiteX0" fmla="*/ 152400 w 635000"/>
                    <a:gd name="connsiteY0" fmla="*/ 0 h 508000"/>
                    <a:gd name="connsiteX1" fmla="*/ 0 w 635000"/>
                    <a:gd name="connsiteY1" fmla="*/ 508000 h 508000"/>
                    <a:gd name="connsiteX2" fmla="*/ 635000 w 635000"/>
                    <a:gd name="connsiteY2" fmla="*/ 499533 h 508000"/>
                    <a:gd name="connsiteX3" fmla="*/ 152400 w 635000"/>
                    <a:gd name="connsiteY3" fmla="*/ 0 h 508000"/>
                  </a:gdLst>
                  <a:ahLst/>
                  <a:cxnLst>
                    <a:cxn ang="0">
                      <a:pos x="connsiteX0" y="connsiteY0"/>
                    </a:cxn>
                    <a:cxn ang="0">
                      <a:pos x="connsiteX1" y="connsiteY1"/>
                    </a:cxn>
                    <a:cxn ang="0">
                      <a:pos x="connsiteX2" y="connsiteY2"/>
                    </a:cxn>
                    <a:cxn ang="0">
                      <a:pos x="connsiteX3" y="connsiteY3"/>
                    </a:cxn>
                  </a:cxnLst>
                  <a:rect l="l" t="t" r="r" b="b"/>
                  <a:pathLst>
                    <a:path w="635000" h="508000">
                      <a:moveTo>
                        <a:pt x="152400" y="0"/>
                      </a:moveTo>
                      <a:lnTo>
                        <a:pt x="0" y="508000"/>
                      </a:lnTo>
                      <a:lnTo>
                        <a:pt x="635000" y="499533"/>
                      </a:lnTo>
                      <a:lnTo>
                        <a:pt x="152400" y="0"/>
                      </a:lnTo>
                      <a:close/>
                    </a:path>
                  </a:pathLst>
                </a:custGeom>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52" name="手繪多邊形 151">
                  <a:extLst>
                    <a:ext uri="{FF2B5EF4-FFF2-40B4-BE49-F238E27FC236}">
                      <a16:creationId xmlns:a16="http://schemas.microsoft.com/office/drawing/2014/main" id="{533BC9C2-B8FA-5E4A-8822-EBA97DDF9C9E}"/>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53" name="手繪多邊形 152">
                  <a:extLst>
                    <a:ext uri="{FF2B5EF4-FFF2-40B4-BE49-F238E27FC236}">
                      <a16:creationId xmlns:a16="http://schemas.microsoft.com/office/drawing/2014/main" id="{EAF29D3D-E05F-1041-A25A-03EBEB289744}"/>
                    </a:ext>
                  </a:extLst>
                </p:cNvPr>
                <p:cNvSpPr/>
                <p:nvPr/>
              </p:nvSpPr>
              <p:spPr>
                <a:xfrm>
                  <a:off x="8644467" y="9635067"/>
                  <a:ext cx="635000" cy="499533"/>
                </a:xfrm>
                <a:custGeom>
                  <a:avLst/>
                  <a:gdLst>
                    <a:gd name="connsiteX0" fmla="*/ 152400 w 635000"/>
                    <a:gd name="connsiteY0" fmla="*/ 0 h 499533"/>
                    <a:gd name="connsiteX1" fmla="*/ 0 w 635000"/>
                    <a:gd name="connsiteY1" fmla="*/ 499533 h 499533"/>
                    <a:gd name="connsiteX2" fmla="*/ 635000 w 635000"/>
                    <a:gd name="connsiteY2" fmla="*/ 491066 h 499533"/>
                    <a:gd name="connsiteX3" fmla="*/ 635000 w 635000"/>
                    <a:gd name="connsiteY3" fmla="*/ 491066 h 499533"/>
                  </a:gdLst>
                  <a:ahLst/>
                  <a:cxnLst>
                    <a:cxn ang="0">
                      <a:pos x="connsiteX0" y="connsiteY0"/>
                    </a:cxn>
                    <a:cxn ang="0">
                      <a:pos x="connsiteX1" y="connsiteY1"/>
                    </a:cxn>
                    <a:cxn ang="0">
                      <a:pos x="connsiteX2" y="connsiteY2"/>
                    </a:cxn>
                    <a:cxn ang="0">
                      <a:pos x="connsiteX3" y="connsiteY3"/>
                    </a:cxn>
                  </a:cxnLst>
                  <a:rect l="l" t="t" r="r" b="b"/>
                  <a:pathLst>
                    <a:path w="635000" h="499533">
                      <a:moveTo>
                        <a:pt x="152400" y="0"/>
                      </a:moveTo>
                      <a:lnTo>
                        <a:pt x="0" y="499533"/>
                      </a:lnTo>
                      <a:lnTo>
                        <a:pt x="635000" y="491066"/>
                      </a:lnTo>
                      <a:lnTo>
                        <a:pt x="635000" y="491066"/>
                      </a:lnTo>
                    </a:path>
                  </a:pathLst>
                </a:custGeom>
                <a:solidFill>
                  <a:schemeClr val="accent6">
                    <a:lumMod val="60000"/>
                    <a:lumOff val="40000"/>
                    <a:alpha val="7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54" name="手繪多邊形 153">
                  <a:extLst>
                    <a:ext uri="{FF2B5EF4-FFF2-40B4-BE49-F238E27FC236}">
                      <a16:creationId xmlns:a16="http://schemas.microsoft.com/office/drawing/2014/main" id="{72B1BAB0-D944-FB4F-80A5-D42774A3556D}"/>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113" name="橢圓 112">
                <a:extLst>
                  <a:ext uri="{FF2B5EF4-FFF2-40B4-BE49-F238E27FC236}">
                    <a16:creationId xmlns:a16="http://schemas.microsoft.com/office/drawing/2014/main" id="{F24A559A-B654-5140-B0F4-C7CA5CFC4D5B}"/>
                  </a:ext>
                </a:extLst>
              </p:cNvPr>
              <p:cNvSpPr/>
              <p:nvPr/>
            </p:nvSpPr>
            <p:spPr>
              <a:xfrm>
                <a:off x="7893818" y="897584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 name="橢圓 113">
                <a:extLst>
                  <a:ext uri="{FF2B5EF4-FFF2-40B4-BE49-F238E27FC236}">
                    <a16:creationId xmlns:a16="http://schemas.microsoft.com/office/drawing/2014/main" id="{109E320D-477C-FC49-B0B0-9BDF5F7FD596}"/>
                  </a:ext>
                </a:extLst>
              </p:cNvPr>
              <p:cNvSpPr/>
              <p:nvPr/>
            </p:nvSpPr>
            <p:spPr>
              <a:xfrm>
                <a:off x="9157992" y="972820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 name="橢圓 115">
                <a:extLst>
                  <a:ext uri="{FF2B5EF4-FFF2-40B4-BE49-F238E27FC236}">
                    <a16:creationId xmlns:a16="http://schemas.microsoft.com/office/drawing/2014/main" id="{E019A20A-7220-9245-A457-FA17B1D0B38F}"/>
                  </a:ext>
                </a:extLst>
              </p:cNvPr>
              <p:cNvSpPr/>
              <p:nvPr/>
            </p:nvSpPr>
            <p:spPr>
              <a:xfrm>
                <a:off x="8783852" y="900932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7" name="橢圓 116">
                <a:extLst>
                  <a:ext uri="{FF2B5EF4-FFF2-40B4-BE49-F238E27FC236}">
                    <a16:creationId xmlns:a16="http://schemas.microsoft.com/office/drawing/2014/main" id="{6BD4A6E4-62BF-E543-8A71-B5223137B777}"/>
                  </a:ext>
                </a:extLst>
              </p:cNvPr>
              <p:cNvSpPr/>
              <p:nvPr/>
            </p:nvSpPr>
            <p:spPr>
              <a:xfrm>
                <a:off x="8721355" y="1047351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0" name="橢圓 119">
                <a:extLst>
                  <a:ext uri="{FF2B5EF4-FFF2-40B4-BE49-F238E27FC236}">
                    <a16:creationId xmlns:a16="http://schemas.microsoft.com/office/drawing/2014/main" id="{AAC02D15-EBC1-A345-B197-82E460BECB66}"/>
                  </a:ext>
                </a:extLst>
              </p:cNvPr>
              <p:cNvSpPr/>
              <p:nvPr/>
            </p:nvSpPr>
            <p:spPr>
              <a:xfrm>
                <a:off x="7888013" y="1045184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1" name="橢圓 120">
                <a:extLst>
                  <a:ext uri="{FF2B5EF4-FFF2-40B4-BE49-F238E27FC236}">
                    <a16:creationId xmlns:a16="http://schemas.microsoft.com/office/drawing/2014/main" id="{E94E4F4D-8B53-6841-B5E9-876655B890D9}"/>
                  </a:ext>
                </a:extLst>
              </p:cNvPr>
              <p:cNvSpPr/>
              <p:nvPr/>
            </p:nvSpPr>
            <p:spPr>
              <a:xfrm>
                <a:off x="7472545" y="974736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6" name="橢圓 125">
                <a:extLst>
                  <a:ext uri="{FF2B5EF4-FFF2-40B4-BE49-F238E27FC236}">
                    <a16:creationId xmlns:a16="http://schemas.microsoft.com/office/drawing/2014/main" id="{05043DDE-C9F2-1941-BE2F-CA5ECC791F2D}"/>
                  </a:ext>
                </a:extLst>
              </p:cNvPr>
              <p:cNvSpPr>
                <a:spLocks noChangeAspect="1"/>
              </p:cNvSpPr>
              <p:nvPr/>
            </p:nvSpPr>
            <p:spPr>
              <a:xfrm>
                <a:off x="8381045" y="8933668"/>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7" name="橢圓 126">
                <a:extLst>
                  <a:ext uri="{FF2B5EF4-FFF2-40B4-BE49-F238E27FC236}">
                    <a16:creationId xmlns:a16="http://schemas.microsoft.com/office/drawing/2014/main" id="{42D823A1-8678-F049-BC55-529ED4A48D4C}"/>
                  </a:ext>
                </a:extLst>
              </p:cNvPr>
              <p:cNvSpPr>
                <a:spLocks noChangeAspect="1"/>
              </p:cNvSpPr>
              <p:nvPr/>
            </p:nvSpPr>
            <p:spPr>
              <a:xfrm>
                <a:off x="8388046" y="10572045"/>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8" name="橢圓 127">
                <a:extLst>
                  <a:ext uri="{FF2B5EF4-FFF2-40B4-BE49-F238E27FC236}">
                    <a16:creationId xmlns:a16="http://schemas.microsoft.com/office/drawing/2014/main" id="{740C551D-697E-8A40-961C-381429824895}"/>
                  </a:ext>
                </a:extLst>
              </p:cNvPr>
              <p:cNvSpPr>
                <a:spLocks noChangeAspect="1"/>
              </p:cNvSpPr>
              <p:nvPr/>
            </p:nvSpPr>
            <p:spPr>
              <a:xfrm>
                <a:off x="9065435" y="937567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9" name="橢圓 128">
                <a:extLst>
                  <a:ext uri="{FF2B5EF4-FFF2-40B4-BE49-F238E27FC236}">
                    <a16:creationId xmlns:a16="http://schemas.microsoft.com/office/drawing/2014/main" id="{9C60CFBE-99CC-C049-8CEC-D9A8FAF90472}"/>
                  </a:ext>
                </a:extLst>
              </p:cNvPr>
              <p:cNvSpPr>
                <a:spLocks noChangeAspect="1"/>
              </p:cNvSpPr>
              <p:nvPr/>
            </p:nvSpPr>
            <p:spPr>
              <a:xfrm>
                <a:off x="9033211" y="1018752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0" name="橢圓 129">
                <a:extLst>
                  <a:ext uri="{FF2B5EF4-FFF2-40B4-BE49-F238E27FC236}">
                    <a16:creationId xmlns:a16="http://schemas.microsoft.com/office/drawing/2014/main" id="{B1545EEF-0EC4-434D-9187-29D6EB6EBBCF}"/>
                  </a:ext>
                </a:extLst>
              </p:cNvPr>
              <p:cNvSpPr>
                <a:spLocks noChangeAspect="1"/>
              </p:cNvSpPr>
              <p:nvPr/>
            </p:nvSpPr>
            <p:spPr>
              <a:xfrm>
                <a:off x="7627352" y="10160902"/>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1" name="橢圓 130">
                <a:extLst>
                  <a:ext uri="{FF2B5EF4-FFF2-40B4-BE49-F238E27FC236}">
                    <a16:creationId xmlns:a16="http://schemas.microsoft.com/office/drawing/2014/main" id="{908C19C8-82C5-3E43-8C27-E1EFD82ACBD0}"/>
                  </a:ext>
                </a:extLst>
              </p:cNvPr>
              <p:cNvSpPr>
                <a:spLocks noChangeAspect="1"/>
              </p:cNvSpPr>
              <p:nvPr/>
            </p:nvSpPr>
            <p:spPr>
              <a:xfrm>
                <a:off x="7653243" y="9316894"/>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2" name="橢圓 131">
                <a:extLst>
                  <a:ext uri="{FF2B5EF4-FFF2-40B4-BE49-F238E27FC236}">
                    <a16:creationId xmlns:a16="http://schemas.microsoft.com/office/drawing/2014/main" id="{C7EAB870-6907-0C4A-9E29-F9F9CF9B33C6}"/>
                  </a:ext>
                </a:extLst>
              </p:cNvPr>
              <p:cNvSpPr>
                <a:spLocks noChangeAspect="1"/>
              </p:cNvSpPr>
              <p:nvPr/>
            </p:nvSpPr>
            <p:spPr>
              <a:xfrm>
                <a:off x="8594212" y="900929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3" name="橢圓 132">
                <a:extLst>
                  <a:ext uri="{FF2B5EF4-FFF2-40B4-BE49-F238E27FC236}">
                    <a16:creationId xmlns:a16="http://schemas.microsoft.com/office/drawing/2014/main" id="{0B5D40CD-1E1B-B342-99A3-1A813891CBC2}"/>
                  </a:ext>
                </a:extLst>
              </p:cNvPr>
              <p:cNvSpPr>
                <a:spLocks noChangeAspect="1"/>
              </p:cNvSpPr>
              <p:nvPr/>
            </p:nvSpPr>
            <p:spPr>
              <a:xfrm>
                <a:off x="8196210" y="898406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4" name="橢圓 133">
                <a:extLst>
                  <a:ext uri="{FF2B5EF4-FFF2-40B4-BE49-F238E27FC236}">
                    <a16:creationId xmlns:a16="http://schemas.microsoft.com/office/drawing/2014/main" id="{B723C72D-7BA5-3442-96C8-41A9EF66261B}"/>
                  </a:ext>
                </a:extLst>
              </p:cNvPr>
              <p:cNvSpPr>
                <a:spLocks noChangeAspect="1"/>
              </p:cNvSpPr>
              <p:nvPr/>
            </p:nvSpPr>
            <p:spPr>
              <a:xfrm>
                <a:off x="8966871" y="924896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5" name="橢圓 134">
                <a:extLst>
                  <a:ext uri="{FF2B5EF4-FFF2-40B4-BE49-F238E27FC236}">
                    <a16:creationId xmlns:a16="http://schemas.microsoft.com/office/drawing/2014/main" id="{7FD19319-14CC-4140-AAF9-79AE873C143B}"/>
                  </a:ext>
                </a:extLst>
              </p:cNvPr>
              <p:cNvSpPr>
                <a:spLocks noChangeAspect="1"/>
              </p:cNvSpPr>
              <p:nvPr/>
            </p:nvSpPr>
            <p:spPr>
              <a:xfrm>
                <a:off x="9146125" y="9576854"/>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6" name="橢圓 135">
                <a:extLst>
                  <a:ext uri="{FF2B5EF4-FFF2-40B4-BE49-F238E27FC236}">
                    <a16:creationId xmlns:a16="http://schemas.microsoft.com/office/drawing/2014/main" id="{B99408B5-CE32-AA4B-A837-855EAC5E4F6B}"/>
                  </a:ext>
                </a:extLst>
              </p:cNvPr>
              <p:cNvSpPr>
                <a:spLocks noChangeAspect="1"/>
              </p:cNvSpPr>
              <p:nvPr/>
            </p:nvSpPr>
            <p:spPr>
              <a:xfrm>
                <a:off x="9127689" y="1002853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7" name="橢圓 136">
                <a:extLst>
                  <a:ext uri="{FF2B5EF4-FFF2-40B4-BE49-F238E27FC236}">
                    <a16:creationId xmlns:a16="http://schemas.microsoft.com/office/drawing/2014/main" id="{FF014AC4-0563-384D-AE13-A0ACD0FF324A}"/>
                  </a:ext>
                </a:extLst>
              </p:cNvPr>
              <p:cNvSpPr>
                <a:spLocks noChangeAspect="1"/>
              </p:cNvSpPr>
              <p:nvPr/>
            </p:nvSpPr>
            <p:spPr>
              <a:xfrm>
                <a:off x="8933134" y="1034629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8" name="橢圓 137">
                <a:extLst>
                  <a:ext uri="{FF2B5EF4-FFF2-40B4-BE49-F238E27FC236}">
                    <a16:creationId xmlns:a16="http://schemas.microsoft.com/office/drawing/2014/main" id="{05E106E4-C295-B444-A5A5-73F78B98D263}"/>
                  </a:ext>
                </a:extLst>
              </p:cNvPr>
              <p:cNvSpPr>
                <a:spLocks noChangeAspect="1"/>
              </p:cNvSpPr>
              <p:nvPr/>
            </p:nvSpPr>
            <p:spPr>
              <a:xfrm>
                <a:off x="8572340" y="1056767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39" name="橢圓 138">
                <a:extLst>
                  <a:ext uri="{FF2B5EF4-FFF2-40B4-BE49-F238E27FC236}">
                    <a16:creationId xmlns:a16="http://schemas.microsoft.com/office/drawing/2014/main" id="{85FFE1F1-F619-4444-91B7-DC50A00526E4}"/>
                  </a:ext>
                </a:extLst>
              </p:cNvPr>
              <p:cNvSpPr>
                <a:spLocks noChangeAspect="1"/>
              </p:cNvSpPr>
              <p:nvPr/>
            </p:nvSpPr>
            <p:spPr>
              <a:xfrm>
                <a:off x="8195734" y="10574559"/>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0" name="橢圓 139">
                <a:extLst>
                  <a:ext uri="{FF2B5EF4-FFF2-40B4-BE49-F238E27FC236}">
                    <a16:creationId xmlns:a16="http://schemas.microsoft.com/office/drawing/2014/main" id="{88D15580-446D-7646-8785-06B66CCB31C0}"/>
                  </a:ext>
                </a:extLst>
              </p:cNvPr>
              <p:cNvSpPr>
                <a:spLocks noChangeAspect="1"/>
              </p:cNvSpPr>
              <p:nvPr/>
            </p:nvSpPr>
            <p:spPr>
              <a:xfrm>
                <a:off x="7765311" y="1034437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1" name="橢圓 140">
                <a:extLst>
                  <a:ext uri="{FF2B5EF4-FFF2-40B4-BE49-F238E27FC236}">
                    <a16:creationId xmlns:a16="http://schemas.microsoft.com/office/drawing/2014/main" id="{C24229E9-81AA-DA46-A58D-47A067734B26}"/>
                  </a:ext>
                </a:extLst>
              </p:cNvPr>
              <p:cNvSpPr>
                <a:spLocks noChangeAspect="1"/>
              </p:cNvSpPr>
              <p:nvPr/>
            </p:nvSpPr>
            <p:spPr>
              <a:xfrm>
                <a:off x="7577334" y="1000866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2" name="橢圓 141">
                <a:extLst>
                  <a:ext uri="{FF2B5EF4-FFF2-40B4-BE49-F238E27FC236}">
                    <a16:creationId xmlns:a16="http://schemas.microsoft.com/office/drawing/2014/main" id="{33193A7B-9AE5-A847-B5B9-5457B578144E}"/>
                  </a:ext>
                </a:extLst>
              </p:cNvPr>
              <p:cNvSpPr>
                <a:spLocks noChangeAspect="1"/>
              </p:cNvSpPr>
              <p:nvPr/>
            </p:nvSpPr>
            <p:spPr>
              <a:xfrm>
                <a:off x="7586404" y="952556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43" name="橢圓 142">
                <a:extLst>
                  <a:ext uri="{FF2B5EF4-FFF2-40B4-BE49-F238E27FC236}">
                    <a16:creationId xmlns:a16="http://schemas.microsoft.com/office/drawing/2014/main" id="{3B752EEC-91B0-774B-B58E-3187162AB583}"/>
                  </a:ext>
                </a:extLst>
              </p:cNvPr>
              <p:cNvSpPr>
                <a:spLocks noChangeAspect="1"/>
              </p:cNvSpPr>
              <p:nvPr/>
            </p:nvSpPr>
            <p:spPr>
              <a:xfrm>
                <a:off x="7806138" y="919428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193" name="群組 192">
              <a:extLst>
                <a:ext uri="{FF2B5EF4-FFF2-40B4-BE49-F238E27FC236}">
                  <a16:creationId xmlns:a16="http://schemas.microsoft.com/office/drawing/2014/main" id="{272A4366-7026-D24D-B5B5-E744E466FFAD}"/>
                </a:ext>
              </a:extLst>
            </p:cNvPr>
            <p:cNvGrpSpPr/>
            <p:nvPr/>
          </p:nvGrpSpPr>
          <p:grpSpPr>
            <a:xfrm>
              <a:off x="1561146" y="1274819"/>
              <a:ext cx="764443" cy="684690"/>
              <a:chOff x="7472545" y="8933668"/>
              <a:chExt cx="1891716" cy="1788271"/>
            </a:xfrm>
          </p:grpSpPr>
          <p:sp>
            <p:nvSpPr>
              <p:cNvPr id="194" name="橢圓 193">
                <a:extLst>
                  <a:ext uri="{FF2B5EF4-FFF2-40B4-BE49-F238E27FC236}">
                    <a16:creationId xmlns:a16="http://schemas.microsoft.com/office/drawing/2014/main" id="{D98A894E-9704-5C46-AFC2-219EEE657EB4}"/>
                  </a:ext>
                </a:extLst>
              </p:cNvPr>
              <p:cNvSpPr>
                <a:spLocks noChangeAspect="1"/>
              </p:cNvSpPr>
              <p:nvPr/>
            </p:nvSpPr>
            <p:spPr>
              <a:xfrm>
                <a:off x="7669168" y="9084195"/>
                <a:ext cx="1477636" cy="1475999"/>
              </a:xfrm>
              <a:prstGeom prst="ellipse">
                <a:avLst/>
              </a:prstGeom>
              <a:gradFill flip="none" rotWithShape="1">
                <a:gsLst>
                  <a:gs pos="0">
                    <a:schemeClr val="accent2">
                      <a:lumMod val="40000"/>
                      <a:lumOff val="60000"/>
                    </a:schemeClr>
                  </a:gs>
                  <a:gs pos="48000">
                    <a:schemeClr val="accent2">
                      <a:lumMod val="60000"/>
                      <a:lumOff val="40000"/>
                    </a:schemeClr>
                  </a:gs>
                  <a:gs pos="53000">
                    <a:schemeClr val="accent2">
                      <a:lumMod val="60000"/>
                      <a:lumOff val="40000"/>
                    </a:schemeClr>
                  </a:gs>
                  <a:gs pos="100000">
                    <a:schemeClr val="accent2">
                      <a:lumMod val="20355"/>
                      <a:alpha val="0"/>
                    </a:schemeClr>
                  </a:gs>
                </a:gsLst>
                <a:path path="circle">
                  <a:fillToRect l="50000" t="50000" r="50000" b="50000"/>
                </a:path>
                <a:tileRect/>
              </a:gradFill>
              <a:ln w="41275" cmpd="tri">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195" name="群組 194">
                <a:extLst>
                  <a:ext uri="{FF2B5EF4-FFF2-40B4-BE49-F238E27FC236}">
                    <a16:creationId xmlns:a16="http://schemas.microsoft.com/office/drawing/2014/main" id="{3C85DC42-9D08-B747-8FDC-54561265D071}"/>
                  </a:ext>
                </a:extLst>
              </p:cNvPr>
              <p:cNvGrpSpPr/>
              <p:nvPr/>
            </p:nvGrpSpPr>
            <p:grpSpPr>
              <a:xfrm>
                <a:off x="7759886" y="9244302"/>
                <a:ext cx="1312419" cy="1170600"/>
                <a:chOff x="8316000" y="8964000"/>
                <a:chExt cx="1312419" cy="1170600"/>
              </a:xfrm>
            </p:grpSpPr>
            <p:sp>
              <p:nvSpPr>
                <p:cNvPr id="220" name="手繪多邊形 219">
                  <a:extLst>
                    <a:ext uri="{FF2B5EF4-FFF2-40B4-BE49-F238E27FC236}">
                      <a16:creationId xmlns:a16="http://schemas.microsoft.com/office/drawing/2014/main" id="{6D105B00-34A0-F741-8E5B-BE9EDBCE5261}"/>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1" name="手繪多邊形 220">
                  <a:extLst>
                    <a:ext uri="{FF2B5EF4-FFF2-40B4-BE49-F238E27FC236}">
                      <a16:creationId xmlns:a16="http://schemas.microsoft.com/office/drawing/2014/main" id="{DF6E0BAC-724A-CB43-88D5-E5969000C610}"/>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2" name="手繪多邊形 221">
                  <a:extLst>
                    <a:ext uri="{FF2B5EF4-FFF2-40B4-BE49-F238E27FC236}">
                      <a16:creationId xmlns:a16="http://schemas.microsoft.com/office/drawing/2014/main" id="{4F0807A2-737C-DE44-8B13-CADCA04BA807}"/>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3" name="手繪多邊形 222">
                  <a:extLst>
                    <a:ext uri="{FF2B5EF4-FFF2-40B4-BE49-F238E27FC236}">
                      <a16:creationId xmlns:a16="http://schemas.microsoft.com/office/drawing/2014/main" id="{CBDF3E94-C73C-E347-A926-7786B800F8DA}"/>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alpha val="97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4" name="手繪多邊形 223">
                  <a:extLst>
                    <a:ext uri="{FF2B5EF4-FFF2-40B4-BE49-F238E27FC236}">
                      <a16:creationId xmlns:a16="http://schemas.microsoft.com/office/drawing/2014/main" id="{94B0EA7A-2580-ED4E-85E7-C4A8F38BA88A}"/>
                    </a:ext>
                  </a:extLst>
                </p:cNvPr>
                <p:cNvSpPr/>
                <p:nvPr/>
              </p:nvSpPr>
              <p:spPr>
                <a:xfrm rot="60000">
                  <a:off x="9279466" y="9000067"/>
                  <a:ext cx="344691" cy="536768"/>
                </a:xfrm>
                <a:custGeom>
                  <a:avLst/>
                  <a:gdLst>
                    <a:gd name="connsiteX0" fmla="*/ 12700 w 330200"/>
                    <a:gd name="connsiteY0" fmla="*/ 0 h 533400"/>
                    <a:gd name="connsiteX1" fmla="*/ 0 w 330200"/>
                    <a:gd name="connsiteY1" fmla="*/ 520700 h 533400"/>
                    <a:gd name="connsiteX2" fmla="*/ 330200 w 330200"/>
                    <a:gd name="connsiteY2" fmla="*/ 533400 h 533400"/>
                    <a:gd name="connsiteX3" fmla="*/ 12700 w 330200"/>
                    <a:gd name="connsiteY3" fmla="*/ 0 h 533400"/>
                  </a:gdLst>
                  <a:ahLst/>
                  <a:cxnLst>
                    <a:cxn ang="0">
                      <a:pos x="connsiteX0" y="connsiteY0"/>
                    </a:cxn>
                    <a:cxn ang="0">
                      <a:pos x="connsiteX1" y="connsiteY1"/>
                    </a:cxn>
                    <a:cxn ang="0">
                      <a:pos x="connsiteX2" y="connsiteY2"/>
                    </a:cxn>
                    <a:cxn ang="0">
                      <a:pos x="connsiteX3" y="connsiteY3"/>
                    </a:cxn>
                  </a:cxnLst>
                  <a:rect l="l" t="t" r="r" b="b"/>
                  <a:pathLst>
                    <a:path w="330200" h="533400">
                      <a:moveTo>
                        <a:pt x="12700" y="0"/>
                      </a:moveTo>
                      <a:lnTo>
                        <a:pt x="0" y="520700"/>
                      </a:lnTo>
                      <a:lnTo>
                        <a:pt x="330200" y="533400"/>
                      </a:lnTo>
                      <a:lnTo>
                        <a:pt x="1270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5" name="手繪多邊形 224">
                  <a:extLst>
                    <a:ext uri="{FF2B5EF4-FFF2-40B4-BE49-F238E27FC236}">
                      <a16:creationId xmlns:a16="http://schemas.microsoft.com/office/drawing/2014/main" id="{B64805C0-4E5A-4D40-A5AF-E153CE4CB0F1}"/>
                    </a:ext>
                  </a:extLst>
                </p:cNvPr>
                <p:cNvSpPr/>
                <p:nvPr/>
              </p:nvSpPr>
              <p:spPr>
                <a:xfrm>
                  <a:off x="9268419" y="9521085"/>
                  <a:ext cx="360000" cy="612000"/>
                </a:xfrm>
                <a:custGeom>
                  <a:avLst/>
                  <a:gdLst>
                    <a:gd name="connsiteX0" fmla="*/ 0 w 355600"/>
                    <a:gd name="connsiteY0" fmla="*/ 0 h 609600"/>
                    <a:gd name="connsiteX1" fmla="*/ 25400 w 355600"/>
                    <a:gd name="connsiteY1" fmla="*/ 609600 h 609600"/>
                    <a:gd name="connsiteX2" fmla="*/ 355600 w 355600"/>
                    <a:gd name="connsiteY2" fmla="*/ 25400 h 609600"/>
                    <a:gd name="connsiteX3" fmla="*/ 0 w 355600"/>
                    <a:gd name="connsiteY3" fmla="*/ 0 h 609600"/>
                  </a:gdLst>
                  <a:ahLst/>
                  <a:cxnLst>
                    <a:cxn ang="0">
                      <a:pos x="connsiteX0" y="connsiteY0"/>
                    </a:cxn>
                    <a:cxn ang="0">
                      <a:pos x="connsiteX1" y="connsiteY1"/>
                    </a:cxn>
                    <a:cxn ang="0">
                      <a:pos x="connsiteX2" y="connsiteY2"/>
                    </a:cxn>
                    <a:cxn ang="0">
                      <a:pos x="connsiteX3" y="connsiteY3"/>
                    </a:cxn>
                  </a:cxnLst>
                  <a:rect l="l" t="t" r="r" b="b"/>
                  <a:pathLst>
                    <a:path w="355600" h="609600">
                      <a:moveTo>
                        <a:pt x="0" y="0"/>
                      </a:moveTo>
                      <a:lnTo>
                        <a:pt x="25400" y="609600"/>
                      </a:lnTo>
                      <a:lnTo>
                        <a:pt x="355600" y="25400"/>
                      </a:lnTo>
                      <a:lnTo>
                        <a:pt x="0" y="0"/>
                      </a:lnTo>
                      <a:close/>
                    </a:path>
                  </a:pathLst>
                </a:custGeom>
                <a:solidFill>
                  <a:schemeClr val="accent6">
                    <a:lumMod val="75000"/>
                    <a:alpha val="83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6" name="手繪多邊形 225">
                  <a:extLst>
                    <a:ext uri="{FF2B5EF4-FFF2-40B4-BE49-F238E27FC236}">
                      <a16:creationId xmlns:a16="http://schemas.microsoft.com/office/drawing/2014/main" id="{9FA96AF5-5B7B-6940-95CD-298C683A056E}"/>
                    </a:ext>
                  </a:extLst>
                </p:cNvPr>
                <p:cNvSpPr/>
                <p:nvPr/>
              </p:nvSpPr>
              <p:spPr>
                <a:xfrm rot="60000">
                  <a:off x="8805334" y="9516533"/>
                  <a:ext cx="482600" cy="609600"/>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7" name="手繪多邊形 226">
                  <a:extLst>
                    <a:ext uri="{FF2B5EF4-FFF2-40B4-BE49-F238E27FC236}">
                      <a16:creationId xmlns:a16="http://schemas.microsoft.com/office/drawing/2014/main" id="{788DD969-5758-3741-9C9E-484F4DD39066}"/>
                    </a:ext>
                  </a:extLst>
                </p:cNvPr>
                <p:cNvSpPr/>
                <p:nvPr/>
              </p:nvSpPr>
              <p:spPr>
                <a:xfrm>
                  <a:off x="8652933" y="9626600"/>
                  <a:ext cx="635000" cy="508000"/>
                </a:xfrm>
                <a:custGeom>
                  <a:avLst/>
                  <a:gdLst>
                    <a:gd name="connsiteX0" fmla="*/ 152400 w 635000"/>
                    <a:gd name="connsiteY0" fmla="*/ 0 h 508000"/>
                    <a:gd name="connsiteX1" fmla="*/ 0 w 635000"/>
                    <a:gd name="connsiteY1" fmla="*/ 508000 h 508000"/>
                    <a:gd name="connsiteX2" fmla="*/ 635000 w 635000"/>
                    <a:gd name="connsiteY2" fmla="*/ 499533 h 508000"/>
                    <a:gd name="connsiteX3" fmla="*/ 152400 w 635000"/>
                    <a:gd name="connsiteY3" fmla="*/ 0 h 508000"/>
                  </a:gdLst>
                  <a:ahLst/>
                  <a:cxnLst>
                    <a:cxn ang="0">
                      <a:pos x="connsiteX0" y="connsiteY0"/>
                    </a:cxn>
                    <a:cxn ang="0">
                      <a:pos x="connsiteX1" y="connsiteY1"/>
                    </a:cxn>
                    <a:cxn ang="0">
                      <a:pos x="connsiteX2" y="connsiteY2"/>
                    </a:cxn>
                    <a:cxn ang="0">
                      <a:pos x="connsiteX3" y="connsiteY3"/>
                    </a:cxn>
                  </a:cxnLst>
                  <a:rect l="l" t="t" r="r" b="b"/>
                  <a:pathLst>
                    <a:path w="635000" h="508000">
                      <a:moveTo>
                        <a:pt x="152400" y="0"/>
                      </a:moveTo>
                      <a:lnTo>
                        <a:pt x="0" y="508000"/>
                      </a:lnTo>
                      <a:lnTo>
                        <a:pt x="635000" y="499533"/>
                      </a:lnTo>
                      <a:lnTo>
                        <a:pt x="152400" y="0"/>
                      </a:lnTo>
                      <a:close/>
                    </a:path>
                  </a:pathLst>
                </a:custGeom>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8" name="手繪多邊形 227">
                  <a:extLst>
                    <a:ext uri="{FF2B5EF4-FFF2-40B4-BE49-F238E27FC236}">
                      <a16:creationId xmlns:a16="http://schemas.microsoft.com/office/drawing/2014/main" id="{322161EB-534B-2940-AE1B-ED6CCB49E3C2}"/>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29" name="手繪多邊形 228">
                  <a:extLst>
                    <a:ext uri="{FF2B5EF4-FFF2-40B4-BE49-F238E27FC236}">
                      <a16:creationId xmlns:a16="http://schemas.microsoft.com/office/drawing/2014/main" id="{4E0A0BF1-24E6-F242-8326-9A1BBF05A654}"/>
                    </a:ext>
                  </a:extLst>
                </p:cNvPr>
                <p:cNvSpPr/>
                <p:nvPr/>
              </p:nvSpPr>
              <p:spPr>
                <a:xfrm>
                  <a:off x="8644467" y="9635067"/>
                  <a:ext cx="635000" cy="499533"/>
                </a:xfrm>
                <a:custGeom>
                  <a:avLst/>
                  <a:gdLst>
                    <a:gd name="connsiteX0" fmla="*/ 152400 w 635000"/>
                    <a:gd name="connsiteY0" fmla="*/ 0 h 499533"/>
                    <a:gd name="connsiteX1" fmla="*/ 0 w 635000"/>
                    <a:gd name="connsiteY1" fmla="*/ 499533 h 499533"/>
                    <a:gd name="connsiteX2" fmla="*/ 635000 w 635000"/>
                    <a:gd name="connsiteY2" fmla="*/ 491066 h 499533"/>
                    <a:gd name="connsiteX3" fmla="*/ 635000 w 635000"/>
                    <a:gd name="connsiteY3" fmla="*/ 491066 h 499533"/>
                  </a:gdLst>
                  <a:ahLst/>
                  <a:cxnLst>
                    <a:cxn ang="0">
                      <a:pos x="connsiteX0" y="connsiteY0"/>
                    </a:cxn>
                    <a:cxn ang="0">
                      <a:pos x="connsiteX1" y="connsiteY1"/>
                    </a:cxn>
                    <a:cxn ang="0">
                      <a:pos x="connsiteX2" y="connsiteY2"/>
                    </a:cxn>
                    <a:cxn ang="0">
                      <a:pos x="connsiteX3" y="connsiteY3"/>
                    </a:cxn>
                  </a:cxnLst>
                  <a:rect l="l" t="t" r="r" b="b"/>
                  <a:pathLst>
                    <a:path w="635000" h="499533">
                      <a:moveTo>
                        <a:pt x="152400" y="0"/>
                      </a:moveTo>
                      <a:lnTo>
                        <a:pt x="0" y="499533"/>
                      </a:lnTo>
                      <a:lnTo>
                        <a:pt x="635000" y="491066"/>
                      </a:lnTo>
                      <a:lnTo>
                        <a:pt x="635000" y="491066"/>
                      </a:lnTo>
                    </a:path>
                  </a:pathLst>
                </a:custGeom>
                <a:solidFill>
                  <a:schemeClr val="accent6">
                    <a:lumMod val="60000"/>
                    <a:lumOff val="40000"/>
                    <a:alpha val="7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30" name="手繪多邊形 229">
                  <a:extLst>
                    <a:ext uri="{FF2B5EF4-FFF2-40B4-BE49-F238E27FC236}">
                      <a16:creationId xmlns:a16="http://schemas.microsoft.com/office/drawing/2014/main" id="{6326D639-77FE-C241-BD63-C68D7A46C584}"/>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196" name="橢圓 195">
                <a:extLst>
                  <a:ext uri="{FF2B5EF4-FFF2-40B4-BE49-F238E27FC236}">
                    <a16:creationId xmlns:a16="http://schemas.microsoft.com/office/drawing/2014/main" id="{D0122423-CBC8-564F-8DD8-3D5D0FB54B7E}"/>
                  </a:ext>
                </a:extLst>
              </p:cNvPr>
              <p:cNvSpPr/>
              <p:nvPr/>
            </p:nvSpPr>
            <p:spPr>
              <a:xfrm>
                <a:off x="7893818" y="897584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97" name="橢圓 196">
                <a:extLst>
                  <a:ext uri="{FF2B5EF4-FFF2-40B4-BE49-F238E27FC236}">
                    <a16:creationId xmlns:a16="http://schemas.microsoft.com/office/drawing/2014/main" id="{7F884715-63E9-6944-95D7-33134883E6EB}"/>
                  </a:ext>
                </a:extLst>
              </p:cNvPr>
              <p:cNvSpPr/>
              <p:nvPr/>
            </p:nvSpPr>
            <p:spPr>
              <a:xfrm>
                <a:off x="9157992" y="972820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98" name="橢圓 197">
                <a:extLst>
                  <a:ext uri="{FF2B5EF4-FFF2-40B4-BE49-F238E27FC236}">
                    <a16:creationId xmlns:a16="http://schemas.microsoft.com/office/drawing/2014/main" id="{03D0F317-A38D-F245-A04E-5BDDF6C0FA59}"/>
                  </a:ext>
                </a:extLst>
              </p:cNvPr>
              <p:cNvSpPr/>
              <p:nvPr/>
            </p:nvSpPr>
            <p:spPr>
              <a:xfrm>
                <a:off x="8783852" y="900932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99" name="橢圓 198">
                <a:extLst>
                  <a:ext uri="{FF2B5EF4-FFF2-40B4-BE49-F238E27FC236}">
                    <a16:creationId xmlns:a16="http://schemas.microsoft.com/office/drawing/2014/main" id="{A9E61A70-EC2B-4D41-A1DC-ADAC07A97711}"/>
                  </a:ext>
                </a:extLst>
              </p:cNvPr>
              <p:cNvSpPr/>
              <p:nvPr/>
            </p:nvSpPr>
            <p:spPr>
              <a:xfrm>
                <a:off x="8721355" y="1047351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0" name="橢圓 199">
                <a:extLst>
                  <a:ext uri="{FF2B5EF4-FFF2-40B4-BE49-F238E27FC236}">
                    <a16:creationId xmlns:a16="http://schemas.microsoft.com/office/drawing/2014/main" id="{5BF86204-A0DD-3748-9487-9AD7AFA26484}"/>
                  </a:ext>
                </a:extLst>
              </p:cNvPr>
              <p:cNvSpPr/>
              <p:nvPr/>
            </p:nvSpPr>
            <p:spPr>
              <a:xfrm>
                <a:off x="7888013" y="1045184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1" name="橢圓 200">
                <a:extLst>
                  <a:ext uri="{FF2B5EF4-FFF2-40B4-BE49-F238E27FC236}">
                    <a16:creationId xmlns:a16="http://schemas.microsoft.com/office/drawing/2014/main" id="{3350BD7E-E979-F947-9245-8198395DB84F}"/>
                  </a:ext>
                </a:extLst>
              </p:cNvPr>
              <p:cNvSpPr/>
              <p:nvPr/>
            </p:nvSpPr>
            <p:spPr>
              <a:xfrm>
                <a:off x="7472545" y="974736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2" name="橢圓 201">
                <a:extLst>
                  <a:ext uri="{FF2B5EF4-FFF2-40B4-BE49-F238E27FC236}">
                    <a16:creationId xmlns:a16="http://schemas.microsoft.com/office/drawing/2014/main" id="{28D6EB34-2805-2046-B0ED-6753FEE33F2D}"/>
                  </a:ext>
                </a:extLst>
              </p:cNvPr>
              <p:cNvSpPr>
                <a:spLocks noChangeAspect="1"/>
              </p:cNvSpPr>
              <p:nvPr/>
            </p:nvSpPr>
            <p:spPr>
              <a:xfrm>
                <a:off x="8381045" y="8933668"/>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3" name="橢圓 202">
                <a:extLst>
                  <a:ext uri="{FF2B5EF4-FFF2-40B4-BE49-F238E27FC236}">
                    <a16:creationId xmlns:a16="http://schemas.microsoft.com/office/drawing/2014/main" id="{73483FAC-881A-FA45-A1B4-BF62698007D4}"/>
                  </a:ext>
                </a:extLst>
              </p:cNvPr>
              <p:cNvSpPr>
                <a:spLocks noChangeAspect="1"/>
              </p:cNvSpPr>
              <p:nvPr/>
            </p:nvSpPr>
            <p:spPr>
              <a:xfrm>
                <a:off x="8388046" y="10572045"/>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4" name="橢圓 203">
                <a:extLst>
                  <a:ext uri="{FF2B5EF4-FFF2-40B4-BE49-F238E27FC236}">
                    <a16:creationId xmlns:a16="http://schemas.microsoft.com/office/drawing/2014/main" id="{605C6FFF-390C-ED43-845F-4E92E7DCE62E}"/>
                  </a:ext>
                </a:extLst>
              </p:cNvPr>
              <p:cNvSpPr>
                <a:spLocks noChangeAspect="1"/>
              </p:cNvSpPr>
              <p:nvPr/>
            </p:nvSpPr>
            <p:spPr>
              <a:xfrm>
                <a:off x="9065435" y="937567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5" name="橢圓 204">
                <a:extLst>
                  <a:ext uri="{FF2B5EF4-FFF2-40B4-BE49-F238E27FC236}">
                    <a16:creationId xmlns:a16="http://schemas.microsoft.com/office/drawing/2014/main" id="{248F42E3-55F5-6541-B3A6-DFA3A4573587}"/>
                  </a:ext>
                </a:extLst>
              </p:cNvPr>
              <p:cNvSpPr>
                <a:spLocks noChangeAspect="1"/>
              </p:cNvSpPr>
              <p:nvPr/>
            </p:nvSpPr>
            <p:spPr>
              <a:xfrm>
                <a:off x="9033211" y="1018752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6" name="橢圓 205">
                <a:extLst>
                  <a:ext uri="{FF2B5EF4-FFF2-40B4-BE49-F238E27FC236}">
                    <a16:creationId xmlns:a16="http://schemas.microsoft.com/office/drawing/2014/main" id="{AF2458D3-207E-5142-B07F-14E3B8954106}"/>
                  </a:ext>
                </a:extLst>
              </p:cNvPr>
              <p:cNvSpPr>
                <a:spLocks noChangeAspect="1"/>
              </p:cNvSpPr>
              <p:nvPr/>
            </p:nvSpPr>
            <p:spPr>
              <a:xfrm>
                <a:off x="7627352" y="10160902"/>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7" name="橢圓 206">
                <a:extLst>
                  <a:ext uri="{FF2B5EF4-FFF2-40B4-BE49-F238E27FC236}">
                    <a16:creationId xmlns:a16="http://schemas.microsoft.com/office/drawing/2014/main" id="{36AEEC7E-6B04-D344-8421-378071C4C713}"/>
                  </a:ext>
                </a:extLst>
              </p:cNvPr>
              <p:cNvSpPr>
                <a:spLocks noChangeAspect="1"/>
              </p:cNvSpPr>
              <p:nvPr/>
            </p:nvSpPr>
            <p:spPr>
              <a:xfrm>
                <a:off x="7653243" y="9316894"/>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8" name="橢圓 207">
                <a:extLst>
                  <a:ext uri="{FF2B5EF4-FFF2-40B4-BE49-F238E27FC236}">
                    <a16:creationId xmlns:a16="http://schemas.microsoft.com/office/drawing/2014/main" id="{A59A6661-E7FD-4B41-A480-EEB1C65FA0D5}"/>
                  </a:ext>
                </a:extLst>
              </p:cNvPr>
              <p:cNvSpPr>
                <a:spLocks noChangeAspect="1"/>
              </p:cNvSpPr>
              <p:nvPr/>
            </p:nvSpPr>
            <p:spPr>
              <a:xfrm>
                <a:off x="8594212" y="900929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09" name="橢圓 208">
                <a:extLst>
                  <a:ext uri="{FF2B5EF4-FFF2-40B4-BE49-F238E27FC236}">
                    <a16:creationId xmlns:a16="http://schemas.microsoft.com/office/drawing/2014/main" id="{7C59747D-3725-2A47-B7BD-387C5CB32D41}"/>
                  </a:ext>
                </a:extLst>
              </p:cNvPr>
              <p:cNvSpPr>
                <a:spLocks noChangeAspect="1"/>
              </p:cNvSpPr>
              <p:nvPr/>
            </p:nvSpPr>
            <p:spPr>
              <a:xfrm>
                <a:off x="8196210" y="898406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0" name="橢圓 209">
                <a:extLst>
                  <a:ext uri="{FF2B5EF4-FFF2-40B4-BE49-F238E27FC236}">
                    <a16:creationId xmlns:a16="http://schemas.microsoft.com/office/drawing/2014/main" id="{7086F256-0E89-F843-84EC-4028F105AA4E}"/>
                  </a:ext>
                </a:extLst>
              </p:cNvPr>
              <p:cNvSpPr>
                <a:spLocks noChangeAspect="1"/>
              </p:cNvSpPr>
              <p:nvPr/>
            </p:nvSpPr>
            <p:spPr>
              <a:xfrm>
                <a:off x="8966871" y="924896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1" name="橢圓 210">
                <a:extLst>
                  <a:ext uri="{FF2B5EF4-FFF2-40B4-BE49-F238E27FC236}">
                    <a16:creationId xmlns:a16="http://schemas.microsoft.com/office/drawing/2014/main" id="{E3D60AEB-567F-F041-9566-4C7C6BDEECA9}"/>
                  </a:ext>
                </a:extLst>
              </p:cNvPr>
              <p:cNvSpPr>
                <a:spLocks noChangeAspect="1"/>
              </p:cNvSpPr>
              <p:nvPr/>
            </p:nvSpPr>
            <p:spPr>
              <a:xfrm>
                <a:off x="9146125" y="9576854"/>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2" name="橢圓 211">
                <a:extLst>
                  <a:ext uri="{FF2B5EF4-FFF2-40B4-BE49-F238E27FC236}">
                    <a16:creationId xmlns:a16="http://schemas.microsoft.com/office/drawing/2014/main" id="{A83E59E1-B9CA-6740-B066-C812899475CF}"/>
                  </a:ext>
                </a:extLst>
              </p:cNvPr>
              <p:cNvSpPr>
                <a:spLocks noChangeAspect="1"/>
              </p:cNvSpPr>
              <p:nvPr/>
            </p:nvSpPr>
            <p:spPr>
              <a:xfrm>
                <a:off x="9127689" y="1002853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3" name="橢圓 212">
                <a:extLst>
                  <a:ext uri="{FF2B5EF4-FFF2-40B4-BE49-F238E27FC236}">
                    <a16:creationId xmlns:a16="http://schemas.microsoft.com/office/drawing/2014/main" id="{A4975517-BB06-4747-B765-5B9EF2FB1E95}"/>
                  </a:ext>
                </a:extLst>
              </p:cNvPr>
              <p:cNvSpPr>
                <a:spLocks noChangeAspect="1"/>
              </p:cNvSpPr>
              <p:nvPr/>
            </p:nvSpPr>
            <p:spPr>
              <a:xfrm>
                <a:off x="8933134" y="1034629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4" name="橢圓 213">
                <a:extLst>
                  <a:ext uri="{FF2B5EF4-FFF2-40B4-BE49-F238E27FC236}">
                    <a16:creationId xmlns:a16="http://schemas.microsoft.com/office/drawing/2014/main" id="{742BAFD6-F79C-1E49-84FD-5C50BE88CD36}"/>
                  </a:ext>
                </a:extLst>
              </p:cNvPr>
              <p:cNvSpPr>
                <a:spLocks noChangeAspect="1"/>
              </p:cNvSpPr>
              <p:nvPr/>
            </p:nvSpPr>
            <p:spPr>
              <a:xfrm>
                <a:off x="8572340" y="1056767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5" name="橢圓 214">
                <a:extLst>
                  <a:ext uri="{FF2B5EF4-FFF2-40B4-BE49-F238E27FC236}">
                    <a16:creationId xmlns:a16="http://schemas.microsoft.com/office/drawing/2014/main" id="{9ACF92BF-A925-7848-AD9B-D30F90A1CAB8}"/>
                  </a:ext>
                </a:extLst>
              </p:cNvPr>
              <p:cNvSpPr>
                <a:spLocks noChangeAspect="1"/>
              </p:cNvSpPr>
              <p:nvPr/>
            </p:nvSpPr>
            <p:spPr>
              <a:xfrm>
                <a:off x="8195734" y="10574559"/>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6" name="橢圓 215">
                <a:extLst>
                  <a:ext uri="{FF2B5EF4-FFF2-40B4-BE49-F238E27FC236}">
                    <a16:creationId xmlns:a16="http://schemas.microsoft.com/office/drawing/2014/main" id="{0CBAEEB2-11DE-284C-B9B6-1F37D6BE1807}"/>
                  </a:ext>
                </a:extLst>
              </p:cNvPr>
              <p:cNvSpPr>
                <a:spLocks noChangeAspect="1"/>
              </p:cNvSpPr>
              <p:nvPr/>
            </p:nvSpPr>
            <p:spPr>
              <a:xfrm>
                <a:off x="7765311" y="1034437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7" name="橢圓 216">
                <a:extLst>
                  <a:ext uri="{FF2B5EF4-FFF2-40B4-BE49-F238E27FC236}">
                    <a16:creationId xmlns:a16="http://schemas.microsoft.com/office/drawing/2014/main" id="{184D753B-47F9-EB48-AB8E-2E55FB69FA45}"/>
                  </a:ext>
                </a:extLst>
              </p:cNvPr>
              <p:cNvSpPr>
                <a:spLocks noChangeAspect="1"/>
              </p:cNvSpPr>
              <p:nvPr/>
            </p:nvSpPr>
            <p:spPr>
              <a:xfrm>
                <a:off x="7577334" y="1000866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8" name="橢圓 217">
                <a:extLst>
                  <a:ext uri="{FF2B5EF4-FFF2-40B4-BE49-F238E27FC236}">
                    <a16:creationId xmlns:a16="http://schemas.microsoft.com/office/drawing/2014/main" id="{5CC9F09C-4A89-7D47-8F26-172F9FA6FC4E}"/>
                  </a:ext>
                </a:extLst>
              </p:cNvPr>
              <p:cNvSpPr>
                <a:spLocks noChangeAspect="1"/>
              </p:cNvSpPr>
              <p:nvPr/>
            </p:nvSpPr>
            <p:spPr>
              <a:xfrm>
                <a:off x="7586404" y="952556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19" name="橢圓 218">
                <a:extLst>
                  <a:ext uri="{FF2B5EF4-FFF2-40B4-BE49-F238E27FC236}">
                    <a16:creationId xmlns:a16="http://schemas.microsoft.com/office/drawing/2014/main" id="{AAC8D931-D9AC-2740-A565-CA829DBA108B}"/>
                  </a:ext>
                </a:extLst>
              </p:cNvPr>
              <p:cNvSpPr>
                <a:spLocks noChangeAspect="1"/>
              </p:cNvSpPr>
              <p:nvPr/>
            </p:nvSpPr>
            <p:spPr>
              <a:xfrm>
                <a:off x="7806138" y="919428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275" name="群組 274">
              <a:extLst>
                <a:ext uri="{FF2B5EF4-FFF2-40B4-BE49-F238E27FC236}">
                  <a16:creationId xmlns:a16="http://schemas.microsoft.com/office/drawing/2014/main" id="{6D34D3B1-F69A-B046-9B97-FE4E2E070EAF}"/>
                </a:ext>
              </a:extLst>
            </p:cNvPr>
            <p:cNvGrpSpPr/>
            <p:nvPr/>
          </p:nvGrpSpPr>
          <p:grpSpPr>
            <a:xfrm>
              <a:off x="1780326" y="3801954"/>
              <a:ext cx="504886" cy="442760"/>
              <a:chOff x="3690892" y="4772428"/>
              <a:chExt cx="1249408" cy="1156400"/>
            </a:xfrm>
          </p:grpSpPr>
          <p:sp>
            <p:nvSpPr>
              <p:cNvPr id="276" name="六邊形 275">
                <a:extLst>
                  <a:ext uri="{FF2B5EF4-FFF2-40B4-BE49-F238E27FC236}">
                    <a16:creationId xmlns:a16="http://schemas.microsoft.com/office/drawing/2014/main" id="{B8048C43-53B8-C946-812A-CA958BABAB95}"/>
                  </a:ext>
                </a:extLst>
              </p:cNvPr>
              <p:cNvSpPr/>
              <p:nvPr/>
            </p:nvSpPr>
            <p:spPr>
              <a:xfrm>
                <a:off x="3705960" y="4806672"/>
                <a:ext cx="1234340" cy="1122155"/>
              </a:xfrm>
              <a:prstGeom prst="hexagon">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277" name="群組 276">
                <a:extLst>
                  <a:ext uri="{FF2B5EF4-FFF2-40B4-BE49-F238E27FC236}">
                    <a16:creationId xmlns:a16="http://schemas.microsoft.com/office/drawing/2014/main" id="{ACAF3948-CA4A-0742-A825-8A3B43E6BE8B}"/>
                  </a:ext>
                </a:extLst>
              </p:cNvPr>
              <p:cNvGrpSpPr/>
              <p:nvPr/>
            </p:nvGrpSpPr>
            <p:grpSpPr>
              <a:xfrm>
                <a:off x="3690892" y="4772428"/>
                <a:ext cx="982300" cy="1156400"/>
                <a:chOff x="8316000" y="8964000"/>
                <a:chExt cx="982300" cy="1156400"/>
              </a:xfrm>
            </p:grpSpPr>
            <p:sp>
              <p:nvSpPr>
                <p:cNvPr id="293" name="手繪多邊形 292">
                  <a:extLst>
                    <a:ext uri="{FF2B5EF4-FFF2-40B4-BE49-F238E27FC236}">
                      <a16:creationId xmlns:a16="http://schemas.microsoft.com/office/drawing/2014/main" id="{64D5481D-45B6-044D-81FA-FD6094CF058D}"/>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94" name="手繪多邊形 293">
                  <a:extLst>
                    <a:ext uri="{FF2B5EF4-FFF2-40B4-BE49-F238E27FC236}">
                      <a16:creationId xmlns:a16="http://schemas.microsoft.com/office/drawing/2014/main" id="{DF95B2B9-D574-4D44-94DB-B9FC93A36889}"/>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95" name="手繪多邊形 294">
                  <a:extLst>
                    <a:ext uri="{FF2B5EF4-FFF2-40B4-BE49-F238E27FC236}">
                      <a16:creationId xmlns:a16="http://schemas.microsoft.com/office/drawing/2014/main" id="{C1F138F3-AEF6-3C44-8178-051E7F0D01D3}"/>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96" name="手繪多邊形 295">
                  <a:extLst>
                    <a:ext uri="{FF2B5EF4-FFF2-40B4-BE49-F238E27FC236}">
                      <a16:creationId xmlns:a16="http://schemas.microsoft.com/office/drawing/2014/main" id="{5BEC645A-16E7-3745-B439-138DB39159B9}"/>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97" name="手繪多邊形 296">
                  <a:extLst>
                    <a:ext uri="{FF2B5EF4-FFF2-40B4-BE49-F238E27FC236}">
                      <a16:creationId xmlns:a16="http://schemas.microsoft.com/office/drawing/2014/main" id="{AF8E7EBE-33C3-B44C-A8BF-693D2072FBDD}"/>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298" name="手繪多邊形 297">
                  <a:extLst>
                    <a:ext uri="{FF2B5EF4-FFF2-40B4-BE49-F238E27FC236}">
                      <a16:creationId xmlns:a16="http://schemas.microsoft.com/office/drawing/2014/main" id="{DA911AEB-B1FD-F247-9B44-7A71FA3DFB33}"/>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278" name="群組 277">
                <a:extLst>
                  <a:ext uri="{FF2B5EF4-FFF2-40B4-BE49-F238E27FC236}">
                    <a16:creationId xmlns:a16="http://schemas.microsoft.com/office/drawing/2014/main" id="{2020FC96-644B-2545-B589-C7A8FB459790}"/>
                  </a:ext>
                </a:extLst>
              </p:cNvPr>
              <p:cNvGrpSpPr/>
              <p:nvPr/>
            </p:nvGrpSpPr>
            <p:grpSpPr>
              <a:xfrm>
                <a:off x="3907224" y="4994286"/>
                <a:ext cx="787665" cy="753512"/>
                <a:chOff x="3907224" y="4994286"/>
                <a:chExt cx="787665" cy="753512"/>
              </a:xfrm>
            </p:grpSpPr>
            <p:grpSp>
              <p:nvGrpSpPr>
                <p:cNvPr id="279" name="群組 278">
                  <a:extLst>
                    <a:ext uri="{FF2B5EF4-FFF2-40B4-BE49-F238E27FC236}">
                      <a16:creationId xmlns:a16="http://schemas.microsoft.com/office/drawing/2014/main" id="{F75F204B-D328-914D-B9B8-D5F223B053F3}"/>
                    </a:ext>
                  </a:extLst>
                </p:cNvPr>
                <p:cNvGrpSpPr/>
                <p:nvPr/>
              </p:nvGrpSpPr>
              <p:grpSpPr>
                <a:xfrm>
                  <a:off x="4062741" y="5056822"/>
                  <a:ext cx="562853" cy="641173"/>
                  <a:chOff x="4062741" y="5056822"/>
                  <a:chExt cx="562853" cy="641173"/>
                </a:xfrm>
              </p:grpSpPr>
              <p:grpSp>
                <p:nvGrpSpPr>
                  <p:cNvPr id="286" name="群組 285">
                    <a:extLst>
                      <a:ext uri="{FF2B5EF4-FFF2-40B4-BE49-F238E27FC236}">
                        <a16:creationId xmlns:a16="http://schemas.microsoft.com/office/drawing/2014/main" id="{7213BDBC-C32D-1649-A949-D9309F6F2536}"/>
                      </a:ext>
                    </a:extLst>
                  </p:cNvPr>
                  <p:cNvGrpSpPr>
                    <a:grpSpLocks noChangeAspect="1"/>
                  </p:cNvGrpSpPr>
                  <p:nvPr/>
                </p:nvGrpSpPr>
                <p:grpSpPr>
                  <a:xfrm rot="3933323">
                    <a:off x="4022985" y="5096578"/>
                    <a:ext cx="641173" cy="561662"/>
                    <a:chOff x="3311059" y="5885558"/>
                    <a:chExt cx="302559" cy="265556"/>
                  </a:xfrm>
                </p:grpSpPr>
                <p:grpSp>
                  <p:nvGrpSpPr>
                    <p:cNvPr id="288" name="群組 287">
                      <a:extLst>
                        <a:ext uri="{FF2B5EF4-FFF2-40B4-BE49-F238E27FC236}">
                          <a16:creationId xmlns:a16="http://schemas.microsoft.com/office/drawing/2014/main" id="{F1661FFC-4287-9540-91F6-FFBF9B0F7167}"/>
                        </a:ext>
                      </a:extLst>
                    </p:cNvPr>
                    <p:cNvGrpSpPr/>
                    <p:nvPr/>
                  </p:nvGrpSpPr>
                  <p:grpSpPr>
                    <a:xfrm>
                      <a:off x="3337869" y="5885558"/>
                      <a:ext cx="275749" cy="265556"/>
                      <a:chOff x="3056459" y="5824265"/>
                      <a:chExt cx="330832" cy="341116"/>
                    </a:xfrm>
                  </p:grpSpPr>
                  <p:sp>
                    <p:nvSpPr>
                      <p:cNvPr id="290" name="弧線 289">
                        <a:extLst>
                          <a:ext uri="{FF2B5EF4-FFF2-40B4-BE49-F238E27FC236}">
                            <a16:creationId xmlns:a16="http://schemas.microsoft.com/office/drawing/2014/main" id="{79EC0CC0-4867-414C-9EDB-C01C50165301}"/>
                          </a:ext>
                        </a:extLst>
                      </p:cNvPr>
                      <p:cNvSpPr/>
                      <p:nvPr/>
                    </p:nvSpPr>
                    <p:spPr>
                      <a:xfrm rot="21152590">
                        <a:off x="3089116" y="5835149"/>
                        <a:ext cx="265331" cy="330232"/>
                      </a:xfrm>
                      <a:prstGeom prst="arc">
                        <a:avLst/>
                      </a:prstGeom>
                      <a:ln w="31750">
                        <a:solidFill>
                          <a:srgbClr val="AF4CC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291" name="弧線 290">
                        <a:extLst>
                          <a:ext uri="{FF2B5EF4-FFF2-40B4-BE49-F238E27FC236}">
                            <a16:creationId xmlns:a16="http://schemas.microsoft.com/office/drawing/2014/main" id="{9123C527-FA42-2A43-8987-5CBDC20BADAB}"/>
                          </a:ext>
                        </a:extLst>
                      </p:cNvPr>
                      <p:cNvSpPr/>
                      <p:nvPr/>
                    </p:nvSpPr>
                    <p:spPr>
                      <a:xfrm rot="11224768">
                        <a:off x="3056459" y="5824265"/>
                        <a:ext cx="265331" cy="330232"/>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292" name="弧線 291">
                        <a:extLst>
                          <a:ext uri="{FF2B5EF4-FFF2-40B4-BE49-F238E27FC236}">
                            <a16:creationId xmlns:a16="http://schemas.microsoft.com/office/drawing/2014/main" id="{F3DBE0E2-2252-094E-B048-C56858330F35}"/>
                          </a:ext>
                        </a:extLst>
                      </p:cNvPr>
                      <p:cNvSpPr/>
                      <p:nvPr/>
                    </p:nvSpPr>
                    <p:spPr>
                      <a:xfrm rot="15828756">
                        <a:off x="3072576" y="5816861"/>
                        <a:ext cx="299197" cy="330232"/>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289" name="弧線 288">
                      <a:extLst>
                        <a:ext uri="{FF2B5EF4-FFF2-40B4-BE49-F238E27FC236}">
                          <a16:creationId xmlns:a16="http://schemas.microsoft.com/office/drawing/2014/main" id="{9CF379B7-507A-BF41-B92D-81BFF592DE8F}"/>
                        </a:ext>
                      </a:extLst>
                    </p:cNvPr>
                    <p:cNvSpPr/>
                    <p:nvPr/>
                  </p:nvSpPr>
                  <p:spPr>
                    <a:xfrm rot="5657964">
                      <a:off x="3347031" y="5928155"/>
                      <a:ext cx="179171" cy="251115"/>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287" name="橢圓 286">
                    <a:extLst>
                      <a:ext uri="{FF2B5EF4-FFF2-40B4-BE49-F238E27FC236}">
                        <a16:creationId xmlns:a16="http://schemas.microsoft.com/office/drawing/2014/main" id="{962FD28F-3B77-0A40-A3ED-8F375271D288}"/>
                      </a:ext>
                    </a:extLst>
                  </p:cNvPr>
                  <p:cNvSpPr/>
                  <p:nvPr/>
                </p:nvSpPr>
                <p:spPr>
                  <a:xfrm rot="19020979">
                    <a:off x="4541243" y="5384809"/>
                    <a:ext cx="84351" cy="165313"/>
                  </a:xfrm>
                  <a:prstGeom prst="ellipse">
                    <a:avLst/>
                  </a:prstGeom>
                  <a:gradFill flip="none" rotWithShape="1">
                    <a:gsLst>
                      <a:gs pos="0">
                        <a:schemeClr val="accent6">
                          <a:lumMod val="50000"/>
                        </a:schemeClr>
                      </a:gs>
                      <a:gs pos="50000">
                        <a:schemeClr val="accent6"/>
                      </a:gs>
                      <a:gs pos="100000">
                        <a:schemeClr val="accent6">
                          <a:lumMod val="20000"/>
                          <a:lumOff val="80000"/>
                        </a:schemeClr>
                      </a:gs>
                    </a:gsLst>
                    <a:path path="circle">
                      <a:fillToRect l="50000" t="50000" r="50000" b="50000"/>
                    </a:path>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grpSp>
              <p:nvGrpSpPr>
                <p:cNvPr id="280" name="群組 279">
                  <a:extLst>
                    <a:ext uri="{FF2B5EF4-FFF2-40B4-BE49-F238E27FC236}">
                      <a16:creationId xmlns:a16="http://schemas.microsoft.com/office/drawing/2014/main" id="{430EEDC9-9898-1C41-8272-DDD1FDFBF9DB}"/>
                    </a:ext>
                  </a:extLst>
                </p:cNvPr>
                <p:cNvGrpSpPr/>
                <p:nvPr/>
              </p:nvGrpSpPr>
              <p:grpSpPr>
                <a:xfrm rot="11388710">
                  <a:off x="3907224" y="5001484"/>
                  <a:ext cx="787665" cy="746314"/>
                  <a:chOff x="3060806" y="5817421"/>
                  <a:chExt cx="330926" cy="347960"/>
                </a:xfrm>
              </p:grpSpPr>
              <p:sp>
                <p:nvSpPr>
                  <p:cNvPr id="283" name="弧線 282">
                    <a:extLst>
                      <a:ext uri="{FF2B5EF4-FFF2-40B4-BE49-F238E27FC236}">
                        <a16:creationId xmlns:a16="http://schemas.microsoft.com/office/drawing/2014/main" id="{962381BA-29EC-F34D-AB51-C815DFDDEF2C}"/>
                      </a:ext>
                    </a:extLst>
                  </p:cNvPr>
                  <p:cNvSpPr/>
                  <p:nvPr/>
                </p:nvSpPr>
                <p:spPr>
                  <a:xfrm rot="21152590">
                    <a:off x="3089116" y="5835149"/>
                    <a:ext cx="265331" cy="330232"/>
                  </a:xfrm>
                  <a:prstGeom prst="arc">
                    <a:avLst/>
                  </a:prstGeom>
                  <a:ln w="317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284" name="弧線 283">
                    <a:extLst>
                      <a:ext uri="{FF2B5EF4-FFF2-40B4-BE49-F238E27FC236}">
                        <a16:creationId xmlns:a16="http://schemas.microsoft.com/office/drawing/2014/main" id="{02587BAA-B83D-3D41-A8FB-86D36C395863}"/>
                      </a:ext>
                    </a:extLst>
                  </p:cNvPr>
                  <p:cNvSpPr/>
                  <p:nvPr/>
                </p:nvSpPr>
                <p:spPr>
                  <a:xfrm rot="11224768">
                    <a:off x="3060806" y="5817421"/>
                    <a:ext cx="265331" cy="330232"/>
                  </a:xfrm>
                  <a:prstGeom prst="arc">
                    <a:avLst/>
                  </a:prstGeom>
                  <a:ln w="3175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285" name="弧線 284">
                    <a:extLst>
                      <a:ext uri="{FF2B5EF4-FFF2-40B4-BE49-F238E27FC236}">
                        <a16:creationId xmlns:a16="http://schemas.microsoft.com/office/drawing/2014/main" id="{C5BE2158-0C08-564B-99CE-7F6BB8FD1424}"/>
                      </a:ext>
                    </a:extLst>
                  </p:cNvPr>
                  <p:cNvSpPr/>
                  <p:nvPr/>
                </p:nvSpPr>
                <p:spPr>
                  <a:xfrm rot="15828756">
                    <a:off x="3077017" y="5820335"/>
                    <a:ext cx="299197" cy="330232"/>
                  </a:xfrm>
                  <a:prstGeom prst="arc">
                    <a:avLst/>
                  </a:prstGeom>
                  <a:ln w="31750">
                    <a:solidFill>
                      <a:srgbClr val="002060"/>
                    </a:solidFill>
                    <a:round/>
                    <a:tailEnd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281" name="手繪多邊形 280">
                  <a:extLst>
                    <a:ext uri="{FF2B5EF4-FFF2-40B4-BE49-F238E27FC236}">
                      <a16:creationId xmlns:a16="http://schemas.microsoft.com/office/drawing/2014/main" id="{2222CFB2-CA9A-9F4D-A67E-0852688C49FC}"/>
                    </a:ext>
                  </a:extLst>
                </p:cNvPr>
                <p:cNvSpPr/>
                <p:nvPr/>
              </p:nvSpPr>
              <p:spPr>
                <a:xfrm>
                  <a:off x="3997428" y="4994286"/>
                  <a:ext cx="396772" cy="377813"/>
                </a:xfrm>
                <a:custGeom>
                  <a:avLst/>
                  <a:gdLst>
                    <a:gd name="connsiteX0" fmla="*/ 0 w 406400"/>
                    <a:gd name="connsiteY0" fmla="*/ 381000 h 381000"/>
                    <a:gd name="connsiteX1" fmla="*/ 12700 w 406400"/>
                    <a:gd name="connsiteY1" fmla="*/ 266700 h 381000"/>
                    <a:gd name="connsiteX2" fmla="*/ 63500 w 406400"/>
                    <a:gd name="connsiteY2" fmla="*/ 165100 h 381000"/>
                    <a:gd name="connsiteX3" fmla="*/ 190500 w 406400"/>
                    <a:gd name="connsiteY3" fmla="*/ 76200 h 381000"/>
                    <a:gd name="connsiteX4" fmla="*/ 317500 w 406400"/>
                    <a:gd name="connsiteY4" fmla="*/ 50800 h 381000"/>
                    <a:gd name="connsiteX5" fmla="*/ 406400 w 4064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400" h="381000">
                      <a:moveTo>
                        <a:pt x="0" y="381000"/>
                      </a:moveTo>
                      <a:cubicBezTo>
                        <a:pt x="1058" y="341841"/>
                        <a:pt x="2117" y="302683"/>
                        <a:pt x="12700" y="266700"/>
                      </a:cubicBezTo>
                      <a:cubicBezTo>
                        <a:pt x="23283" y="230717"/>
                        <a:pt x="33867" y="196850"/>
                        <a:pt x="63500" y="165100"/>
                      </a:cubicBezTo>
                      <a:cubicBezTo>
                        <a:pt x="93133" y="133350"/>
                        <a:pt x="148167" y="95250"/>
                        <a:pt x="190500" y="76200"/>
                      </a:cubicBezTo>
                      <a:cubicBezTo>
                        <a:pt x="232833" y="57150"/>
                        <a:pt x="281517" y="63500"/>
                        <a:pt x="317500" y="50800"/>
                      </a:cubicBezTo>
                      <a:cubicBezTo>
                        <a:pt x="353483" y="38100"/>
                        <a:pt x="379941" y="19050"/>
                        <a:pt x="406400" y="0"/>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
              <p:nvSpPr>
                <p:cNvPr id="282" name="橢圓 281">
                  <a:extLst>
                    <a:ext uri="{FF2B5EF4-FFF2-40B4-BE49-F238E27FC236}">
                      <a16:creationId xmlns:a16="http://schemas.microsoft.com/office/drawing/2014/main" id="{9D08AB60-D636-084B-B72A-8D2E91C4E959}"/>
                    </a:ext>
                  </a:extLst>
                </p:cNvPr>
                <p:cNvSpPr/>
                <p:nvPr/>
              </p:nvSpPr>
              <p:spPr>
                <a:xfrm>
                  <a:off x="4470342" y="5018540"/>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cxnSp>
          <p:nvCxnSpPr>
            <p:cNvPr id="299" name="直線箭頭接點 298">
              <a:extLst>
                <a:ext uri="{FF2B5EF4-FFF2-40B4-BE49-F238E27FC236}">
                  <a16:creationId xmlns:a16="http://schemas.microsoft.com/office/drawing/2014/main" id="{455F8932-8C22-D941-BCF2-B812F2FD2AFA}"/>
                </a:ext>
              </a:extLst>
            </p:cNvPr>
            <p:cNvCxnSpPr>
              <a:cxnSpLocks/>
            </p:cNvCxnSpPr>
            <p:nvPr/>
          </p:nvCxnSpPr>
          <p:spPr>
            <a:xfrm flipH="1">
              <a:off x="2123616" y="4268003"/>
              <a:ext cx="16865" cy="57591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01" name="群組 300">
              <a:extLst>
                <a:ext uri="{FF2B5EF4-FFF2-40B4-BE49-F238E27FC236}">
                  <a16:creationId xmlns:a16="http://schemas.microsoft.com/office/drawing/2014/main" id="{E665499A-0515-6A4E-87CA-DD11F24EE5D7}"/>
                </a:ext>
              </a:extLst>
            </p:cNvPr>
            <p:cNvGrpSpPr/>
            <p:nvPr/>
          </p:nvGrpSpPr>
          <p:grpSpPr>
            <a:xfrm>
              <a:off x="1958364" y="5114022"/>
              <a:ext cx="317897" cy="292031"/>
              <a:chOff x="3913913" y="4985142"/>
              <a:chExt cx="786679" cy="762727"/>
            </a:xfrm>
          </p:grpSpPr>
          <p:grpSp>
            <p:nvGrpSpPr>
              <p:cNvPr id="302" name="群組 301">
                <a:extLst>
                  <a:ext uri="{FF2B5EF4-FFF2-40B4-BE49-F238E27FC236}">
                    <a16:creationId xmlns:a16="http://schemas.microsoft.com/office/drawing/2014/main" id="{8740BACA-73A3-6C4A-B3F6-7811BF022C8D}"/>
                  </a:ext>
                </a:extLst>
              </p:cNvPr>
              <p:cNvGrpSpPr/>
              <p:nvPr/>
            </p:nvGrpSpPr>
            <p:grpSpPr>
              <a:xfrm>
                <a:off x="4062741" y="5056822"/>
                <a:ext cx="562853" cy="641173"/>
                <a:chOff x="4062741" y="5056822"/>
                <a:chExt cx="562853" cy="641173"/>
              </a:xfrm>
            </p:grpSpPr>
            <p:grpSp>
              <p:nvGrpSpPr>
                <p:cNvPr id="309" name="群組 308">
                  <a:extLst>
                    <a:ext uri="{FF2B5EF4-FFF2-40B4-BE49-F238E27FC236}">
                      <a16:creationId xmlns:a16="http://schemas.microsoft.com/office/drawing/2014/main" id="{9AB9F8A3-D5A8-C84B-87C1-E882C08A0223}"/>
                    </a:ext>
                  </a:extLst>
                </p:cNvPr>
                <p:cNvGrpSpPr>
                  <a:grpSpLocks noChangeAspect="1"/>
                </p:cNvGrpSpPr>
                <p:nvPr/>
              </p:nvGrpSpPr>
              <p:grpSpPr>
                <a:xfrm rot="3933323">
                  <a:off x="4022985" y="5096578"/>
                  <a:ext cx="641173" cy="561662"/>
                  <a:chOff x="3311059" y="5885558"/>
                  <a:chExt cx="302559" cy="265556"/>
                </a:xfrm>
              </p:grpSpPr>
              <p:grpSp>
                <p:nvGrpSpPr>
                  <p:cNvPr id="311" name="群組 310">
                    <a:extLst>
                      <a:ext uri="{FF2B5EF4-FFF2-40B4-BE49-F238E27FC236}">
                        <a16:creationId xmlns:a16="http://schemas.microsoft.com/office/drawing/2014/main" id="{F5F3ABBA-DC57-064E-90E7-BB4951B634F3}"/>
                      </a:ext>
                    </a:extLst>
                  </p:cNvPr>
                  <p:cNvGrpSpPr/>
                  <p:nvPr/>
                </p:nvGrpSpPr>
                <p:grpSpPr>
                  <a:xfrm>
                    <a:off x="3337869" y="5885558"/>
                    <a:ext cx="275749" cy="265556"/>
                    <a:chOff x="3056459" y="5824265"/>
                    <a:chExt cx="330832" cy="341116"/>
                  </a:xfrm>
                </p:grpSpPr>
                <p:sp>
                  <p:nvSpPr>
                    <p:cNvPr id="313" name="弧線 312">
                      <a:extLst>
                        <a:ext uri="{FF2B5EF4-FFF2-40B4-BE49-F238E27FC236}">
                          <a16:creationId xmlns:a16="http://schemas.microsoft.com/office/drawing/2014/main" id="{4A940B62-C983-DF48-A304-B6955B94561D}"/>
                        </a:ext>
                      </a:extLst>
                    </p:cNvPr>
                    <p:cNvSpPr/>
                    <p:nvPr/>
                  </p:nvSpPr>
                  <p:spPr>
                    <a:xfrm rot="21152590">
                      <a:off x="3089116" y="5835149"/>
                      <a:ext cx="265331" cy="330232"/>
                    </a:xfrm>
                    <a:prstGeom prst="arc">
                      <a:avLst/>
                    </a:prstGeom>
                    <a:ln w="31750">
                      <a:solidFill>
                        <a:srgbClr val="AF4CC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314" name="弧線 313">
                      <a:extLst>
                        <a:ext uri="{FF2B5EF4-FFF2-40B4-BE49-F238E27FC236}">
                          <a16:creationId xmlns:a16="http://schemas.microsoft.com/office/drawing/2014/main" id="{7ECD8939-66CA-AB4D-84EF-BD7E1473BF1A}"/>
                        </a:ext>
                      </a:extLst>
                    </p:cNvPr>
                    <p:cNvSpPr/>
                    <p:nvPr/>
                  </p:nvSpPr>
                  <p:spPr>
                    <a:xfrm rot="11224768">
                      <a:off x="3056459" y="5824265"/>
                      <a:ext cx="265331" cy="330232"/>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315" name="弧線 314">
                      <a:extLst>
                        <a:ext uri="{FF2B5EF4-FFF2-40B4-BE49-F238E27FC236}">
                          <a16:creationId xmlns:a16="http://schemas.microsoft.com/office/drawing/2014/main" id="{0E23223A-2822-0947-ABC0-BEF0C150E55E}"/>
                        </a:ext>
                      </a:extLst>
                    </p:cNvPr>
                    <p:cNvSpPr/>
                    <p:nvPr/>
                  </p:nvSpPr>
                  <p:spPr>
                    <a:xfrm rot="15828756">
                      <a:off x="3072576" y="5816861"/>
                      <a:ext cx="299197" cy="330232"/>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312" name="弧線 311">
                    <a:extLst>
                      <a:ext uri="{FF2B5EF4-FFF2-40B4-BE49-F238E27FC236}">
                        <a16:creationId xmlns:a16="http://schemas.microsoft.com/office/drawing/2014/main" id="{7D175923-8B75-0444-979D-20520C2B6624}"/>
                      </a:ext>
                    </a:extLst>
                  </p:cNvPr>
                  <p:cNvSpPr/>
                  <p:nvPr/>
                </p:nvSpPr>
                <p:spPr>
                  <a:xfrm rot="5657964">
                    <a:off x="3347031" y="5928155"/>
                    <a:ext cx="179171" cy="251115"/>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310" name="橢圓 309">
                  <a:extLst>
                    <a:ext uri="{FF2B5EF4-FFF2-40B4-BE49-F238E27FC236}">
                      <a16:creationId xmlns:a16="http://schemas.microsoft.com/office/drawing/2014/main" id="{B679AC59-16FF-2F48-BFAD-22DC15014773}"/>
                    </a:ext>
                  </a:extLst>
                </p:cNvPr>
                <p:cNvSpPr/>
                <p:nvPr/>
              </p:nvSpPr>
              <p:spPr>
                <a:xfrm rot="19020979">
                  <a:off x="4541243" y="5384809"/>
                  <a:ext cx="84351" cy="165313"/>
                </a:xfrm>
                <a:prstGeom prst="ellipse">
                  <a:avLst/>
                </a:prstGeom>
                <a:gradFill flip="none" rotWithShape="1">
                  <a:gsLst>
                    <a:gs pos="0">
                      <a:schemeClr val="accent6">
                        <a:lumMod val="50000"/>
                      </a:schemeClr>
                    </a:gs>
                    <a:gs pos="50000">
                      <a:schemeClr val="accent6"/>
                    </a:gs>
                    <a:gs pos="100000">
                      <a:schemeClr val="accent6">
                        <a:lumMod val="20000"/>
                        <a:lumOff val="80000"/>
                      </a:schemeClr>
                    </a:gs>
                  </a:gsLst>
                  <a:path path="circle">
                    <a:fillToRect l="50000" t="50000" r="50000" b="50000"/>
                  </a:path>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grpSp>
            <p:nvGrpSpPr>
              <p:cNvPr id="303" name="群組 302">
                <a:extLst>
                  <a:ext uri="{FF2B5EF4-FFF2-40B4-BE49-F238E27FC236}">
                    <a16:creationId xmlns:a16="http://schemas.microsoft.com/office/drawing/2014/main" id="{4DA24071-3801-6B48-AD38-6B100A133C36}"/>
                  </a:ext>
                </a:extLst>
              </p:cNvPr>
              <p:cNvGrpSpPr/>
              <p:nvPr/>
            </p:nvGrpSpPr>
            <p:grpSpPr>
              <a:xfrm rot="11388710">
                <a:off x="3913913" y="5002539"/>
                <a:ext cx="786679" cy="745330"/>
                <a:chOff x="3058410" y="5817880"/>
                <a:chExt cx="330512" cy="347501"/>
              </a:xfrm>
            </p:grpSpPr>
            <p:sp>
              <p:nvSpPr>
                <p:cNvPr id="306" name="弧線 305">
                  <a:extLst>
                    <a:ext uri="{FF2B5EF4-FFF2-40B4-BE49-F238E27FC236}">
                      <a16:creationId xmlns:a16="http://schemas.microsoft.com/office/drawing/2014/main" id="{83CF6907-9DB3-5644-9958-3CE0DFD79F9F}"/>
                    </a:ext>
                  </a:extLst>
                </p:cNvPr>
                <p:cNvSpPr/>
                <p:nvPr/>
              </p:nvSpPr>
              <p:spPr>
                <a:xfrm rot="21152590">
                  <a:off x="3089115" y="5835149"/>
                  <a:ext cx="265331" cy="330232"/>
                </a:xfrm>
                <a:prstGeom prst="arc">
                  <a:avLst/>
                </a:prstGeom>
                <a:ln w="317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307" name="弧線 306">
                  <a:extLst>
                    <a:ext uri="{FF2B5EF4-FFF2-40B4-BE49-F238E27FC236}">
                      <a16:creationId xmlns:a16="http://schemas.microsoft.com/office/drawing/2014/main" id="{7B695819-2554-E14D-8FE7-346512589AC4}"/>
                    </a:ext>
                  </a:extLst>
                </p:cNvPr>
                <p:cNvSpPr/>
                <p:nvPr/>
              </p:nvSpPr>
              <p:spPr>
                <a:xfrm rot="11224768">
                  <a:off x="3058410" y="5817880"/>
                  <a:ext cx="265331" cy="330232"/>
                </a:xfrm>
                <a:prstGeom prst="arc">
                  <a:avLst/>
                </a:prstGeom>
                <a:ln w="3175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308" name="弧線 307">
                  <a:extLst>
                    <a:ext uri="{FF2B5EF4-FFF2-40B4-BE49-F238E27FC236}">
                      <a16:creationId xmlns:a16="http://schemas.microsoft.com/office/drawing/2014/main" id="{F07ABD07-81D6-BB46-A577-F2392069B7FD}"/>
                    </a:ext>
                  </a:extLst>
                </p:cNvPr>
                <p:cNvSpPr/>
                <p:nvPr/>
              </p:nvSpPr>
              <p:spPr>
                <a:xfrm rot="15828756">
                  <a:off x="3074207" y="5818136"/>
                  <a:ext cx="299197" cy="330232"/>
                </a:xfrm>
                <a:prstGeom prst="arc">
                  <a:avLst/>
                </a:prstGeom>
                <a:ln w="31750">
                  <a:solidFill>
                    <a:srgbClr val="002060"/>
                  </a:solidFill>
                  <a:round/>
                  <a:tailEnd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304" name="手繪多邊形 303">
                <a:extLst>
                  <a:ext uri="{FF2B5EF4-FFF2-40B4-BE49-F238E27FC236}">
                    <a16:creationId xmlns:a16="http://schemas.microsoft.com/office/drawing/2014/main" id="{1D28FC2E-4411-A142-B92E-A257D16DEFE9}"/>
                  </a:ext>
                </a:extLst>
              </p:cNvPr>
              <p:cNvSpPr/>
              <p:nvPr/>
            </p:nvSpPr>
            <p:spPr>
              <a:xfrm>
                <a:off x="3997428" y="4985142"/>
                <a:ext cx="396772" cy="377813"/>
              </a:xfrm>
              <a:custGeom>
                <a:avLst/>
                <a:gdLst>
                  <a:gd name="connsiteX0" fmla="*/ 0 w 406400"/>
                  <a:gd name="connsiteY0" fmla="*/ 381000 h 381000"/>
                  <a:gd name="connsiteX1" fmla="*/ 12700 w 406400"/>
                  <a:gd name="connsiteY1" fmla="*/ 266700 h 381000"/>
                  <a:gd name="connsiteX2" fmla="*/ 63500 w 406400"/>
                  <a:gd name="connsiteY2" fmla="*/ 165100 h 381000"/>
                  <a:gd name="connsiteX3" fmla="*/ 190500 w 406400"/>
                  <a:gd name="connsiteY3" fmla="*/ 76200 h 381000"/>
                  <a:gd name="connsiteX4" fmla="*/ 317500 w 406400"/>
                  <a:gd name="connsiteY4" fmla="*/ 50800 h 381000"/>
                  <a:gd name="connsiteX5" fmla="*/ 406400 w 4064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400" h="381000">
                    <a:moveTo>
                      <a:pt x="0" y="381000"/>
                    </a:moveTo>
                    <a:cubicBezTo>
                      <a:pt x="1058" y="341841"/>
                      <a:pt x="2117" y="302683"/>
                      <a:pt x="12700" y="266700"/>
                    </a:cubicBezTo>
                    <a:cubicBezTo>
                      <a:pt x="23283" y="230717"/>
                      <a:pt x="33867" y="196850"/>
                      <a:pt x="63500" y="165100"/>
                    </a:cubicBezTo>
                    <a:cubicBezTo>
                      <a:pt x="93133" y="133350"/>
                      <a:pt x="148167" y="95250"/>
                      <a:pt x="190500" y="76200"/>
                    </a:cubicBezTo>
                    <a:cubicBezTo>
                      <a:pt x="232833" y="57150"/>
                      <a:pt x="281517" y="63500"/>
                      <a:pt x="317500" y="50800"/>
                    </a:cubicBezTo>
                    <a:cubicBezTo>
                      <a:pt x="353483" y="38100"/>
                      <a:pt x="379941" y="19050"/>
                      <a:pt x="406400" y="0"/>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
            <p:nvSpPr>
              <p:cNvPr id="305" name="橢圓 304">
                <a:extLst>
                  <a:ext uri="{FF2B5EF4-FFF2-40B4-BE49-F238E27FC236}">
                    <a16:creationId xmlns:a16="http://schemas.microsoft.com/office/drawing/2014/main" id="{60F4BEE8-2075-0843-9BB5-EB64411CFCD5}"/>
                  </a:ext>
                </a:extLst>
              </p:cNvPr>
              <p:cNvSpPr/>
              <p:nvPr/>
            </p:nvSpPr>
            <p:spPr>
              <a:xfrm>
                <a:off x="4470342" y="5018540"/>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316" name="文字方塊 315">
              <a:extLst>
                <a:ext uri="{FF2B5EF4-FFF2-40B4-BE49-F238E27FC236}">
                  <a16:creationId xmlns:a16="http://schemas.microsoft.com/office/drawing/2014/main" id="{6E53CA8C-E3D3-F749-B87B-316A4FE01037}"/>
                </a:ext>
              </a:extLst>
            </p:cNvPr>
            <p:cNvSpPr txBox="1"/>
            <p:nvPr/>
          </p:nvSpPr>
          <p:spPr>
            <a:xfrm>
              <a:off x="1804626" y="4898498"/>
              <a:ext cx="908093"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rc</a:t>
              </a: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 D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319" name="群組 318">
              <a:extLst>
                <a:ext uri="{FF2B5EF4-FFF2-40B4-BE49-F238E27FC236}">
                  <a16:creationId xmlns:a16="http://schemas.microsoft.com/office/drawing/2014/main" id="{866579E9-2054-5E49-9106-2773B0A384DC}"/>
                </a:ext>
              </a:extLst>
            </p:cNvPr>
            <p:cNvGrpSpPr/>
            <p:nvPr/>
          </p:nvGrpSpPr>
          <p:grpSpPr>
            <a:xfrm>
              <a:off x="1642884" y="3125885"/>
              <a:ext cx="530349" cy="448198"/>
              <a:chOff x="8316000" y="8964000"/>
              <a:chExt cx="1312419" cy="1170600"/>
            </a:xfrm>
          </p:grpSpPr>
          <p:sp>
            <p:nvSpPr>
              <p:cNvPr id="320" name="手繪多邊形 319">
                <a:extLst>
                  <a:ext uri="{FF2B5EF4-FFF2-40B4-BE49-F238E27FC236}">
                    <a16:creationId xmlns:a16="http://schemas.microsoft.com/office/drawing/2014/main" id="{972F04C2-FC7B-9F42-8DA4-D1AB84FAD396}"/>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1" name="手繪多邊形 320">
                <a:extLst>
                  <a:ext uri="{FF2B5EF4-FFF2-40B4-BE49-F238E27FC236}">
                    <a16:creationId xmlns:a16="http://schemas.microsoft.com/office/drawing/2014/main" id="{20DCA17C-778A-0D47-A929-9E3AD3C2FD5C}"/>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2" name="手繪多邊形 321">
                <a:extLst>
                  <a:ext uri="{FF2B5EF4-FFF2-40B4-BE49-F238E27FC236}">
                    <a16:creationId xmlns:a16="http://schemas.microsoft.com/office/drawing/2014/main" id="{E362E26E-BDC2-4A40-AA03-53A0F77A88C8}"/>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3" name="手繪多邊形 322">
                <a:extLst>
                  <a:ext uri="{FF2B5EF4-FFF2-40B4-BE49-F238E27FC236}">
                    <a16:creationId xmlns:a16="http://schemas.microsoft.com/office/drawing/2014/main" id="{5614E4A9-9415-384C-9370-E896D6030F88}"/>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alpha val="97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4" name="手繪多邊形 323">
                <a:extLst>
                  <a:ext uri="{FF2B5EF4-FFF2-40B4-BE49-F238E27FC236}">
                    <a16:creationId xmlns:a16="http://schemas.microsoft.com/office/drawing/2014/main" id="{AAD26DB3-3A73-9B43-B68C-2CFCA765F3B0}"/>
                  </a:ext>
                </a:extLst>
              </p:cNvPr>
              <p:cNvSpPr/>
              <p:nvPr/>
            </p:nvSpPr>
            <p:spPr>
              <a:xfrm rot="60000">
                <a:off x="9279466" y="9000067"/>
                <a:ext cx="344691" cy="536768"/>
              </a:xfrm>
              <a:custGeom>
                <a:avLst/>
                <a:gdLst>
                  <a:gd name="connsiteX0" fmla="*/ 12700 w 330200"/>
                  <a:gd name="connsiteY0" fmla="*/ 0 h 533400"/>
                  <a:gd name="connsiteX1" fmla="*/ 0 w 330200"/>
                  <a:gd name="connsiteY1" fmla="*/ 520700 h 533400"/>
                  <a:gd name="connsiteX2" fmla="*/ 330200 w 330200"/>
                  <a:gd name="connsiteY2" fmla="*/ 533400 h 533400"/>
                  <a:gd name="connsiteX3" fmla="*/ 12700 w 330200"/>
                  <a:gd name="connsiteY3" fmla="*/ 0 h 533400"/>
                </a:gdLst>
                <a:ahLst/>
                <a:cxnLst>
                  <a:cxn ang="0">
                    <a:pos x="connsiteX0" y="connsiteY0"/>
                  </a:cxn>
                  <a:cxn ang="0">
                    <a:pos x="connsiteX1" y="connsiteY1"/>
                  </a:cxn>
                  <a:cxn ang="0">
                    <a:pos x="connsiteX2" y="connsiteY2"/>
                  </a:cxn>
                  <a:cxn ang="0">
                    <a:pos x="connsiteX3" y="connsiteY3"/>
                  </a:cxn>
                </a:cxnLst>
                <a:rect l="l" t="t" r="r" b="b"/>
                <a:pathLst>
                  <a:path w="330200" h="533400">
                    <a:moveTo>
                      <a:pt x="12700" y="0"/>
                    </a:moveTo>
                    <a:lnTo>
                      <a:pt x="0" y="520700"/>
                    </a:lnTo>
                    <a:lnTo>
                      <a:pt x="330200" y="533400"/>
                    </a:lnTo>
                    <a:lnTo>
                      <a:pt x="1270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5" name="手繪多邊形 324">
                <a:extLst>
                  <a:ext uri="{FF2B5EF4-FFF2-40B4-BE49-F238E27FC236}">
                    <a16:creationId xmlns:a16="http://schemas.microsoft.com/office/drawing/2014/main" id="{93650CD2-D306-144B-8F42-30B98E073934}"/>
                  </a:ext>
                </a:extLst>
              </p:cNvPr>
              <p:cNvSpPr/>
              <p:nvPr/>
            </p:nvSpPr>
            <p:spPr>
              <a:xfrm>
                <a:off x="9268419" y="9521085"/>
                <a:ext cx="360000" cy="612000"/>
              </a:xfrm>
              <a:custGeom>
                <a:avLst/>
                <a:gdLst>
                  <a:gd name="connsiteX0" fmla="*/ 0 w 355600"/>
                  <a:gd name="connsiteY0" fmla="*/ 0 h 609600"/>
                  <a:gd name="connsiteX1" fmla="*/ 25400 w 355600"/>
                  <a:gd name="connsiteY1" fmla="*/ 609600 h 609600"/>
                  <a:gd name="connsiteX2" fmla="*/ 355600 w 355600"/>
                  <a:gd name="connsiteY2" fmla="*/ 25400 h 609600"/>
                  <a:gd name="connsiteX3" fmla="*/ 0 w 355600"/>
                  <a:gd name="connsiteY3" fmla="*/ 0 h 609600"/>
                </a:gdLst>
                <a:ahLst/>
                <a:cxnLst>
                  <a:cxn ang="0">
                    <a:pos x="connsiteX0" y="connsiteY0"/>
                  </a:cxn>
                  <a:cxn ang="0">
                    <a:pos x="connsiteX1" y="connsiteY1"/>
                  </a:cxn>
                  <a:cxn ang="0">
                    <a:pos x="connsiteX2" y="connsiteY2"/>
                  </a:cxn>
                  <a:cxn ang="0">
                    <a:pos x="connsiteX3" y="connsiteY3"/>
                  </a:cxn>
                </a:cxnLst>
                <a:rect l="l" t="t" r="r" b="b"/>
                <a:pathLst>
                  <a:path w="355600" h="609600">
                    <a:moveTo>
                      <a:pt x="0" y="0"/>
                    </a:moveTo>
                    <a:lnTo>
                      <a:pt x="25400" y="609600"/>
                    </a:lnTo>
                    <a:lnTo>
                      <a:pt x="355600" y="25400"/>
                    </a:lnTo>
                    <a:lnTo>
                      <a:pt x="0" y="0"/>
                    </a:lnTo>
                    <a:close/>
                  </a:path>
                </a:pathLst>
              </a:custGeom>
              <a:solidFill>
                <a:schemeClr val="accent6">
                  <a:lumMod val="75000"/>
                  <a:alpha val="83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6" name="手繪多邊形 325">
                <a:extLst>
                  <a:ext uri="{FF2B5EF4-FFF2-40B4-BE49-F238E27FC236}">
                    <a16:creationId xmlns:a16="http://schemas.microsoft.com/office/drawing/2014/main" id="{4A3826E0-F349-DE48-994D-F67D43F8595B}"/>
                  </a:ext>
                </a:extLst>
              </p:cNvPr>
              <p:cNvSpPr/>
              <p:nvPr/>
            </p:nvSpPr>
            <p:spPr>
              <a:xfrm rot="60000">
                <a:off x="8805334" y="9516533"/>
                <a:ext cx="482600" cy="609600"/>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7" name="手繪多邊形 326">
                <a:extLst>
                  <a:ext uri="{FF2B5EF4-FFF2-40B4-BE49-F238E27FC236}">
                    <a16:creationId xmlns:a16="http://schemas.microsoft.com/office/drawing/2014/main" id="{F644F2D3-034B-3146-9B96-9B3E4843B28C}"/>
                  </a:ext>
                </a:extLst>
              </p:cNvPr>
              <p:cNvSpPr/>
              <p:nvPr/>
            </p:nvSpPr>
            <p:spPr>
              <a:xfrm>
                <a:off x="8652933" y="9626600"/>
                <a:ext cx="635000" cy="508000"/>
              </a:xfrm>
              <a:custGeom>
                <a:avLst/>
                <a:gdLst>
                  <a:gd name="connsiteX0" fmla="*/ 152400 w 635000"/>
                  <a:gd name="connsiteY0" fmla="*/ 0 h 508000"/>
                  <a:gd name="connsiteX1" fmla="*/ 0 w 635000"/>
                  <a:gd name="connsiteY1" fmla="*/ 508000 h 508000"/>
                  <a:gd name="connsiteX2" fmla="*/ 635000 w 635000"/>
                  <a:gd name="connsiteY2" fmla="*/ 499533 h 508000"/>
                  <a:gd name="connsiteX3" fmla="*/ 152400 w 635000"/>
                  <a:gd name="connsiteY3" fmla="*/ 0 h 508000"/>
                </a:gdLst>
                <a:ahLst/>
                <a:cxnLst>
                  <a:cxn ang="0">
                    <a:pos x="connsiteX0" y="connsiteY0"/>
                  </a:cxn>
                  <a:cxn ang="0">
                    <a:pos x="connsiteX1" y="connsiteY1"/>
                  </a:cxn>
                  <a:cxn ang="0">
                    <a:pos x="connsiteX2" y="connsiteY2"/>
                  </a:cxn>
                  <a:cxn ang="0">
                    <a:pos x="connsiteX3" y="connsiteY3"/>
                  </a:cxn>
                </a:cxnLst>
                <a:rect l="l" t="t" r="r" b="b"/>
                <a:pathLst>
                  <a:path w="635000" h="508000">
                    <a:moveTo>
                      <a:pt x="152400" y="0"/>
                    </a:moveTo>
                    <a:lnTo>
                      <a:pt x="0" y="508000"/>
                    </a:lnTo>
                    <a:lnTo>
                      <a:pt x="635000" y="499533"/>
                    </a:lnTo>
                    <a:lnTo>
                      <a:pt x="152400" y="0"/>
                    </a:lnTo>
                    <a:close/>
                  </a:path>
                </a:pathLst>
              </a:custGeom>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8" name="手繪多邊形 327">
                <a:extLst>
                  <a:ext uri="{FF2B5EF4-FFF2-40B4-BE49-F238E27FC236}">
                    <a16:creationId xmlns:a16="http://schemas.microsoft.com/office/drawing/2014/main" id="{E1FBBFAC-0B1A-8C4E-8BE8-9D2948C16D7E}"/>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29" name="手繪多邊形 328">
                <a:extLst>
                  <a:ext uri="{FF2B5EF4-FFF2-40B4-BE49-F238E27FC236}">
                    <a16:creationId xmlns:a16="http://schemas.microsoft.com/office/drawing/2014/main" id="{EABADD74-EA21-E245-BE23-35BA161C37ED}"/>
                  </a:ext>
                </a:extLst>
              </p:cNvPr>
              <p:cNvSpPr/>
              <p:nvPr/>
            </p:nvSpPr>
            <p:spPr>
              <a:xfrm>
                <a:off x="8644467" y="9635067"/>
                <a:ext cx="635000" cy="499533"/>
              </a:xfrm>
              <a:custGeom>
                <a:avLst/>
                <a:gdLst>
                  <a:gd name="connsiteX0" fmla="*/ 152400 w 635000"/>
                  <a:gd name="connsiteY0" fmla="*/ 0 h 499533"/>
                  <a:gd name="connsiteX1" fmla="*/ 0 w 635000"/>
                  <a:gd name="connsiteY1" fmla="*/ 499533 h 499533"/>
                  <a:gd name="connsiteX2" fmla="*/ 635000 w 635000"/>
                  <a:gd name="connsiteY2" fmla="*/ 491066 h 499533"/>
                  <a:gd name="connsiteX3" fmla="*/ 635000 w 635000"/>
                  <a:gd name="connsiteY3" fmla="*/ 491066 h 499533"/>
                </a:gdLst>
                <a:ahLst/>
                <a:cxnLst>
                  <a:cxn ang="0">
                    <a:pos x="connsiteX0" y="connsiteY0"/>
                  </a:cxn>
                  <a:cxn ang="0">
                    <a:pos x="connsiteX1" y="connsiteY1"/>
                  </a:cxn>
                  <a:cxn ang="0">
                    <a:pos x="connsiteX2" y="connsiteY2"/>
                  </a:cxn>
                  <a:cxn ang="0">
                    <a:pos x="connsiteX3" y="connsiteY3"/>
                  </a:cxn>
                </a:cxnLst>
                <a:rect l="l" t="t" r="r" b="b"/>
                <a:pathLst>
                  <a:path w="635000" h="499533">
                    <a:moveTo>
                      <a:pt x="152400" y="0"/>
                    </a:moveTo>
                    <a:lnTo>
                      <a:pt x="0" y="499533"/>
                    </a:lnTo>
                    <a:lnTo>
                      <a:pt x="635000" y="491066"/>
                    </a:lnTo>
                    <a:lnTo>
                      <a:pt x="635000" y="491066"/>
                    </a:lnTo>
                  </a:path>
                </a:pathLst>
              </a:custGeom>
              <a:solidFill>
                <a:schemeClr val="accent6">
                  <a:lumMod val="60000"/>
                  <a:lumOff val="40000"/>
                  <a:alpha val="7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30" name="手繪多邊形 329">
                <a:extLst>
                  <a:ext uri="{FF2B5EF4-FFF2-40B4-BE49-F238E27FC236}">
                    <a16:creationId xmlns:a16="http://schemas.microsoft.com/office/drawing/2014/main" id="{A721E45A-E254-924F-ACB7-6FB215DF8D1B}"/>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cxnSp>
          <p:nvCxnSpPr>
            <p:cNvPr id="335" name="直線箭頭接點 334">
              <a:extLst>
                <a:ext uri="{FF2B5EF4-FFF2-40B4-BE49-F238E27FC236}">
                  <a16:creationId xmlns:a16="http://schemas.microsoft.com/office/drawing/2014/main" id="{AA4C45F9-6B26-724F-BB47-FC7AC3328078}"/>
                </a:ext>
              </a:extLst>
            </p:cNvPr>
            <p:cNvCxnSpPr>
              <a:cxnSpLocks/>
            </p:cNvCxnSpPr>
            <p:nvPr/>
          </p:nvCxnSpPr>
          <p:spPr>
            <a:xfrm>
              <a:off x="2021956" y="3618619"/>
              <a:ext cx="24583" cy="17134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7" name="手繪多邊形 336">
              <a:extLst>
                <a:ext uri="{FF2B5EF4-FFF2-40B4-BE49-F238E27FC236}">
                  <a16:creationId xmlns:a16="http://schemas.microsoft.com/office/drawing/2014/main" id="{7892322D-5E68-784E-AC35-1BC3E0C5C6A9}"/>
                </a:ext>
              </a:extLst>
            </p:cNvPr>
            <p:cNvSpPr/>
            <p:nvPr/>
          </p:nvSpPr>
          <p:spPr>
            <a:xfrm>
              <a:off x="1778517" y="2844714"/>
              <a:ext cx="109993" cy="262577"/>
            </a:xfrm>
            <a:custGeom>
              <a:avLst/>
              <a:gdLst>
                <a:gd name="connsiteX0" fmla="*/ 229857 w 272191"/>
                <a:gd name="connsiteY0" fmla="*/ 0 h 685800"/>
                <a:gd name="connsiteX1" fmla="*/ 43591 w 272191"/>
                <a:gd name="connsiteY1" fmla="*/ 110067 h 685800"/>
                <a:gd name="connsiteX2" fmla="*/ 18191 w 272191"/>
                <a:gd name="connsiteY2" fmla="*/ 321734 h 685800"/>
                <a:gd name="connsiteX3" fmla="*/ 272191 w 272191"/>
                <a:gd name="connsiteY3" fmla="*/ 685800 h 685800"/>
                <a:gd name="connsiteX4" fmla="*/ 272191 w 272191"/>
                <a:gd name="connsiteY4" fmla="*/ 6858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191" h="685800">
                  <a:moveTo>
                    <a:pt x="229857" y="0"/>
                  </a:moveTo>
                  <a:cubicBezTo>
                    <a:pt x="154363" y="28222"/>
                    <a:pt x="78869" y="56445"/>
                    <a:pt x="43591" y="110067"/>
                  </a:cubicBezTo>
                  <a:cubicBezTo>
                    <a:pt x="8313" y="163689"/>
                    <a:pt x="-19909" y="225778"/>
                    <a:pt x="18191" y="321734"/>
                  </a:cubicBezTo>
                  <a:cubicBezTo>
                    <a:pt x="56291" y="417690"/>
                    <a:pt x="272191" y="685800"/>
                    <a:pt x="272191" y="685800"/>
                  </a:cubicBezTo>
                  <a:lnTo>
                    <a:pt x="272191" y="685800"/>
                  </a:lnTo>
                </a:path>
              </a:pathLst>
            </a:custGeom>
            <a:noFill/>
            <a:ln w="57150">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cxnSp>
          <p:nvCxnSpPr>
            <p:cNvPr id="355" name="直線箭頭接點 354">
              <a:extLst>
                <a:ext uri="{FF2B5EF4-FFF2-40B4-BE49-F238E27FC236}">
                  <a16:creationId xmlns:a16="http://schemas.microsoft.com/office/drawing/2014/main" id="{547DF374-F6A7-044C-B162-22499490FBE0}"/>
                </a:ext>
              </a:extLst>
            </p:cNvPr>
            <p:cNvCxnSpPr>
              <a:cxnSpLocks/>
            </p:cNvCxnSpPr>
            <p:nvPr/>
          </p:nvCxnSpPr>
          <p:spPr>
            <a:xfrm>
              <a:off x="2363701" y="5334231"/>
              <a:ext cx="539904" cy="26830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64" name="群組 363">
              <a:extLst>
                <a:ext uri="{FF2B5EF4-FFF2-40B4-BE49-F238E27FC236}">
                  <a16:creationId xmlns:a16="http://schemas.microsoft.com/office/drawing/2014/main" id="{85DD2D25-E664-7D48-BFA9-C46357E9F28A}"/>
                </a:ext>
              </a:extLst>
            </p:cNvPr>
            <p:cNvGrpSpPr/>
            <p:nvPr/>
          </p:nvGrpSpPr>
          <p:grpSpPr>
            <a:xfrm>
              <a:off x="2891786" y="5645401"/>
              <a:ext cx="557466" cy="118058"/>
              <a:chOff x="2131544" y="18064545"/>
              <a:chExt cx="1379526" cy="308344"/>
            </a:xfrm>
          </p:grpSpPr>
          <p:grpSp>
            <p:nvGrpSpPr>
              <p:cNvPr id="365" name="群組 364">
                <a:extLst>
                  <a:ext uri="{FF2B5EF4-FFF2-40B4-BE49-F238E27FC236}">
                    <a16:creationId xmlns:a16="http://schemas.microsoft.com/office/drawing/2014/main" id="{1477C23B-58B2-9946-AD02-93E938BCB1E2}"/>
                  </a:ext>
                </a:extLst>
              </p:cNvPr>
              <p:cNvGrpSpPr/>
              <p:nvPr/>
            </p:nvGrpSpPr>
            <p:grpSpPr>
              <a:xfrm>
                <a:off x="2159125" y="18102500"/>
                <a:ext cx="1324940" cy="237067"/>
                <a:chOff x="2158802" y="18101733"/>
                <a:chExt cx="1324940" cy="237067"/>
              </a:xfrm>
            </p:grpSpPr>
            <p:sp>
              <p:nvSpPr>
                <p:cNvPr id="424" name="橢圓 423">
                  <a:extLst>
                    <a:ext uri="{FF2B5EF4-FFF2-40B4-BE49-F238E27FC236}">
                      <a16:creationId xmlns:a16="http://schemas.microsoft.com/office/drawing/2014/main" id="{B36A6B93-0232-8F46-8F9B-8F68FA712478}"/>
                    </a:ext>
                  </a:extLst>
                </p:cNvPr>
                <p:cNvSpPr/>
                <p:nvPr/>
              </p:nvSpPr>
              <p:spPr>
                <a:xfrm>
                  <a:off x="2158802" y="18101733"/>
                  <a:ext cx="443011" cy="237067"/>
                </a:xfrm>
                <a:prstGeom prst="ellipse">
                  <a:avLst/>
                </a:prstGeom>
                <a:noFill/>
                <a:ln w="12700">
                  <a:solidFill>
                    <a:srgbClr val="5D2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5" name="橢圓 424">
                  <a:extLst>
                    <a:ext uri="{FF2B5EF4-FFF2-40B4-BE49-F238E27FC236}">
                      <a16:creationId xmlns:a16="http://schemas.microsoft.com/office/drawing/2014/main" id="{C0314603-4B2D-1B4A-8026-1A67AE9A0B44}"/>
                    </a:ext>
                  </a:extLst>
                </p:cNvPr>
                <p:cNvSpPr/>
                <p:nvPr/>
              </p:nvSpPr>
              <p:spPr>
                <a:xfrm>
                  <a:off x="2607303" y="18101733"/>
                  <a:ext cx="443011" cy="237067"/>
                </a:xfrm>
                <a:prstGeom prst="ellipse">
                  <a:avLst/>
                </a:prstGeom>
                <a:noFill/>
                <a:ln w="12700">
                  <a:solidFill>
                    <a:srgbClr val="5D2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6" name="橢圓 425">
                  <a:extLst>
                    <a:ext uri="{FF2B5EF4-FFF2-40B4-BE49-F238E27FC236}">
                      <a16:creationId xmlns:a16="http://schemas.microsoft.com/office/drawing/2014/main" id="{6DE5D0CE-7921-3C47-8064-56ADED7C37BE}"/>
                    </a:ext>
                  </a:extLst>
                </p:cNvPr>
                <p:cNvSpPr/>
                <p:nvPr/>
              </p:nvSpPr>
              <p:spPr>
                <a:xfrm>
                  <a:off x="3040731" y="18101733"/>
                  <a:ext cx="443011" cy="237067"/>
                </a:xfrm>
                <a:prstGeom prst="ellipse">
                  <a:avLst/>
                </a:prstGeom>
                <a:noFill/>
                <a:ln w="12700">
                  <a:solidFill>
                    <a:srgbClr val="5D2D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366" name="橢圓 365">
                <a:extLst>
                  <a:ext uri="{FF2B5EF4-FFF2-40B4-BE49-F238E27FC236}">
                    <a16:creationId xmlns:a16="http://schemas.microsoft.com/office/drawing/2014/main" id="{FE0D693A-745F-6443-A708-899498FDB51C}"/>
                  </a:ext>
                </a:extLst>
              </p:cNvPr>
              <p:cNvSpPr/>
              <p:nvPr/>
            </p:nvSpPr>
            <p:spPr>
              <a:xfrm>
                <a:off x="3010500" y="1820902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367" name="群組 366">
                <a:extLst>
                  <a:ext uri="{FF2B5EF4-FFF2-40B4-BE49-F238E27FC236}">
                    <a16:creationId xmlns:a16="http://schemas.microsoft.com/office/drawing/2014/main" id="{59FD5117-1F27-B74F-915C-4DA0C9457AAA}"/>
                  </a:ext>
                </a:extLst>
              </p:cNvPr>
              <p:cNvGrpSpPr/>
              <p:nvPr/>
            </p:nvGrpSpPr>
            <p:grpSpPr>
              <a:xfrm>
                <a:off x="2604695" y="18239148"/>
                <a:ext cx="442086" cy="133741"/>
                <a:chOff x="2604695" y="18239148"/>
                <a:chExt cx="442086" cy="133741"/>
              </a:xfrm>
            </p:grpSpPr>
            <p:sp>
              <p:nvSpPr>
                <p:cNvPr id="416" name="橢圓 415">
                  <a:extLst>
                    <a:ext uri="{FF2B5EF4-FFF2-40B4-BE49-F238E27FC236}">
                      <a16:creationId xmlns:a16="http://schemas.microsoft.com/office/drawing/2014/main" id="{A231A24A-40F8-5741-B7EA-5D906E3C22DB}"/>
                    </a:ext>
                  </a:extLst>
                </p:cNvPr>
                <p:cNvSpPr/>
                <p:nvPr/>
              </p:nvSpPr>
              <p:spPr>
                <a:xfrm>
                  <a:off x="2604695" y="1823914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7" name="橢圓 416">
                  <a:extLst>
                    <a:ext uri="{FF2B5EF4-FFF2-40B4-BE49-F238E27FC236}">
                      <a16:creationId xmlns:a16="http://schemas.microsoft.com/office/drawing/2014/main" id="{CDDE9703-36E3-1F40-B706-7A173E8C966F}"/>
                    </a:ext>
                  </a:extLst>
                </p:cNvPr>
                <p:cNvSpPr/>
                <p:nvPr/>
              </p:nvSpPr>
              <p:spPr>
                <a:xfrm>
                  <a:off x="2652543" y="1828167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8" name="橢圓 417">
                  <a:extLst>
                    <a:ext uri="{FF2B5EF4-FFF2-40B4-BE49-F238E27FC236}">
                      <a16:creationId xmlns:a16="http://schemas.microsoft.com/office/drawing/2014/main" id="{C40F51F0-8520-7E44-9969-42B9BFF91DAA}"/>
                    </a:ext>
                  </a:extLst>
                </p:cNvPr>
                <p:cNvSpPr/>
                <p:nvPr/>
              </p:nvSpPr>
              <p:spPr>
                <a:xfrm>
                  <a:off x="2705703" y="18302942"/>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9" name="橢圓 418">
                  <a:extLst>
                    <a:ext uri="{FF2B5EF4-FFF2-40B4-BE49-F238E27FC236}">
                      <a16:creationId xmlns:a16="http://schemas.microsoft.com/office/drawing/2014/main" id="{1CBDF1B2-F9AF-274D-9A01-754EF3F4A25C}"/>
                    </a:ext>
                  </a:extLst>
                </p:cNvPr>
                <p:cNvSpPr/>
                <p:nvPr/>
              </p:nvSpPr>
              <p:spPr>
                <a:xfrm>
                  <a:off x="2764182" y="18313575"/>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0" name="橢圓 419">
                  <a:extLst>
                    <a:ext uri="{FF2B5EF4-FFF2-40B4-BE49-F238E27FC236}">
                      <a16:creationId xmlns:a16="http://schemas.microsoft.com/office/drawing/2014/main" id="{E4C8E49A-D59F-A24B-96B0-3FB05E569904}"/>
                    </a:ext>
                  </a:extLst>
                </p:cNvPr>
                <p:cNvSpPr/>
                <p:nvPr/>
              </p:nvSpPr>
              <p:spPr>
                <a:xfrm>
                  <a:off x="2822662" y="18318889"/>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1" name="橢圓 420">
                  <a:extLst>
                    <a:ext uri="{FF2B5EF4-FFF2-40B4-BE49-F238E27FC236}">
                      <a16:creationId xmlns:a16="http://schemas.microsoft.com/office/drawing/2014/main" id="{443C2A8A-ED65-AA48-89E1-394A747A66ED}"/>
                    </a:ext>
                  </a:extLst>
                </p:cNvPr>
                <p:cNvSpPr/>
                <p:nvPr/>
              </p:nvSpPr>
              <p:spPr>
                <a:xfrm>
                  <a:off x="2886456" y="1830825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2" name="橢圓 421">
                  <a:extLst>
                    <a:ext uri="{FF2B5EF4-FFF2-40B4-BE49-F238E27FC236}">
                      <a16:creationId xmlns:a16="http://schemas.microsoft.com/office/drawing/2014/main" id="{3A3D6ECC-7177-0548-B697-DEE5C2F4BE03}"/>
                    </a:ext>
                  </a:extLst>
                </p:cNvPr>
                <p:cNvSpPr/>
                <p:nvPr/>
              </p:nvSpPr>
              <p:spPr>
                <a:xfrm>
                  <a:off x="2944934" y="1828699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23" name="橢圓 422">
                  <a:extLst>
                    <a:ext uri="{FF2B5EF4-FFF2-40B4-BE49-F238E27FC236}">
                      <a16:creationId xmlns:a16="http://schemas.microsoft.com/office/drawing/2014/main" id="{A704614C-2555-FC44-9B03-DE61F1ADF144}"/>
                    </a:ext>
                  </a:extLst>
                </p:cNvPr>
                <p:cNvSpPr/>
                <p:nvPr/>
              </p:nvSpPr>
              <p:spPr>
                <a:xfrm>
                  <a:off x="2992781" y="1825509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368" name="橢圓 367">
                <a:extLst>
                  <a:ext uri="{FF2B5EF4-FFF2-40B4-BE49-F238E27FC236}">
                    <a16:creationId xmlns:a16="http://schemas.microsoft.com/office/drawing/2014/main" id="{F312302F-943C-3F49-97D1-7EF98D6B99B8}"/>
                  </a:ext>
                </a:extLst>
              </p:cNvPr>
              <p:cNvSpPr/>
              <p:nvPr/>
            </p:nvSpPr>
            <p:spPr>
              <a:xfrm>
                <a:off x="2131544" y="18185983"/>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369" name="群組 368">
                <a:extLst>
                  <a:ext uri="{FF2B5EF4-FFF2-40B4-BE49-F238E27FC236}">
                    <a16:creationId xmlns:a16="http://schemas.microsoft.com/office/drawing/2014/main" id="{FD0C08ED-8223-8B4D-952F-E6670DEC441E}"/>
                  </a:ext>
                </a:extLst>
              </p:cNvPr>
              <p:cNvGrpSpPr/>
              <p:nvPr/>
            </p:nvGrpSpPr>
            <p:grpSpPr>
              <a:xfrm>
                <a:off x="3043950" y="18239148"/>
                <a:ext cx="442086" cy="133741"/>
                <a:chOff x="2604695" y="18239148"/>
                <a:chExt cx="442086" cy="133741"/>
              </a:xfrm>
            </p:grpSpPr>
            <p:sp>
              <p:nvSpPr>
                <p:cNvPr id="408" name="橢圓 407">
                  <a:extLst>
                    <a:ext uri="{FF2B5EF4-FFF2-40B4-BE49-F238E27FC236}">
                      <a16:creationId xmlns:a16="http://schemas.microsoft.com/office/drawing/2014/main" id="{1076D72D-7B91-E046-90B6-0ED6D02F1C9C}"/>
                    </a:ext>
                  </a:extLst>
                </p:cNvPr>
                <p:cNvSpPr/>
                <p:nvPr/>
              </p:nvSpPr>
              <p:spPr>
                <a:xfrm>
                  <a:off x="2604695" y="1823914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9" name="橢圓 408">
                  <a:extLst>
                    <a:ext uri="{FF2B5EF4-FFF2-40B4-BE49-F238E27FC236}">
                      <a16:creationId xmlns:a16="http://schemas.microsoft.com/office/drawing/2014/main" id="{0ECCEDBD-FE91-D84B-B824-FE0B7D6B4C19}"/>
                    </a:ext>
                  </a:extLst>
                </p:cNvPr>
                <p:cNvSpPr/>
                <p:nvPr/>
              </p:nvSpPr>
              <p:spPr>
                <a:xfrm>
                  <a:off x="2652543" y="1828167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0" name="橢圓 409">
                  <a:extLst>
                    <a:ext uri="{FF2B5EF4-FFF2-40B4-BE49-F238E27FC236}">
                      <a16:creationId xmlns:a16="http://schemas.microsoft.com/office/drawing/2014/main" id="{58B21368-233A-A043-9EE0-C659C9CE5054}"/>
                    </a:ext>
                  </a:extLst>
                </p:cNvPr>
                <p:cNvSpPr/>
                <p:nvPr/>
              </p:nvSpPr>
              <p:spPr>
                <a:xfrm>
                  <a:off x="2705703" y="18302942"/>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1" name="橢圓 410">
                  <a:extLst>
                    <a:ext uri="{FF2B5EF4-FFF2-40B4-BE49-F238E27FC236}">
                      <a16:creationId xmlns:a16="http://schemas.microsoft.com/office/drawing/2014/main" id="{7F7E7E3F-874B-004F-B346-F552A0953F5C}"/>
                    </a:ext>
                  </a:extLst>
                </p:cNvPr>
                <p:cNvSpPr/>
                <p:nvPr/>
              </p:nvSpPr>
              <p:spPr>
                <a:xfrm>
                  <a:off x="2764182" y="18313575"/>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2" name="橢圓 411">
                  <a:extLst>
                    <a:ext uri="{FF2B5EF4-FFF2-40B4-BE49-F238E27FC236}">
                      <a16:creationId xmlns:a16="http://schemas.microsoft.com/office/drawing/2014/main" id="{E2FCFAB4-72C0-254B-8324-20F1C5DBB95E}"/>
                    </a:ext>
                  </a:extLst>
                </p:cNvPr>
                <p:cNvSpPr/>
                <p:nvPr/>
              </p:nvSpPr>
              <p:spPr>
                <a:xfrm>
                  <a:off x="2822662" y="18318889"/>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3" name="橢圓 412">
                  <a:extLst>
                    <a:ext uri="{FF2B5EF4-FFF2-40B4-BE49-F238E27FC236}">
                      <a16:creationId xmlns:a16="http://schemas.microsoft.com/office/drawing/2014/main" id="{544E2A71-6EBE-BF46-BB90-AF750C1B535D}"/>
                    </a:ext>
                  </a:extLst>
                </p:cNvPr>
                <p:cNvSpPr/>
                <p:nvPr/>
              </p:nvSpPr>
              <p:spPr>
                <a:xfrm>
                  <a:off x="2886456" y="1830825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4" name="橢圓 413">
                  <a:extLst>
                    <a:ext uri="{FF2B5EF4-FFF2-40B4-BE49-F238E27FC236}">
                      <a16:creationId xmlns:a16="http://schemas.microsoft.com/office/drawing/2014/main" id="{EEE47B03-BE92-6D4D-8ECA-0244B025EDB6}"/>
                    </a:ext>
                  </a:extLst>
                </p:cNvPr>
                <p:cNvSpPr/>
                <p:nvPr/>
              </p:nvSpPr>
              <p:spPr>
                <a:xfrm>
                  <a:off x="2944934" y="1828699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15" name="橢圓 414">
                  <a:extLst>
                    <a:ext uri="{FF2B5EF4-FFF2-40B4-BE49-F238E27FC236}">
                      <a16:creationId xmlns:a16="http://schemas.microsoft.com/office/drawing/2014/main" id="{6610412A-9899-5442-A712-36682BA7B151}"/>
                    </a:ext>
                  </a:extLst>
                </p:cNvPr>
                <p:cNvSpPr/>
                <p:nvPr/>
              </p:nvSpPr>
              <p:spPr>
                <a:xfrm>
                  <a:off x="2992781" y="1825509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370" name="群組 369">
                <a:extLst>
                  <a:ext uri="{FF2B5EF4-FFF2-40B4-BE49-F238E27FC236}">
                    <a16:creationId xmlns:a16="http://schemas.microsoft.com/office/drawing/2014/main" id="{EEA43013-6BE1-EC4E-ADA2-4FB300EF6C25}"/>
                  </a:ext>
                </a:extLst>
              </p:cNvPr>
              <p:cNvGrpSpPr/>
              <p:nvPr/>
            </p:nvGrpSpPr>
            <p:grpSpPr>
              <a:xfrm>
                <a:off x="2154444" y="18236071"/>
                <a:ext cx="442086" cy="133741"/>
                <a:chOff x="2604695" y="18239148"/>
                <a:chExt cx="442086" cy="133741"/>
              </a:xfrm>
            </p:grpSpPr>
            <p:sp>
              <p:nvSpPr>
                <p:cNvPr id="400" name="橢圓 399">
                  <a:extLst>
                    <a:ext uri="{FF2B5EF4-FFF2-40B4-BE49-F238E27FC236}">
                      <a16:creationId xmlns:a16="http://schemas.microsoft.com/office/drawing/2014/main" id="{DFAD078D-8A65-3A49-B2F1-86BCEB6600CA}"/>
                    </a:ext>
                  </a:extLst>
                </p:cNvPr>
                <p:cNvSpPr/>
                <p:nvPr/>
              </p:nvSpPr>
              <p:spPr>
                <a:xfrm>
                  <a:off x="2604695" y="1823914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1" name="橢圓 400">
                  <a:extLst>
                    <a:ext uri="{FF2B5EF4-FFF2-40B4-BE49-F238E27FC236}">
                      <a16:creationId xmlns:a16="http://schemas.microsoft.com/office/drawing/2014/main" id="{35F2F283-CF79-3249-9579-063A05561F2D}"/>
                    </a:ext>
                  </a:extLst>
                </p:cNvPr>
                <p:cNvSpPr/>
                <p:nvPr/>
              </p:nvSpPr>
              <p:spPr>
                <a:xfrm>
                  <a:off x="2652543" y="1828167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2" name="橢圓 401">
                  <a:extLst>
                    <a:ext uri="{FF2B5EF4-FFF2-40B4-BE49-F238E27FC236}">
                      <a16:creationId xmlns:a16="http://schemas.microsoft.com/office/drawing/2014/main" id="{829BE1A7-2368-B846-85DE-7C6BC5E5A4EC}"/>
                    </a:ext>
                  </a:extLst>
                </p:cNvPr>
                <p:cNvSpPr/>
                <p:nvPr/>
              </p:nvSpPr>
              <p:spPr>
                <a:xfrm>
                  <a:off x="2705703" y="18302942"/>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3" name="橢圓 402">
                  <a:extLst>
                    <a:ext uri="{FF2B5EF4-FFF2-40B4-BE49-F238E27FC236}">
                      <a16:creationId xmlns:a16="http://schemas.microsoft.com/office/drawing/2014/main" id="{7FAFA412-1EB2-8841-8C05-E37C283E1B5E}"/>
                    </a:ext>
                  </a:extLst>
                </p:cNvPr>
                <p:cNvSpPr/>
                <p:nvPr/>
              </p:nvSpPr>
              <p:spPr>
                <a:xfrm>
                  <a:off x="2764182" y="18313575"/>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4" name="橢圓 403">
                  <a:extLst>
                    <a:ext uri="{FF2B5EF4-FFF2-40B4-BE49-F238E27FC236}">
                      <a16:creationId xmlns:a16="http://schemas.microsoft.com/office/drawing/2014/main" id="{742D5AE3-81A2-1848-A2F1-CFFFD06B0BD8}"/>
                    </a:ext>
                  </a:extLst>
                </p:cNvPr>
                <p:cNvSpPr/>
                <p:nvPr/>
              </p:nvSpPr>
              <p:spPr>
                <a:xfrm>
                  <a:off x="2822662" y="18318889"/>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5" name="橢圓 404">
                  <a:extLst>
                    <a:ext uri="{FF2B5EF4-FFF2-40B4-BE49-F238E27FC236}">
                      <a16:creationId xmlns:a16="http://schemas.microsoft.com/office/drawing/2014/main" id="{FDD9734C-40E7-A843-A394-3B40198E290B}"/>
                    </a:ext>
                  </a:extLst>
                </p:cNvPr>
                <p:cNvSpPr/>
                <p:nvPr/>
              </p:nvSpPr>
              <p:spPr>
                <a:xfrm>
                  <a:off x="2886456" y="1830825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6" name="橢圓 405">
                  <a:extLst>
                    <a:ext uri="{FF2B5EF4-FFF2-40B4-BE49-F238E27FC236}">
                      <a16:creationId xmlns:a16="http://schemas.microsoft.com/office/drawing/2014/main" id="{4C27AF4C-E48A-D744-B836-61B4A873F63F}"/>
                    </a:ext>
                  </a:extLst>
                </p:cNvPr>
                <p:cNvSpPr/>
                <p:nvPr/>
              </p:nvSpPr>
              <p:spPr>
                <a:xfrm>
                  <a:off x="2944934" y="1828699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07" name="橢圓 406">
                  <a:extLst>
                    <a:ext uri="{FF2B5EF4-FFF2-40B4-BE49-F238E27FC236}">
                      <a16:creationId xmlns:a16="http://schemas.microsoft.com/office/drawing/2014/main" id="{67CCFE17-5882-CB43-90A4-EC7F45100AC8}"/>
                    </a:ext>
                  </a:extLst>
                </p:cNvPr>
                <p:cNvSpPr/>
                <p:nvPr/>
              </p:nvSpPr>
              <p:spPr>
                <a:xfrm>
                  <a:off x="2992781" y="1825509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371" name="群組 370">
                <a:extLst>
                  <a:ext uri="{FF2B5EF4-FFF2-40B4-BE49-F238E27FC236}">
                    <a16:creationId xmlns:a16="http://schemas.microsoft.com/office/drawing/2014/main" id="{2DEACCF6-61A6-7643-AD62-3F085A8F34DE}"/>
                  </a:ext>
                </a:extLst>
              </p:cNvPr>
              <p:cNvGrpSpPr/>
              <p:nvPr/>
            </p:nvGrpSpPr>
            <p:grpSpPr>
              <a:xfrm rot="10800000">
                <a:off x="2608088" y="18072057"/>
                <a:ext cx="442086" cy="133741"/>
                <a:chOff x="2604695" y="18239148"/>
                <a:chExt cx="442086" cy="133741"/>
              </a:xfrm>
            </p:grpSpPr>
            <p:sp>
              <p:nvSpPr>
                <p:cNvPr id="392" name="橢圓 391">
                  <a:extLst>
                    <a:ext uri="{FF2B5EF4-FFF2-40B4-BE49-F238E27FC236}">
                      <a16:creationId xmlns:a16="http://schemas.microsoft.com/office/drawing/2014/main" id="{33F5720B-5725-484A-8B2B-98887679C78B}"/>
                    </a:ext>
                  </a:extLst>
                </p:cNvPr>
                <p:cNvSpPr/>
                <p:nvPr/>
              </p:nvSpPr>
              <p:spPr>
                <a:xfrm>
                  <a:off x="2604695" y="1823914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3" name="橢圓 392">
                  <a:extLst>
                    <a:ext uri="{FF2B5EF4-FFF2-40B4-BE49-F238E27FC236}">
                      <a16:creationId xmlns:a16="http://schemas.microsoft.com/office/drawing/2014/main" id="{D830C107-028A-D744-980A-534F833A4349}"/>
                    </a:ext>
                  </a:extLst>
                </p:cNvPr>
                <p:cNvSpPr/>
                <p:nvPr/>
              </p:nvSpPr>
              <p:spPr>
                <a:xfrm>
                  <a:off x="2652543" y="1828167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4" name="橢圓 393">
                  <a:extLst>
                    <a:ext uri="{FF2B5EF4-FFF2-40B4-BE49-F238E27FC236}">
                      <a16:creationId xmlns:a16="http://schemas.microsoft.com/office/drawing/2014/main" id="{5C7627BC-D49F-C045-BFCD-9CA6247E604A}"/>
                    </a:ext>
                  </a:extLst>
                </p:cNvPr>
                <p:cNvSpPr/>
                <p:nvPr/>
              </p:nvSpPr>
              <p:spPr>
                <a:xfrm>
                  <a:off x="2705703" y="18302942"/>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5" name="橢圓 394">
                  <a:extLst>
                    <a:ext uri="{FF2B5EF4-FFF2-40B4-BE49-F238E27FC236}">
                      <a16:creationId xmlns:a16="http://schemas.microsoft.com/office/drawing/2014/main" id="{EAA4FAE6-1321-1E48-AC6E-59EF665C079D}"/>
                    </a:ext>
                  </a:extLst>
                </p:cNvPr>
                <p:cNvSpPr/>
                <p:nvPr/>
              </p:nvSpPr>
              <p:spPr>
                <a:xfrm>
                  <a:off x="2764182" y="18313575"/>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6" name="橢圓 395">
                  <a:extLst>
                    <a:ext uri="{FF2B5EF4-FFF2-40B4-BE49-F238E27FC236}">
                      <a16:creationId xmlns:a16="http://schemas.microsoft.com/office/drawing/2014/main" id="{7FC4C91D-FBBB-AE44-9D96-F6D051AEBFA8}"/>
                    </a:ext>
                  </a:extLst>
                </p:cNvPr>
                <p:cNvSpPr/>
                <p:nvPr/>
              </p:nvSpPr>
              <p:spPr>
                <a:xfrm>
                  <a:off x="2822662" y="18318889"/>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7" name="橢圓 396">
                  <a:extLst>
                    <a:ext uri="{FF2B5EF4-FFF2-40B4-BE49-F238E27FC236}">
                      <a16:creationId xmlns:a16="http://schemas.microsoft.com/office/drawing/2014/main" id="{2B302CD6-9901-A84E-BBF8-250E55FB1AE9}"/>
                    </a:ext>
                  </a:extLst>
                </p:cNvPr>
                <p:cNvSpPr/>
                <p:nvPr/>
              </p:nvSpPr>
              <p:spPr>
                <a:xfrm>
                  <a:off x="2886456" y="1830825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8" name="橢圓 397">
                  <a:extLst>
                    <a:ext uri="{FF2B5EF4-FFF2-40B4-BE49-F238E27FC236}">
                      <a16:creationId xmlns:a16="http://schemas.microsoft.com/office/drawing/2014/main" id="{9F7C043D-9B7B-9648-B76D-6830E81FB815}"/>
                    </a:ext>
                  </a:extLst>
                </p:cNvPr>
                <p:cNvSpPr/>
                <p:nvPr/>
              </p:nvSpPr>
              <p:spPr>
                <a:xfrm>
                  <a:off x="2944934" y="1828699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9" name="橢圓 398">
                  <a:extLst>
                    <a:ext uri="{FF2B5EF4-FFF2-40B4-BE49-F238E27FC236}">
                      <a16:creationId xmlns:a16="http://schemas.microsoft.com/office/drawing/2014/main" id="{160BE288-13DC-0540-9420-D46D0EC8DDEB}"/>
                    </a:ext>
                  </a:extLst>
                </p:cNvPr>
                <p:cNvSpPr/>
                <p:nvPr/>
              </p:nvSpPr>
              <p:spPr>
                <a:xfrm>
                  <a:off x="2992781" y="1825509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372" name="群組 371">
                <a:extLst>
                  <a:ext uri="{FF2B5EF4-FFF2-40B4-BE49-F238E27FC236}">
                    <a16:creationId xmlns:a16="http://schemas.microsoft.com/office/drawing/2014/main" id="{8A172DC2-4472-BC41-9F00-61A4322A8373}"/>
                  </a:ext>
                </a:extLst>
              </p:cNvPr>
              <p:cNvGrpSpPr/>
              <p:nvPr/>
            </p:nvGrpSpPr>
            <p:grpSpPr>
              <a:xfrm rot="10969001">
                <a:off x="3054661" y="18068087"/>
                <a:ext cx="442086" cy="133741"/>
                <a:chOff x="2604695" y="18239148"/>
                <a:chExt cx="442086" cy="133741"/>
              </a:xfrm>
            </p:grpSpPr>
            <p:sp>
              <p:nvSpPr>
                <p:cNvPr id="384" name="橢圓 383">
                  <a:extLst>
                    <a:ext uri="{FF2B5EF4-FFF2-40B4-BE49-F238E27FC236}">
                      <a16:creationId xmlns:a16="http://schemas.microsoft.com/office/drawing/2014/main" id="{34B01017-F9D7-9A4A-9FB3-179BCA9951AC}"/>
                    </a:ext>
                  </a:extLst>
                </p:cNvPr>
                <p:cNvSpPr/>
                <p:nvPr/>
              </p:nvSpPr>
              <p:spPr>
                <a:xfrm>
                  <a:off x="2604695" y="1823914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5" name="橢圓 384">
                  <a:extLst>
                    <a:ext uri="{FF2B5EF4-FFF2-40B4-BE49-F238E27FC236}">
                      <a16:creationId xmlns:a16="http://schemas.microsoft.com/office/drawing/2014/main" id="{7806B7D6-3824-424D-A124-5620380C814E}"/>
                    </a:ext>
                  </a:extLst>
                </p:cNvPr>
                <p:cNvSpPr/>
                <p:nvPr/>
              </p:nvSpPr>
              <p:spPr>
                <a:xfrm>
                  <a:off x="2652543" y="1828167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6" name="橢圓 385">
                  <a:extLst>
                    <a:ext uri="{FF2B5EF4-FFF2-40B4-BE49-F238E27FC236}">
                      <a16:creationId xmlns:a16="http://schemas.microsoft.com/office/drawing/2014/main" id="{1531DFAD-A413-D14F-9F3D-A28E5C139879}"/>
                    </a:ext>
                  </a:extLst>
                </p:cNvPr>
                <p:cNvSpPr/>
                <p:nvPr/>
              </p:nvSpPr>
              <p:spPr>
                <a:xfrm>
                  <a:off x="2705703" y="18302942"/>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7" name="橢圓 386">
                  <a:extLst>
                    <a:ext uri="{FF2B5EF4-FFF2-40B4-BE49-F238E27FC236}">
                      <a16:creationId xmlns:a16="http://schemas.microsoft.com/office/drawing/2014/main" id="{810F6988-B5C6-CF49-B891-1D3D29606971}"/>
                    </a:ext>
                  </a:extLst>
                </p:cNvPr>
                <p:cNvSpPr/>
                <p:nvPr/>
              </p:nvSpPr>
              <p:spPr>
                <a:xfrm>
                  <a:off x="2764182" y="18313575"/>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8" name="橢圓 387">
                  <a:extLst>
                    <a:ext uri="{FF2B5EF4-FFF2-40B4-BE49-F238E27FC236}">
                      <a16:creationId xmlns:a16="http://schemas.microsoft.com/office/drawing/2014/main" id="{F85A25BC-FED2-3A42-A8B0-480280DC2C32}"/>
                    </a:ext>
                  </a:extLst>
                </p:cNvPr>
                <p:cNvSpPr/>
                <p:nvPr/>
              </p:nvSpPr>
              <p:spPr>
                <a:xfrm>
                  <a:off x="2822662" y="18318889"/>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9" name="橢圓 388">
                  <a:extLst>
                    <a:ext uri="{FF2B5EF4-FFF2-40B4-BE49-F238E27FC236}">
                      <a16:creationId xmlns:a16="http://schemas.microsoft.com/office/drawing/2014/main" id="{F058AB27-C5EA-3947-9399-EDF83BF60D5E}"/>
                    </a:ext>
                  </a:extLst>
                </p:cNvPr>
                <p:cNvSpPr/>
                <p:nvPr/>
              </p:nvSpPr>
              <p:spPr>
                <a:xfrm>
                  <a:off x="2886456" y="1830825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0" name="橢圓 389">
                  <a:extLst>
                    <a:ext uri="{FF2B5EF4-FFF2-40B4-BE49-F238E27FC236}">
                      <a16:creationId xmlns:a16="http://schemas.microsoft.com/office/drawing/2014/main" id="{0D135BD0-48E9-8E44-9426-2AEBB390A4CC}"/>
                    </a:ext>
                  </a:extLst>
                </p:cNvPr>
                <p:cNvSpPr/>
                <p:nvPr/>
              </p:nvSpPr>
              <p:spPr>
                <a:xfrm>
                  <a:off x="2944934" y="1828699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91" name="橢圓 390">
                  <a:extLst>
                    <a:ext uri="{FF2B5EF4-FFF2-40B4-BE49-F238E27FC236}">
                      <a16:creationId xmlns:a16="http://schemas.microsoft.com/office/drawing/2014/main" id="{76B54E62-B477-C447-A96D-BF900E260FBF}"/>
                    </a:ext>
                  </a:extLst>
                </p:cNvPr>
                <p:cNvSpPr/>
                <p:nvPr/>
              </p:nvSpPr>
              <p:spPr>
                <a:xfrm>
                  <a:off x="2992781" y="1825509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373" name="群組 372">
                <a:extLst>
                  <a:ext uri="{FF2B5EF4-FFF2-40B4-BE49-F238E27FC236}">
                    <a16:creationId xmlns:a16="http://schemas.microsoft.com/office/drawing/2014/main" id="{51F0726F-8E14-0140-AFCA-FCFD3FF65028}"/>
                  </a:ext>
                </a:extLst>
              </p:cNvPr>
              <p:cNvGrpSpPr/>
              <p:nvPr/>
            </p:nvGrpSpPr>
            <p:grpSpPr>
              <a:xfrm rot="10525182">
                <a:off x="2154585" y="18064545"/>
                <a:ext cx="442086" cy="133741"/>
                <a:chOff x="2604695" y="18239148"/>
                <a:chExt cx="442086" cy="133741"/>
              </a:xfrm>
            </p:grpSpPr>
            <p:sp>
              <p:nvSpPr>
                <p:cNvPr id="376" name="橢圓 375">
                  <a:extLst>
                    <a:ext uri="{FF2B5EF4-FFF2-40B4-BE49-F238E27FC236}">
                      <a16:creationId xmlns:a16="http://schemas.microsoft.com/office/drawing/2014/main" id="{E9F50426-07AA-4D4E-981A-1F75668F4837}"/>
                    </a:ext>
                  </a:extLst>
                </p:cNvPr>
                <p:cNvSpPr/>
                <p:nvPr/>
              </p:nvSpPr>
              <p:spPr>
                <a:xfrm>
                  <a:off x="2604695" y="1823914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77" name="橢圓 376">
                  <a:extLst>
                    <a:ext uri="{FF2B5EF4-FFF2-40B4-BE49-F238E27FC236}">
                      <a16:creationId xmlns:a16="http://schemas.microsoft.com/office/drawing/2014/main" id="{1B560E63-1F8C-9349-9674-55E79B62BAE3}"/>
                    </a:ext>
                  </a:extLst>
                </p:cNvPr>
                <p:cNvSpPr/>
                <p:nvPr/>
              </p:nvSpPr>
              <p:spPr>
                <a:xfrm>
                  <a:off x="2652543" y="1828167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78" name="橢圓 377">
                  <a:extLst>
                    <a:ext uri="{FF2B5EF4-FFF2-40B4-BE49-F238E27FC236}">
                      <a16:creationId xmlns:a16="http://schemas.microsoft.com/office/drawing/2014/main" id="{088923D2-BB01-9747-BC71-0BA6A957D143}"/>
                    </a:ext>
                  </a:extLst>
                </p:cNvPr>
                <p:cNvSpPr/>
                <p:nvPr/>
              </p:nvSpPr>
              <p:spPr>
                <a:xfrm>
                  <a:off x="2705703" y="18302942"/>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79" name="橢圓 378">
                  <a:extLst>
                    <a:ext uri="{FF2B5EF4-FFF2-40B4-BE49-F238E27FC236}">
                      <a16:creationId xmlns:a16="http://schemas.microsoft.com/office/drawing/2014/main" id="{2E9D51CA-B1CD-4742-99B7-00A14F28D05E}"/>
                    </a:ext>
                  </a:extLst>
                </p:cNvPr>
                <p:cNvSpPr/>
                <p:nvPr/>
              </p:nvSpPr>
              <p:spPr>
                <a:xfrm>
                  <a:off x="2764182" y="18313575"/>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0" name="橢圓 379">
                  <a:extLst>
                    <a:ext uri="{FF2B5EF4-FFF2-40B4-BE49-F238E27FC236}">
                      <a16:creationId xmlns:a16="http://schemas.microsoft.com/office/drawing/2014/main" id="{EA67C618-6C93-C64A-92CA-EB54F3010B16}"/>
                    </a:ext>
                  </a:extLst>
                </p:cNvPr>
                <p:cNvSpPr/>
                <p:nvPr/>
              </p:nvSpPr>
              <p:spPr>
                <a:xfrm>
                  <a:off x="2822662" y="18318889"/>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1" name="橢圓 380">
                  <a:extLst>
                    <a:ext uri="{FF2B5EF4-FFF2-40B4-BE49-F238E27FC236}">
                      <a16:creationId xmlns:a16="http://schemas.microsoft.com/office/drawing/2014/main" id="{C295F941-B604-0849-B45F-C2C83F3C8F2D}"/>
                    </a:ext>
                  </a:extLst>
                </p:cNvPr>
                <p:cNvSpPr/>
                <p:nvPr/>
              </p:nvSpPr>
              <p:spPr>
                <a:xfrm>
                  <a:off x="2886456" y="18308257"/>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2" name="橢圓 381">
                  <a:extLst>
                    <a:ext uri="{FF2B5EF4-FFF2-40B4-BE49-F238E27FC236}">
                      <a16:creationId xmlns:a16="http://schemas.microsoft.com/office/drawing/2014/main" id="{7F44F596-BE57-084F-BBA3-74CEF9EF591A}"/>
                    </a:ext>
                  </a:extLst>
                </p:cNvPr>
                <p:cNvSpPr/>
                <p:nvPr/>
              </p:nvSpPr>
              <p:spPr>
                <a:xfrm>
                  <a:off x="2944934" y="1828699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83" name="橢圓 382">
                  <a:extLst>
                    <a:ext uri="{FF2B5EF4-FFF2-40B4-BE49-F238E27FC236}">
                      <a16:creationId xmlns:a16="http://schemas.microsoft.com/office/drawing/2014/main" id="{E0067B9B-0B1E-9748-A0AB-E63F6486BB2B}"/>
                    </a:ext>
                  </a:extLst>
                </p:cNvPr>
                <p:cNvSpPr/>
                <p:nvPr/>
              </p:nvSpPr>
              <p:spPr>
                <a:xfrm>
                  <a:off x="2992781" y="18255098"/>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374" name="橢圓 373">
                <a:extLst>
                  <a:ext uri="{FF2B5EF4-FFF2-40B4-BE49-F238E27FC236}">
                    <a16:creationId xmlns:a16="http://schemas.microsoft.com/office/drawing/2014/main" id="{63431890-0448-6548-BB80-E0493561461B}"/>
                  </a:ext>
                </a:extLst>
              </p:cNvPr>
              <p:cNvSpPr/>
              <p:nvPr/>
            </p:nvSpPr>
            <p:spPr>
              <a:xfrm>
                <a:off x="2578112" y="1819130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375" name="橢圓 374">
                <a:extLst>
                  <a:ext uri="{FF2B5EF4-FFF2-40B4-BE49-F238E27FC236}">
                    <a16:creationId xmlns:a16="http://schemas.microsoft.com/office/drawing/2014/main" id="{1B09786B-7977-054B-B2EC-A720B5D88D37}"/>
                  </a:ext>
                </a:extLst>
              </p:cNvPr>
              <p:cNvSpPr/>
              <p:nvPr/>
            </p:nvSpPr>
            <p:spPr>
              <a:xfrm>
                <a:off x="3457070" y="18209021"/>
                <a:ext cx="54000" cy="54000"/>
              </a:xfrm>
              <a:prstGeom prst="ellipse">
                <a:avLst/>
              </a:prstGeom>
              <a:gradFill flip="none" rotWithShape="1">
                <a:gsLst>
                  <a:gs pos="0">
                    <a:srgbClr val="ECBEF0"/>
                  </a:gs>
                  <a:gs pos="50000">
                    <a:srgbClr val="E96A94"/>
                  </a:gs>
                  <a:gs pos="100000">
                    <a:srgbClr val="D18AC4"/>
                  </a:gs>
                </a:gsLst>
                <a:path path="circle">
                  <a:fillToRect l="50000" t="50000" r="50000" b="50000"/>
                </a:path>
                <a:tileRect/>
              </a:gradFill>
              <a:ln>
                <a:solidFill>
                  <a:srgbClr val="E96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430" name="文字方塊 429">
              <a:extLst>
                <a:ext uri="{FF2B5EF4-FFF2-40B4-BE49-F238E27FC236}">
                  <a16:creationId xmlns:a16="http://schemas.microsoft.com/office/drawing/2014/main" id="{4F9A6512-E940-6E4C-9E0D-E04D4E10E759}"/>
                </a:ext>
              </a:extLst>
            </p:cNvPr>
            <p:cNvSpPr txBox="1"/>
            <p:nvPr/>
          </p:nvSpPr>
          <p:spPr>
            <a:xfrm>
              <a:off x="2973385" y="5789894"/>
              <a:ext cx="908093"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ccc D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456" name="群組 455">
              <a:extLst>
                <a:ext uri="{FF2B5EF4-FFF2-40B4-BE49-F238E27FC236}">
                  <a16:creationId xmlns:a16="http://schemas.microsoft.com/office/drawing/2014/main" id="{E5556201-BD3A-8949-ABEE-AC932CFF8BFA}"/>
                </a:ext>
              </a:extLst>
            </p:cNvPr>
            <p:cNvGrpSpPr/>
            <p:nvPr/>
          </p:nvGrpSpPr>
          <p:grpSpPr>
            <a:xfrm>
              <a:off x="3511189" y="4625033"/>
              <a:ext cx="1972707" cy="665564"/>
              <a:chOff x="6657368" y="17125569"/>
              <a:chExt cx="4881730" cy="1738317"/>
            </a:xfrm>
          </p:grpSpPr>
          <p:sp>
            <p:nvSpPr>
              <p:cNvPr id="434" name="手繪多邊形 433">
                <a:extLst>
                  <a:ext uri="{FF2B5EF4-FFF2-40B4-BE49-F238E27FC236}">
                    <a16:creationId xmlns:a16="http://schemas.microsoft.com/office/drawing/2014/main" id="{B2F962DE-B6BE-DF4A-BB4D-72D167FF2ECC}"/>
                  </a:ext>
                </a:extLst>
              </p:cNvPr>
              <p:cNvSpPr/>
              <p:nvPr/>
            </p:nvSpPr>
            <p:spPr>
              <a:xfrm>
                <a:off x="9119135" y="18665886"/>
                <a:ext cx="1210037" cy="198000"/>
              </a:xfrm>
              <a:custGeom>
                <a:avLst/>
                <a:gdLst>
                  <a:gd name="connsiteX0" fmla="*/ 0 w 1863524"/>
                  <a:gd name="connsiteY0" fmla="*/ 416689 h 462994"/>
                  <a:gd name="connsiteX1" fmla="*/ 150471 w 1863524"/>
                  <a:gd name="connsiteY1" fmla="*/ 11575 h 462994"/>
                  <a:gd name="connsiteX2" fmla="*/ 277792 w 1863524"/>
                  <a:gd name="connsiteY2" fmla="*/ 451413 h 462994"/>
                  <a:gd name="connsiteX3" fmla="*/ 416689 w 1863524"/>
                  <a:gd name="connsiteY3" fmla="*/ 11575 h 462994"/>
                  <a:gd name="connsiteX4" fmla="*/ 613458 w 1863524"/>
                  <a:gd name="connsiteY4" fmla="*/ 462988 h 462994"/>
                  <a:gd name="connsiteX5" fmla="*/ 729205 w 1863524"/>
                  <a:gd name="connsiteY5" fmla="*/ 23150 h 462994"/>
                  <a:gd name="connsiteX6" fmla="*/ 925975 w 1863524"/>
                  <a:gd name="connsiteY6" fmla="*/ 451413 h 462994"/>
                  <a:gd name="connsiteX7" fmla="*/ 1064871 w 1863524"/>
                  <a:gd name="connsiteY7" fmla="*/ 0 h 462994"/>
                  <a:gd name="connsiteX8" fmla="*/ 1226917 w 1863524"/>
                  <a:gd name="connsiteY8" fmla="*/ 451413 h 462994"/>
                  <a:gd name="connsiteX9" fmla="*/ 1377387 w 1863524"/>
                  <a:gd name="connsiteY9" fmla="*/ 34725 h 462994"/>
                  <a:gd name="connsiteX10" fmla="*/ 1551008 w 1863524"/>
                  <a:gd name="connsiteY10" fmla="*/ 451413 h 462994"/>
                  <a:gd name="connsiteX11" fmla="*/ 1666755 w 1863524"/>
                  <a:gd name="connsiteY11" fmla="*/ 11575 h 462994"/>
                  <a:gd name="connsiteX12" fmla="*/ 1794076 w 1863524"/>
                  <a:gd name="connsiteY12" fmla="*/ 312517 h 462994"/>
                  <a:gd name="connsiteX13" fmla="*/ 1863524 w 1863524"/>
                  <a:gd name="connsiteY13" fmla="*/ 462988 h 46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3524" h="462994">
                    <a:moveTo>
                      <a:pt x="0" y="416689"/>
                    </a:moveTo>
                    <a:cubicBezTo>
                      <a:pt x="52086" y="211238"/>
                      <a:pt x="104172" y="5788"/>
                      <a:pt x="150471" y="11575"/>
                    </a:cubicBezTo>
                    <a:cubicBezTo>
                      <a:pt x="196770" y="17362"/>
                      <a:pt x="233422" y="451413"/>
                      <a:pt x="277792" y="451413"/>
                    </a:cubicBezTo>
                    <a:cubicBezTo>
                      <a:pt x="322162" y="451413"/>
                      <a:pt x="360745" y="9646"/>
                      <a:pt x="416689" y="11575"/>
                    </a:cubicBezTo>
                    <a:cubicBezTo>
                      <a:pt x="472633" y="13504"/>
                      <a:pt x="561372" y="461059"/>
                      <a:pt x="613458" y="462988"/>
                    </a:cubicBezTo>
                    <a:cubicBezTo>
                      <a:pt x="665544" y="464917"/>
                      <a:pt x="677119" y="25079"/>
                      <a:pt x="729205" y="23150"/>
                    </a:cubicBezTo>
                    <a:cubicBezTo>
                      <a:pt x="781291" y="21221"/>
                      <a:pt x="870031" y="455271"/>
                      <a:pt x="925975" y="451413"/>
                    </a:cubicBezTo>
                    <a:cubicBezTo>
                      <a:pt x="981919" y="447555"/>
                      <a:pt x="1014714" y="0"/>
                      <a:pt x="1064871" y="0"/>
                    </a:cubicBezTo>
                    <a:cubicBezTo>
                      <a:pt x="1115028" y="0"/>
                      <a:pt x="1174831" y="445626"/>
                      <a:pt x="1226917" y="451413"/>
                    </a:cubicBezTo>
                    <a:cubicBezTo>
                      <a:pt x="1279003" y="457200"/>
                      <a:pt x="1323372" y="34725"/>
                      <a:pt x="1377387" y="34725"/>
                    </a:cubicBezTo>
                    <a:cubicBezTo>
                      <a:pt x="1431402" y="34725"/>
                      <a:pt x="1502780" y="455271"/>
                      <a:pt x="1551008" y="451413"/>
                    </a:cubicBezTo>
                    <a:cubicBezTo>
                      <a:pt x="1599236" y="447555"/>
                      <a:pt x="1626244" y="34724"/>
                      <a:pt x="1666755" y="11575"/>
                    </a:cubicBezTo>
                    <a:cubicBezTo>
                      <a:pt x="1707266" y="-11574"/>
                      <a:pt x="1761281" y="237281"/>
                      <a:pt x="1794076" y="312517"/>
                    </a:cubicBezTo>
                    <a:cubicBezTo>
                      <a:pt x="1826871" y="387753"/>
                      <a:pt x="1845197" y="425370"/>
                      <a:pt x="1863524" y="462988"/>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37" name="手繪多邊形 436">
                <a:extLst>
                  <a:ext uri="{FF2B5EF4-FFF2-40B4-BE49-F238E27FC236}">
                    <a16:creationId xmlns:a16="http://schemas.microsoft.com/office/drawing/2014/main" id="{275053CC-01E9-FA45-96EB-04E5583BA4DB}"/>
                  </a:ext>
                </a:extLst>
              </p:cNvPr>
              <p:cNvSpPr/>
              <p:nvPr/>
            </p:nvSpPr>
            <p:spPr>
              <a:xfrm>
                <a:off x="9096628" y="18291778"/>
                <a:ext cx="1481559" cy="198000"/>
              </a:xfrm>
              <a:custGeom>
                <a:avLst/>
                <a:gdLst>
                  <a:gd name="connsiteX0" fmla="*/ 0 w 1481559"/>
                  <a:gd name="connsiteY0" fmla="*/ 289376 h 300959"/>
                  <a:gd name="connsiteX1" fmla="*/ 115747 w 1481559"/>
                  <a:gd name="connsiteY1" fmla="*/ 11583 h 300959"/>
                  <a:gd name="connsiteX2" fmla="*/ 219919 w 1481559"/>
                  <a:gd name="connsiteY2" fmla="*/ 266226 h 300959"/>
                  <a:gd name="connsiteX3" fmla="*/ 335666 w 1481559"/>
                  <a:gd name="connsiteY3" fmla="*/ 23158 h 300959"/>
                  <a:gd name="connsiteX4" fmla="*/ 462987 w 1481559"/>
                  <a:gd name="connsiteY4" fmla="*/ 289376 h 300959"/>
                  <a:gd name="connsiteX5" fmla="*/ 578734 w 1481559"/>
                  <a:gd name="connsiteY5" fmla="*/ 11583 h 300959"/>
                  <a:gd name="connsiteX6" fmla="*/ 694481 w 1481559"/>
                  <a:gd name="connsiteY6" fmla="*/ 300950 h 300959"/>
                  <a:gd name="connsiteX7" fmla="*/ 798653 w 1481559"/>
                  <a:gd name="connsiteY7" fmla="*/ 23158 h 300959"/>
                  <a:gd name="connsiteX8" fmla="*/ 925974 w 1481559"/>
                  <a:gd name="connsiteY8" fmla="*/ 289376 h 300959"/>
                  <a:gd name="connsiteX9" fmla="*/ 1030147 w 1481559"/>
                  <a:gd name="connsiteY9" fmla="*/ 9 h 300959"/>
                  <a:gd name="connsiteX10" fmla="*/ 1169043 w 1481559"/>
                  <a:gd name="connsiteY10" fmla="*/ 300950 h 300959"/>
                  <a:gd name="connsiteX11" fmla="*/ 1250066 w 1481559"/>
                  <a:gd name="connsiteY11" fmla="*/ 11583 h 300959"/>
                  <a:gd name="connsiteX12" fmla="*/ 1377387 w 1481559"/>
                  <a:gd name="connsiteY12" fmla="*/ 289376 h 300959"/>
                  <a:gd name="connsiteX13" fmla="*/ 1481559 w 1481559"/>
                  <a:gd name="connsiteY13" fmla="*/ 9 h 30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1559" h="300959">
                    <a:moveTo>
                      <a:pt x="0" y="289376"/>
                    </a:moveTo>
                    <a:cubicBezTo>
                      <a:pt x="39547" y="152408"/>
                      <a:pt x="79094" y="15441"/>
                      <a:pt x="115747" y="11583"/>
                    </a:cubicBezTo>
                    <a:cubicBezTo>
                      <a:pt x="152400" y="7725"/>
                      <a:pt x="183266" y="264297"/>
                      <a:pt x="219919" y="266226"/>
                    </a:cubicBezTo>
                    <a:cubicBezTo>
                      <a:pt x="256572" y="268155"/>
                      <a:pt x="295155" y="19300"/>
                      <a:pt x="335666" y="23158"/>
                    </a:cubicBezTo>
                    <a:cubicBezTo>
                      <a:pt x="376177" y="27016"/>
                      <a:pt x="422476" y="291305"/>
                      <a:pt x="462987" y="289376"/>
                    </a:cubicBezTo>
                    <a:cubicBezTo>
                      <a:pt x="503498" y="287447"/>
                      <a:pt x="540152" y="9654"/>
                      <a:pt x="578734" y="11583"/>
                    </a:cubicBezTo>
                    <a:cubicBezTo>
                      <a:pt x="617316" y="13512"/>
                      <a:pt x="657828" y="299021"/>
                      <a:pt x="694481" y="300950"/>
                    </a:cubicBezTo>
                    <a:cubicBezTo>
                      <a:pt x="731134" y="302879"/>
                      <a:pt x="760071" y="25087"/>
                      <a:pt x="798653" y="23158"/>
                    </a:cubicBezTo>
                    <a:cubicBezTo>
                      <a:pt x="837235" y="21229"/>
                      <a:pt x="887392" y="293234"/>
                      <a:pt x="925974" y="289376"/>
                    </a:cubicBezTo>
                    <a:cubicBezTo>
                      <a:pt x="964556" y="285518"/>
                      <a:pt x="989636" y="-1920"/>
                      <a:pt x="1030147" y="9"/>
                    </a:cubicBezTo>
                    <a:cubicBezTo>
                      <a:pt x="1070658" y="1938"/>
                      <a:pt x="1132390" y="299021"/>
                      <a:pt x="1169043" y="300950"/>
                    </a:cubicBezTo>
                    <a:cubicBezTo>
                      <a:pt x="1205696" y="302879"/>
                      <a:pt x="1215342" y="13512"/>
                      <a:pt x="1250066" y="11583"/>
                    </a:cubicBezTo>
                    <a:cubicBezTo>
                      <a:pt x="1284790" y="9654"/>
                      <a:pt x="1338805" y="291305"/>
                      <a:pt x="1377387" y="289376"/>
                    </a:cubicBezTo>
                    <a:cubicBezTo>
                      <a:pt x="1415969" y="287447"/>
                      <a:pt x="1448764" y="143728"/>
                      <a:pt x="1481559" y="9"/>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445" name="群組 444">
                <a:extLst>
                  <a:ext uri="{FF2B5EF4-FFF2-40B4-BE49-F238E27FC236}">
                    <a16:creationId xmlns:a16="http://schemas.microsoft.com/office/drawing/2014/main" id="{F56E677D-7883-974D-8688-751015139E78}"/>
                  </a:ext>
                </a:extLst>
              </p:cNvPr>
              <p:cNvGrpSpPr/>
              <p:nvPr/>
            </p:nvGrpSpPr>
            <p:grpSpPr>
              <a:xfrm>
                <a:off x="9043290" y="17988807"/>
                <a:ext cx="1709528" cy="217251"/>
                <a:chOff x="8147658" y="18663441"/>
                <a:chExt cx="1709528" cy="217251"/>
              </a:xfrm>
            </p:grpSpPr>
            <p:sp>
              <p:nvSpPr>
                <p:cNvPr id="439" name="手繪多邊形 438">
                  <a:extLst>
                    <a:ext uri="{FF2B5EF4-FFF2-40B4-BE49-F238E27FC236}">
                      <a16:creationId xmlns:a16="http://schemas.microsoft.com/office/drawing/2014/main" id="{9374E3AA-56AF-4A4E-9ECB-BBC7CE9E57DD}"/>
                    </a:ext>
                  </a:extLst>
                </p:cNvPr>
                <p:cNvSpPr/>
                <p:nvPr/>
              </p:nvSpPr>
              <p:spPr>
                <a:xfrm>
                  <a:off x="8147658" y="18682692"/>
                  <a:ext cx="1481559" cy="198000"/>
                </a:xfrm>
                <a:custGeom>
                  <a:avLst/>
                  <a:gdLst>
                    <a:gd name="connsiteX0" fmla="*/ 0 w 1481559"/>
                    <a:gd name="connsiteY0" fmla="*/ 289376 h 300959"/>
                    <a:gd name="connsiteX1" fmla="*/ 115747 w 1481559"/>
                    <a:gd name="connsiteY1" fmla="*/ 11583 h 300959"/>
                    <a:gd name="connsiteX2" fmla="*/ 219919 w 1481559"/>
                    <a:gd name="connsiteY2" fmla="*/ 266226 h 300959"/>
                    <a:gd name="connsiteX3" fmla="*/ 335666 w 1481559"/>
                    <a:gd name="connsiteY3" fmla="*/ 23158 h 300959"/>
                    <a:gd name="connsiteX4" fmla="*/ 462987 w 1481559"/>
                    <a:gd name="connsiteY4" fmla="*/ 289376 h 300959"/>
                    <a:gd name="connsiteX5" fmla="*/ 578734 w 1481559"/>
                    <a:gd name="connsiteY5" fmla="*/ 11583 h 300959"/>
                    <a:gd name="connsiteX6" fmla="*/ 694481 w 1481559"/>
                    <a:gd name="connsiteY6" fmla="*/ 300950 h 300959"/>
                    <a:gd name="connsiteX7" fmla="*/ 798653 w 1481559"/>
                    <a:gd name="connsiteY7" fmla="*/ 23158 h 300959"/>
                    <a:gd name="connsiteX8" fmla="*/ 925974 w 1481559"/>
                    <a:gd name="connsiteY8" fmla="*/ 289376 h 300959"/>
                    <a:gd name="connsiteX9" fmla="*/ 1030147 w 1481559"/>
                    <a:gd name="connsiteY9" fmla="*/ 9 h 300959"/>
                    <a:gd name="connsiteX10" fmla="*/ 1169043 w 1481559"/>
                    <a:gd name="connsiteY10" fmla="*/ 300950 h 300959"/>
                    <a:gd name="connsiteX11" fmla="*/ 1250066 w 1481559"/>
                    <a:gd name="connsiteY11" fmla="*/ 11583 h 300959"/>
                    <a:gd name="connsiteX12" fmla="*/ 1377387 w 1481559"/>
                    <a:gd name="connsiteY12" fmla="*/ 289376 h 300959"/>
                    <a:gd name="connsiteX13" fmla="*/ 1481559 w 1481559"/>
                    <a:gd name="connsiteY13" fmla="*/ 9 h 30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1559" h="300959">
                      <a:moveTo>
                        <a:pt x="0" y="289376"/>
                      </a:moveTo>
                      <a:cubicBezTo>
                        <a:pt x="39547" y="152408"/>
                        <a:pt x="79094" y="15441"/>
                        <a:pt x="115747" y="11583"/>
                      </a:cubicBezTo>
                      <a:cubicBezTo>
                        <a:pt x="152400" y="7725"/>
                        <a:pt x="183266" y="264297"/>
                        <a:pt x="219919" y="266226"/>
                      </a:cubicBezTo>
                      <a:cubicBezTo>
                        <a:pt x="256572" y="268155"/>
                        <a:pt x="295155" y="19300"/>
                        <a:pt x="335666" y="23158"/>
                      </a:cubicBezTo>
                      <a:cubicBezTo>
                        <a:pt x="376177" y="27016"/>
                        <a:pt x="422476" y="291305"/>
                        <a:pt x="462987" y="289376"/>
                      </a:cubicBezTo>
                      <a:cubicBezTo>
                        <a:pt x="503498" y="287447"/>
                        <a:pt x="540152" y="9654"/>
                        <a:pt x="578734" y="11583"/>
                      </a:cubicBezTo>
                      <a:cubicBezTo>
                        <a:pt x="617316" y="13512"/>
                        <a:pt x="657828" y="299021"/>
                        <a:pt x="694481" y="300950"/>
                      </a:cubicBezTo>
                      <a:cubicBezTo>
                        <a:pt x="731134" y="302879"/>
                        <a:pt x="760071" y="25087"/>
                        <a:pt x="798653" y="23158"/>
                      </a:cubicBezTo>
                      <a:cubicBezTo>
                        <a:pt x="837235" y="21229"/>
                        <a:pt x="887392" y="293234"/>
                        <a:pt x="925974" y="289376"/>
                      </a:cubicBezTo>
                      <a:cubicBezTo>
                        <a:pt x="964556" y="285518"/>
                        <a:pt x="989636" y="-1920"/>
                        <a:pt x="1030147" y="9"/>
                      </a:cubicBezTo>
                      <a:cubicBezTo>
                        <a:pt x="1070658" y="1938"/>
                        <a:pt x="1132390" y="299021"/>
                        <a:pt x="1169043" y="300950"/>
                      </a:cubicBezTo>
                      <a:cubicBezTo>
                        <a:pt x="1205696" y="302879"/>
                        <a:pt x="1215342" y="13512"/>
                        <a:pt x="1250066" y="11583"/>
                      </a:cubicBezTo>
                      <a:cubicBezTo>
                        <a:pt x="1284790" y="9654"/>
                        <a:pt x="1338805" y="291305"/>
                        <a:pt x="1377387" y="289376"/>
                      </a:cubicBezTo>
                      <a:cubicBezTo>
                        <a:pt x="1415969" y="287447"/>
                        <a:pt x="1448764" y="143728"/>
                        <a:pt x="1481559" y="9"/>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44" name="手繪多邊形 443">
                  <a:extLst>
                    <a:ext uri="{FF2B5EF4-FFF2-40B4-BE49-F238E27FC236}">
                      <a16:creationId xmlns:a16="http://schemas.microsoft.com/office/drawing/2014/main" id="{3480F62E-7057-7847-952E-226694E8B724}"/>
                    </a:ext>
                  </a:extLst>
                </p:cNvPr>
                <p:cNvSpPr/>
                <p:nvPr/>
              </p:nvSpPr>
              <p:spPr>
                <a:xfrm>
                  <a:off x="9625693" y="18663441"/>
                  <a:ext cx="231493" cy="198000"/>
                </a:xfrm>
                <a:custGeom>
                  <a:avLst/>
                  <a:gdLst>
                    <a:gd name="connsiteX0" fmla="*/ 0 w 231493"/>
                    <a:gd name="connsiteY0" fmla="*/ 46298 h 243203"/>
                    <a:gd name="connsiteX1" fmla="*/ 57873 w 231493"/>
                    <a:gd name="connsiteY1" fmla="*/ 34724 h 243203"/>
                    <a:gd name="connsiteX2" fmla="*/ 150470 w 231493"/>
                    <a:gd name="connsiteY2" fmla="*/ 243068 h 243203"/>
                    <a:gd name="connsiteX3" fmla="*/ 231493 w 231493"/>
                    <a:gd name="connsiteY3" fmla="*/ 0 h 243203"/>
                    <a:gd name="connsiteX4" fmla="*/ 231493 w 231493"/>
                    <a:gd name="connsiteY4" fmla="*/ 0 h 243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493" h="243203">
                      <a:moveTo>
                        <a:pt x="0" y="46298"/>
                      </a:moveTo>
                      <a:cubicBezTo>
                        <a:pt x="16397" y="24113"/>
                        <a:pt x="32795" y="1929"/>
                        <a:pt x="57873" y="34724"/>
                      </a:cubicBezTo>
                      <a:cubicBezTo>
                        <a:pt x="82951" y="67519"/>
                        <a:pt x="121533" y="248855"/>
                        <a:pt x="150470" y="243068"/>
                      </a:cubicBezTo>
                      <a:cubicBezTo>
                        <a:pt x="179407" y="237281"/>
                        <a:pt x="231493" y="0"/>
                        <a:pt x="231493" y="0"/>
                      </a:cubicBezTo>
                      <a:lnTo>
                        <a:pt x="231493" y="0"/>
                      </a:ln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451" name="手繪多邊形 450">
                <a:extLst>
                  <a:ext uri="{FF2B5EF4-FFF2-40B4-BE49-F238E27FC236}">
                    <a16:creationId xmlns:a16="http://schemas.microsoft.com/office/drawing/2014/main" id="{F111F565-2739-7743-AE30-7A434D8C0F08}"/>
                  </a:ext>
                </a:extLst>
              </p:cNvPr>
              <p:cNvSpPr/>
              <p:nvPr/>
            </p:nvSpPr>
            <p:spPr>
              <a:xfrm>
                <a:off x="9022698" y="17205208"/>
                <a:ext cx="2516400" cy="198000"/>
              </a:xfrm>
              <a:custGeom>
                <a:avLst/>
                <a:gdLst>
                  <a:gd name="connsiteX0" fmla="*/ 0 w 2514600"/>
                  <a:gd name="connsiteY0" fmla="*/ 300065 h 314409"/>
                  <a:gd name="connsiteX1" fmla="*/ 100012 w 2514600"/>
                  <a:gd name="connsiteY1" fmla="*/ 27 h 314409"/>
                  <a:gd name="connsiteX2" fmla="*/ 271462 w 2514600"/>
                  <a:gd name="connsiteY2" fmla="*/ 314352 h 314409"/>
                  <a:gd name="connsiteX3" fmla="*/ 400050 w 2514600"/>
                  <a:gd name="connsiteY3" fmla="*/ 28602 h 314409"/>
                  <a:gd name="connsiteX4" fmla="*/ 585787 w 2514600"/>
                  <a:gd name="connsiteY4" fmla="*/ 314352 h 314409"/>
                  <a:gd name="connsiteX5" fmla="*/ 685800 w 2514600"/>
                  <a:gd name="connsiteY5" fmla="*/ 14315 h 314409"/>
                  <a:gd name="connsiteX6" fmla="*/ 871537 w 2514600"/>
                  <a:gd name="connsiteY6" fmla="*/ 300065 h 314409"/>
                  <a:gd name="connsiteX7" fmla="*/ 985837 w 2514600"/>
                  <a:gd name="connsiteY7" fmla="*/ 14315 h 314409"/>
                  <a:gd name="connsiteX8" fmla="*/ 1171575 w 2514600"/>
                  <a:gd name="connsiteY8" fmla="*/ 314352 h 314409"/>
                  <a:gd name="connsiteX9" fmla="*/ 1300162 w 2514600"/>
                  <a:gd name="connsiteY9" fmla="*/ 14315 h 314409"/>
                  <a:gd name="connsiteX10" fmla="*/ 1443037 w 2514600"/>
                  <a:gd name="connsiteY10" fmla="*/ 314352 h 314409"/>
                  <a:gd name="connsiteX11" fmla="*/ 1543050 w 2514600"/>
                  <a:gd name="connsiteY11" fmla="*/ 14315 h 314409"/>
                  <a:gd name="connsiteX12" fmla="*/ 1714500 w 2514600"/>
                  <a:gd name="connsiteY12" fmla="*/ 300065 h 314409"/>
                  <a:gd name="connsiteX13" fmla="*/ 1800225 w 2514600"/>
                  <a:gd name="connsiteY13" fmla="*/ 42890 h 314409"/>
                  <a:gd name="connsiteX14" fmla="*/ 1971675 w 2514600"/>
                  <a:gd name="connsiteY14" fmla="*/ 314352 h 314409"/>
                  <a:gd name="connsiteX15" fmla="*/ 2043112 w 2514600"/>
                  <a:gd name="connsiteY15" fmla="*/ 28602 h 314409"/>
                  <a:gd name="connsiteX16" fmla="*/ 2200275 w 2514600"/>
                  <a:gd name="connsiteY16" fmla="*/ 314352 h 314409"/>
                  <a:gd name="connsiteX17" fmla="*/ 2271712 w 2514600"/>
                  <a:gd name="connsiteY17" fmla="*/ 14315 h 314409"/>
                  <a:gd name="connsiteX18" fmla="*/ 2428875 w 2514600"/>
                  <a:gd name="connsiteY18" fmla="*/ 314352 h 314409"/>
                  <a:gd name="connsiteX19" fmla="*/ 2514600 w 2514600"/>
                  <a:gd name="connsiteY19" fmla="*/ 28602 h 31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4600" h="314409">
                    <a:moveTo>
                      <a:pt x="0" y="300065"/>
                    </a:moveTo>
                    <a:cubicBezTo>
                      <a:pt x="27384" y="148855"/>
                      <a:pt x="54768" y="-2354"/>
                      <a:pt x="100012" y="27"/>
                    </a:cubicBezTo>
                    <a:cubicBezTo>
                      <a:pt x="145256" y="2408"/>
                      <a:pt x="221456" y="309590"/>
                      <a:pt x="271462" y="314352"/>
                    </a:cubicBezTo>
                    <a:cubicBezTo>
                      <a:pt x="321468" y="319115"/>
                      <a:pt x="347663" y="28602"/>
                      <a:pt x="400050" y="28602"/>
                    </a:cubicBezTo>
                    <a:cubicBezTo>
                      <a:pt x="452437" y="28602"/>
                      <a:pt x="538162" y="316733"/>
                      <a:pt x="585787" y="314352"/>
                    </a:cubicBezTo>
                    <a:cubicBezTo>
                      <a:pt x="633412" y="311971"/>
                      <a:pt x="638175" y="16696"/>
                      <a:pt x="685800" y="14315"/>
                    </a:cubicBezTo>
                    <a:cubicBezTo>
                      <a:pt x="733425" y="11934"/>
                      <a:pt x="821531" y="300065"/>
                      <a:pt x="871537" y="300065"/>
                    </a:cubicBezTo>
                    <a:cubicBezTo>
                      <a:pt x="921543" y="300065"/>
                      <a:pt x="935831" y="11934"/>
                      <a:pt x="985837" y="14315"/>
                    </a:cubicBezTo>
                    <a:cubicBezTo>
                      <a:pt x="1035843" y="16696"/>
                      <a:pt x="1119188" y="314352"/>
                      <a:pt x="1171575" y="314352"/>
                    </a:cubicBezTo>
                    <a:cubicBezTo>
                      <a:pt x="1223962" y="314352"/>
                      <a:pt x="1254918" y="14315"/>
                      <a:pt x="1300162" y="14315"/>
                    </a:cubicBezTo>
                    <a:cubicBezTo>
                      <a:pt x="1345406" y="14315"/>
                      <a:pt x="1402556" y="314352"/>
                      <a:pt x="1443037" y="314352"/>
                    </a:cubicBezTo>
                    <a:cubicBezTo>
                      <a:pt x="1483518" y="314352"/>
                      <a:pt x="1497806" y="16696"/>
                      <a:pt x="1543050" y="14315"/>
                    </a:cubicBezTo>
                    <a:cubicBezTo>
                      <a:pt x="1588294" y="11934"/>
                      <a:pt x="1671638" y="295302"/>
                      <a:pt x="1714500" y="300065"/>
                    </a:cubicBezTo>
                    <a:cubicBezTo>
                      <a:pt x="1757363" y="304828"/>
                      <a:pt x="1757363" y="40509"/>
                      <a:pt x="1800225" y="42890"/>
                    </a:cubicBezTo>
                    <a:cubicBezTo>
                      <a:pt x="1843088" y="45271"/>
                      <a:pt x="1931194" y="316733"/>
                      <a:pt x="1971675" y="314352"/>
                    </a:cubicBezTo>
                    <a:cubicBezTo>
                      <a:pt x="2012156" y="311971"/>
                      <a:pt x="2005012" y="28602"/>
                      <a:pt x="2043112" y="28602"/>
                    </a:cubicBezTo>
                    <a:cubicBezTo>
                      <a:pt x="2081212" y="28602"/>
                      <a:pt x="2162175" y="316733"/>
                      <a:pt x="2200275" y="314352"/>
                    </a:cubicBezTo>
                    <a:cubicBezTo>
                      <a:pt x="2238375" y="311971"/>
                      <a:pt x="2233612" y="14315"/>
                      <a:pt x="2271712" y="14315"/>
                    </a:cubicBezTo>
                    <a:cubicBezTo>
                      <a:pt x="2309812" y="14315"/>
                      <a:pt x="2388394" y="311971"/>
                      <a:pt x="2428875" y="314352"/>
                    </a:cubicBezTo>
                    <a:cubicBezTo>
                      <a:pt x="2469356" y="316733"/>
                      <a:pt x="2491978" y="172667"/>
                      <a:pt x="2514600" y="28602"/>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53" name="手繪多邊形 452">
                <a:extLst>
                  <a:ext uri="{FF2B5EF4-FFF2-40B4-BE49-F238E27FC236}">
                    <a16:creationId xmlns:a16="http://schemas.microsoft.com/office/drawing/2014/main" id="{33FB75F9-8647-4B44-8FBC-4BB83E5B2BD3}"/>
                  </a:ext>
                </a:extLst>
              </p:cNvPr>
              <p:cNvSpPr/>
              <p:nvPr/>
            </p:nvSpPr>
            <p:spPr>
              <a:xfrm>
                <a:off x="9042422" y="17621812"/>
                <a:ext cx="2043112" cy="198000"/>
              </a:xfrm>
              <a:custGeom>
                <a:avLst/>
                <a:gdLst>
                  <a:gd name="connsiteX0" fmla="*/ 0 w 2043112"/>
                  <a:gd name="connsiteY0" fmla="*/ 294676 h 323265"/>
                  <a:gd name="connsiteX1" fmla="*/ 114300 w 2043112"/>
                  <a:gd name="connsiteY1" fmla="*/ 8926 h 323265"/>
                  <a:gd name="connsiteX2" fmla="*/ 242887 w 2043112"/>
                  <a:gd name="connsiteY2" fmla="*/ 308963 h 323265"/>
                  <a:gd name="connsiteX3" fmla="*/ 357187 w 2043112"/>
                  <a:gd name="connsiteY3" fmla="*/ 23213 h 323265"/>
                  <a:gd name="connsiteX4" fmla="*/ 514350 w 2043112"/>
                  <a:gd name="connsiteY4" fmla="*/ 323251 h 323265"/>
                  <a:gd name="connsiteX5" fmla="*/ 628650 w 2043112"/>
                  <a:gd name="connsiteY5" fmla="*/ 37501 h 323265"/>
                  <a:gd name="connsiteX6" fmla="*/ 800100 w 2043112"/>
                  <a:gd name="connsiteY6" fmla="*/ 323251 h 323265"/>
                  <a:gd name="connsiteX7" fmla="*/ 914400 w 2043112"/>
                  <a:gd name="connsiteY7" fmla="*/ 37501 h 323265"/>
                  <a:gd name="connsiteX8" fmla="*/ 1085850 w 2043112"/>
                  <a:gd name="connsiteY8" fmla="*/ 308963 h 323265"/>
                  <a:gd name="connsiteX9" fmla="*/ 1200150 w 2043112"/>
                  <a:gd name="connsiteY9" fmla="*/ 23213 h 323265"/>
                  <a:gd name="connsiteX10" fmla="*/ 1400175 w 2043112"/>
                  <a:gd name="connsiteY10" fmla="*/ 308963 h 323265"/>
                  <a:gd name="connsiteX11" fmla="*/ 1485900 w 2043112"/>
                  <a:gd name="connsiteY11" fmla="*/ 37501 h 323265"/>
                  <a:gd name="connsiteX12" fmla="*/ 1671637 w 2043112"/>
                  <a:gd name="connsiteY12" fmla="*/ 308963 h 323265"/>
                  <a:gd name="connsiteX13" fmla="*/ 1757362 w 2043112"/>
                  <a:gd name="connsiteY13" fmla="*/ 23213 h 323265"/>
                  <a:gd name="connsiteX14" fmla="*/ 1943100 w 2043112"/>
                  <a:gd name="connsiteY14" fmla="*/ 308963 h 323265"/>
                  <a:gd name="connsiteX15" fmla="*/ 2014537 w 2043112"/>
                  <a:gd name="connsiteY15" fmla="*/ 23213 h 323265"/>
                  <a:gd name="connsiteX16" fmla="*/ 2043112 w 2043112"/>
                  <a:gd name="connsiteY16" fmla="*/ 37501 h 3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3112" h="323265">
                    <a:moveTo>
                      <a:pt x="0" y="294676"/>
                    </a:moveTo>
                    <a:cubicBezTo>
                      <a:pt x="36909" y="150610"/>
                      <a:pt x="73819" y="6545"/>
                      <a:pt x="114300" y="8926"/>
                    </a:cubicBezTo>
                    <a:cubicBezTo>
                      <a:pt x="154781" y="11307"/>
                      <a:pt x="202406" y="306582"/>
                      <a:pt x="242887" y="308963"/>
                    </a:cubicBezTo>
                    <a:cubicBezTo>
                      <a:pt x="283368" y="311344"/>
                      <a:pt x="311943" y="20832"/>
                      <a:pt x="357187" y="23213"/>
                    </a:cubicBezTo>
                    <a:cubicBezTo>
                      <a:pt x="402431" y="25594"/>
                      <a:pt x="469106" y="320870"/>
                      <a:pt x="514350" y="323251"/>
                    </a:cubicBezTo>
                    <a:cubicBezTo>
                      <a:pt x="559594" y="325632"/>
                      <a:pt x="581025" y="37501"/>
                      <a:pt x="628650" y="37501"/>
                    </a:cubicBezTo>
                    <a:cubicBezTo>
                      <a:pt x="676275" y="37501"/>
                      <a:pt x="752475" y="323251"/>
                      <a:pt x="800100" y="323251"/>
                    </a:cubicBezTo>
                    <a:cubicBezTo>
                      <a:pt x="847725" y="323251"/>
                      <a:pt x="866775" y="39882"/>
                      <a:pt x="914400" y="37501"/>
                    </a:cubicBezTo>
                    <a:cubicBezTo>
                      <a:pt x="962025" y="35120"/>
                      <a:pt x="1038225" y="311344"/>
                      <a:pt x="1085850" y="308963"/>
                    </a:cubicBezTo>
                    <a:cubicBezTo>
                      <a:pt x="1133475" y="306582"/>
                      <a:pt x="1147763" y="23213"/>
                      <a:pt x="1200150" y="23213"/>
                    </a:cubicBezTo>
                    <a:cubicBezTo>
                      <a:pt x="1252537" y="23213"/>
                      <a:pt x="1352550" y="306582"/>
                      <a:pt x="1400175" y="308963"/>
                    </a:cubicBezTo>
                    <a:cubicBezTo>
                      <a:pt x="1447800" y="311344"/>
                      <a:pt x="1440656" y="37501"/>
                      <a:pt x="1485900" y="37501"/>
                    </a:cubicBezTo>
                    <a:cubicBezTo>
                      <a:pt x="1531144" y="37501"/>
                      <a:pt x="1626393" y="311344"/>
                      <a:pt x="1671637" y="308963"/>
                    </a:cubicBezTo>
                    <a:cubicBezTo>
                      <a:pt x="1716881" y="306582"/>
                      <a:pt x="1712118" y="23213"/>
                      <a:pt x="1757362" y="23213"/>
                    </a:cubicBezTo>
                    <a:cubicBezTo>
                      <a:pt x="1802606" y="23213"/>
                      <a:pt x="1900238" y="308963"/>
                      <a:pt x="1943100" y="308963"/>
                    </a:cubicBezTo>
                    <a:cubicBezTo>
                      <a:pt x="1985962" y="308963"/>
                      <a:pt x="1997868" y="68457"/>
                      <a:pt x="2014537" y="23213"/>
                    </a:cubicBezTo>
                    <a:cubicBezTo>
                      <a:pt x="2031206" y="-22031"/>
                      <a:pt x="2037159" y="7735"/>
                      <a:pt x="2043112" y="37501"/>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454" name="文字方塊 453">
                <a:extLst>
                  <a:ext uri="{FF2B5EF4-FFF2-40B4-BE49-F238E27FC236}">
                    <a16:creationId xmlns:a16="http://schemas.microsoft.com/office/drawing/2014/main" id="{1B890884-FF29-9343-8FA0-4E4EF939961A}"/>
                  </a:ext>
                </a:extLst>
              </p:cNvPr>
              <p:cNvSpPr txBox="1"/>
              <p:nvPr/>
            </p:nvSpPr>
            <p:spPr>
              <a:xfrm>
                <a:off x="6659270" y="17530940"/>
                <a:ext cx="2288223" cy="721763"/>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pgR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sp>
            <p:nvSpPr>
              <p:cNvPr id="455" name="文字方塊 454">
                <a:extLst>
                  <a:ext uri="{FF2B5EF4-FFF2-40B4-BE49-F238E27FC236}">
                    <a16:creationId xmlns:a16="http://schemas.microsoft.com/office/drawing/2014/main" id="{B044B68D-ED76-314F-AA3D-29704FB4FFBD}"/>
                  </a:ext>
                </a:extLst>
              </p:cNvPr>
              <p:cNvSpPr txBox="1"/>
              <p:nvPr/>
            </p:nvSpPr>
            <p:spPr>
              <a:xfrm>
                <a:off x="6657368" y="17125569"/>
                <a:ext cx="2617456" cy="721763"/>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preC</a:t>
                </a: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 mR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cxnSp>
          <p:nvCxnSpPr>
            <p:cNvPr id="459" name="直線箭頭接點 458">
              <a:extLst>
                <a:ext uri="{FF2B5EF4-FFF2-40B4-BE49-F238E27FC236}">
                  <a16:creationId xmlns:a16="http://schemas.microsoft.com/office/drawing/2014/main" id="{BEC7D28D-7634-7744-B831-3FF8DC1F3FD1}"/>
                </a:ext>
              </a:extLst>
            </p:cNvPr>
            <p:cNvCxnSpPr>
              <a:cxnSpLocks/>
            </p:cNvCxnSpPr>
            <p:nvPr/>
          </p:nvCxnSpPr>
          <p:spPr>
            <a:xfrm>
              <a:off x="5297363" y="5219289"/>
              <a:ext cx="545894" cy="34347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2" name="文字方塊 551">
              <a:extLst>
                <a:ext uri="{FF2B5EF4-FFF2-40B4-BE49-F238E27FC236}">
                  <a16:creationId xmlns:a16="http://schemas.microsoft.com/office/drawing/2014/main" id="{75E5DBC4-5123-3D4C-8FA7-62FA5A97DC0B}"/>
                </a:ext>
              </a:extLst>
            </p:cNvPr>
            <p:cNvSpPr txBox="1"/>
            <p:nvPr/>
          </p:nvSpPr>
          <p:spPr>
            <a:xfrm>
              <a:off x="4155836" y="5276824"/>
              <a:ext cx="1260807" cy="2291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rPr>
                <a:t>mRNA transcription</a:t>
              </a:r>
              <a:endParaRPr kumimoji="1" lang="zh-TW" altLang="en-US"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endParaRPr>
            </a:p>
          </p:txBody>
        </p:sp>
        <p:sp>
          <p:nvSpPr>
            <p:cNvPr id="553" name="文字方塊 552">
              <a:extLst>
                <a:ext uri="{FF2B5EF4-FFF2-40B4-BE49-F238E27FC236}">
                  <a16:creationId xmlns:a16="http://schemas.microsoft.com/office/drawing/2014/main" id="{0D40006F-A13D-A44D-9E0F-734BE00ABA4B}"/>
                </a:ext>
              </a:extLst>
            </p:cNvPr>
            <p:cNvSpPr txBox="1"/>
            <p:nvPr/>
          </p:nvSpPr>
          <p:spPr>
            <a:xfrm>
              <a:off x="1111052" y="3614457"/>
              <a:ext cx="1041445"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rPr>
                <a:t>Uncoating</a:t>
              </a:r>
              <a:endParaRPr kumimoji="1" lang="zh-TW" altLang="en-US"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endParaRPr>
            </a:p>
          </p:txBody>
        </p:sp>
        <p:sp>
          <p:nvSpPr>
            <p:cNvPr id="573" name="文字方塊 572">
              <a:extLst>
                <a:ext uri="{FF2B5EF4-FFF2-40B4-BE49-F238E27FC236}">
                  <a16:creationId xmlns:a16="http://schemas.microsoft.com/office/drawing/2014/main" id="{A8557DCA-B5D6-DD42-9564-3DD1CFEE9923}"/>
                </a:ext>
              </a:extLst>
            </p:cNvPr>
            <p:cNvSpPr txBox="1"/>
            <p:nvPr/>
          </p:nvSpPr>
          <p:spPr>
            <a:xfrm>
              <a:off x="6059965" y="5104666"/>
              <a:ext cx="1105547"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rPr>
                <a:t>Translation</a:t>
              </a:r>
              <a:endParaRPr kumimoji="1" lang="zh-TW" altLang="en-US"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endParaRPr>
            </a:p>
          </p:txBody>
        </p:sp>
        <p:grpSp>
          <p:nvGrpSpPr>
            <p:cNvPr id="574" name="群組 573">
              <a:extLst>
                <a:ext uri="{FF2B5EF4-FFF2-40B4-BE49-F238E27FC236}">
                  <a16:creationId xmlns:a16="http://schemas.microsoft.com/office/drawing/2014/main" id="{A574E195-3B0F-6647-B21F-42D6520F9882}"/>
                </a:ext>
              </a:extLst>
            </p:cNvPr>
            <p:cNvGrpSpPr/>
            <p:nvPr/>
          </p:nvGrpSpPr>
          <p:grpSpPr>
            <a:xfrm>
              <a:off x="5895044" y="5424160"/>
              <a:ext cx="1029892" cy="569334"/>
              <a:chOff x="1491507" y="10349510"/>
              <a:chExt cx="2548609" cy="1486986"/>
            </a:xfrm>
          </p:grpSpPr>
          <p:grpSp>
            <p:nvGrpSpPr>
              <p:cNvPr id="575" name="群組 574">
                <a:extLst>
                  <a:ext uri="{FF2B5EF4-FFF2-40B4-BE49-F238E27FC236}">
                    <a16:creationId xmlns:a16="http://schemas.microsoft.com/office/drawing/2014/main" id="{5387735A-D76A-D446-8E46-09B7C8E07FE3}"/>
                  </a:ext>
                </a:extLst>
              </p:cNvPr>
              <p:cNvGrpSpPr/>
              <p:nvPr/>
            </p:nvGrpSpPr>
            <p:grpSpPr>
              <a:xfrm>
                <a:off x="1491715" y="10349510"/>
                <a:ext cx="2548401" cy="1486986"/>
                <a:chOff x="1491715" y="10349510"/>
                <a:chExt cx="2548401" cy="1486986"/>
              </a:xfrm>
            </p:grpSpPr>
            <p:sp>
              <p:nvSpPr>
                <p:cNvPr id="579" name="手繪多邊形 578">
                  <a:extLst>
                    <a:ext uri="{FF2B5EF4-FFF2-40B4-BE49-F238E27FC236}">
                      <a16:creationId xmlns:a16="http://schemas.microsoft.com/office/drawing/2014/main" id="{C69BBAF9-9CC3-2145-83DE-0574967F159E}"/>
                    </a:ext>
                  </a:extLst>
                </p:cNvPr>
                <p:cNvSpPr/>
                <p:nvPr/>
              </p:nvSpPr>
              <p:spPr>
                <a:xfrm>
                  <a:off x="1491715" y="10349510"/>
                  <a:ext cx="1210037" cy="259613"/>
                </a:xfrm>
                <a:custGeom>
                  <a:avLst/>
                  <a:gdLst>
                    <a:gd name="connsiteX0" fmla="*/ 0 w 1863524"/>
                    <a:gd name="connsiteY0" fmla="*/ 416689 h 462994"/>
                    <a:gd name="connsiteX1" fmla="*/ 150471 w 1863524"/>
                    <a:gd name="connsiteY1" fmla="*/ 11575 h 462994"/>
                    <a:gd name="connsiteX2" fmla="*/ 277792 w 1863524"/>
                    <a:gd name="connsiteY2" fmla="*/ 451413 h 462994"/>
                    <a:gd name="connsiteX3" fmla="*/ 416689 w 1863524"/>
                    <a:gd name="connsiteY3" fmla="*/ 11575 h 462994"/>
                    <a:gd name="connsiteX4" fmla="*/ 613458 w 1863524"/>
                    <a:gd name="connsiteY4" fmla="*/ 462988 h 462994"/>
                    <a:gd name="connsiteX5" fmla="*/ 729205 w 1863524"/>
                    <a:gd name="connsiteY5" fmla="*/ 23150 h 462994"/>
                    <a:gd name="connsiteX6" fmla="*/ 925975 w 1863524"/>
                    <a:gd name="connsiteY6" fmla="*/ 451413 h 462994"/>
                    <a:gd name="connsiteX7" fmla="*/ 1064871 w 1863524"/>
                    <a:gd name="connsiteY7" fmla="*/ 0 h 462994"/>
                    <a:gd name="connsiteX8" fmla="*/ 1226917 w 1863524"/>
                    <a:gd name="connsiteY8" fmla="*/ 451413 h 462994"/>
                    <a:gd name="connsiteX9" fmla="*/ 1377387 w 1863524"/>
                    <a:gd name="connsiteY9" fmla="*/ 34725 h 462994"/>
                    <a:gd name="connsiteX10" fmla="*/ 1551008 w 1863524"/>
                    <a:gd name="connsiteY10" fmla="*/ 451413 h 462994"/>
                    <a:gd name="connsiteX11" fmla="*/ 1666755 w 1863524"/>
                    <a:gd name="connsiteY11" fmla="*/ 11575 h 462994"/>
                    <a:gd name="connsiteX12" fmla="*/ 1794076 w 1863524"/>
                    <a:gd name="connsiteY12" fmla="*/ 312517 h 462994"/>
                    <a:gd name="connsiteX13" fmla="*/ 1863524 w 1863524"/>
                    <a:gd name="connsiteY13" fmla="*/ 462988 h 46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3524" h="462994">
                      <a:moveTo>
                        <a:pt x="0" y="416689"/>
                      </a:moveTo>
                      <a:cubicBezTo>
                        <a:pt x="52086" y="211238"/>
                        <a:pt x="104172" y="5788"/>
                        <a:pt x="150471" y="11575"/>
                      </a:cubicBezTo>
                      <a:cubicBezTo>
                        <a:pt x="196770" y="17362"/>
                        <a:pt x="233422" y="451413"/>
                        <a:pt x="277792" y="451413"/>
                      </a:cubicBezTo>
                      <a:cubicBezTo>
                        <a:pt x="322162" y="451413"/>
                        <a:pt x="360745" y="9646"/>
                        <a:pt x="416689" y="11575"/>
                      </a:cubicBezTo>
                      <a:cubicBezTo>
                        <a:pt x="472633" y="13504"/>
                        <a:pt x="561372" y="461059"/>
                        <a:pt x="613458" y="462988"/>
                      </a:cubicBezTo>
                      <a:cubicBezTo>
                        <a:pt x="665544" y="464917"/>
                        <a:pt x="677119" y="25079"/>
                        <a:pt x="729205" y="23150"/>
                      </a:cubicBezTo>
                      <a:cubicBezTo>
                        <a:pt x="781291" y="21221"/>
                        <a:pt x="870031" y="455271"/>
                        <a:pt x="925975" y="451413"/>
                      </a:cubicBezTo>
                      <a:cubicBezTo>
                        <a:pt x="981919" y="447555"/>
                        <a:pt x="1014714" y="0"/>
                        <a:pt x="1064871" y="0"/>
                      </a:cubicBezTo>
                      <a:cubicBezTo>
                        <a:pt x="1115028" y="0"/>
                        <a:pt x="1174831" y="445626"/>
                        <a:pt x="1226917" y="451413"/>
                      </a:cubicBezTo>
                      <a:cubicBezTo>
                        <a:pt x="1279003" y="457200"/>
                        <a:pt x="1323372" y="34725"/>
                        <a:pt x="1377387" y="34725"/>
                      </a:cubicBezTo>
                      <a:cubicBezTo>
                        <a:pt x="1431402" y="34725"/>
                        <a:pt x="1502780" y="455271"/>
                        <a:pt x="1551008" y="451413"/>
                      </a:cubicBezTo>
                      <a:cubicBezTo>
                        <a:pt x="1599236" y="447555"/>
                        <a:pt x="1626244" y="34724"/>
                        <a:pt x="1666755" y="11575"/>
                      </a:cubicBezTo>
                      <a:cubicBezTo>
                        <a:pt x="1707266" y="-11574"/>
                        <a:pt x="1761281" y="237281"/>
                        <a:pt x="1794076" y="312517"/>
                      </a:cubicBezTo>
                      <a:cubicBezTo>
                        <a:pt x="1826871" y="387753"/>
                        <a:pt x="1845197" y="425370"/>
                        <a:pt x="1863524" y="462988"/>
                      </a:cubicBezTo>
                    </a:path>
                  </a:pathLst>
                </a:custGeom>
                <a:no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80" name="手繪多邊形 579">
                  <a:extLst>
                    <a:ext uri="{FF2B5EF4-FFF2-40B4-BE49-F238E27FC236}">
                      <a16:creationId xmlns:a16="http://schemas.microsoft.com/office/drawing/2014/main" id="{DBC0F1B0-7B0B-654C-BEAB-DD7F56B6A181}"/>
                    </a:ext>
                  </a:extLst>
                </p:cNvPr>
                <p:cNvSpPr/>
                <p:nvPr/>
              </p:nvSpPr>
              <p:spPr>
                <a:xfrm>
                  <a:off x="1523716" y="11042397"/>
                  <a:ext cx="1481559" cy="240926"/>
                </a:xfrm>
                <a:custGeom>
                  <a:avLst/>
                  <a:gdLst>
                    <a:gd name="connsiteX0" fmla="*/ 0 w 1481559"/>
                    <a:gd name="connsiteY0" fmla="*/ 289376 h 300959"/>
                    <a:gd name="connsiteX1" fmla="*/ 115747 w 1481559"/>
                    <a:gd name="connsiteY1" fmla="*/ 11583 h 300959"/>
                    <a:gd name="connsiteX2" fmla="*/ 219919 w 1481559"/>
                    <a:gd name="connsiteY2" fmla="*/ 266226 h 300959"/>
                    <a:gd name="connsiteX3" fmla="*/ 335666 w 1481559"/>
                    <a:gd name="connsiteY3" fmla="*/ 23158 h 300959"/>
                    <a:gd name="connsiteX4" fmla="*/ 462987 w 1481559"/>
                    <a:gd name="connsiteY4" fmla="*/ 289376 h 300959"/>
                    <a:gd name="connsiteX5" fmla="*/ 578734 w 1481559"/>
                    <a:gd name="connsiteY5" fmla="*/ 11583 h 300959"/>
                    <a:gd name="connsiteX6" fmla="*/ 694481 w 1481559"/>
                    <a:gd name="connsiteY6" fmla="*/ 300950 h 300959"/>
                    <a:gd name="connsiteX7" fmla="*/ 798653 w 1481559"/>
                    <a:gd name="connsiteY7" fmla="*/ 23158 h 300959"/>
                    <a:gd name="connsiteX8" fmla="*/ 925974 w 1481559"/>
                    <a:gd name="connsiteY8" fmla="*/ 289376 h 300959"/>
                    <a:gd name="connsiteX9" fmla="*/ 1030147 w 1481559"/>
                    <a:gd name="connsiteY9" fmla="*/ 9 h 300959"/>
                    <a:gd name="connsiteX10" fmla="*/ 1169043 w 1481559"/>
                    <a:gd name="connsiteY10" fmla="*/ 300950 h 300959"/>
                    <a:gd name="connsiteX11" fmla="*/ 1250066 w 1481559"/>
                    <a:gd name="connsiteY11" fmla="*/ 11583 h 300959"/>
                    <a:gd name="connsiteX12" fmla="*/ 1377387 w 1481559"/>
                    <a:gd name="connsiteY12" fmla="*/ 289376 h 300959"/>
                    <a:gd name="connsiteX13" fmla="*/ 1481559 w 1481559"/>
                    <a:gd name="connsiteY13" fmla="*/ 9 h 30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1559" h="300959">
                      <a:moveTo>
                        <a:pt x="0" y="289376"/>
                      </a:moveTo>
                      <a:cubicBezTo>
                        <a:pt x="39547" y="152408"/>
                        <a:pt x="79094" y="15441"/>
                        <a:pt x="115747" y="11583"/>
                      </a:cubicBezTo>
                      <a:cubicBezTo>
                        <a:pt x="152400" y="7725"/>
                        <a:pt x="183266" y="264297"/>
                        <a:pt x="219919" y="266226"/>
                      </a:cubicBezTo>
                      <a:cubicBezTo>
                        <a:pt x="256572" y="268155"/>
                        <a:pt x="295155" y="19300"/>
                        <a:pt x="335666" y="23158"/>
                      </a:cubicBezTo>
                      <a:cubicBezTo>
                        <a:pt x="376177" y="27016"/>
                        <a:pt x="422476" y="291305"/>
                        <a:pt x="462987" y="289376"/>
                      </a:cubicBezTo>
                      <a:cubicBezTo>
                        <a:pt x="503498" y="287447"/>
                        <a:pt x="540152" y="9654"/>
                        <a:pt x="578734" y="11583"/>
                      </a:cubicBezTo>
                      <a:cubicBezTo>
                        <a:pt x="617316" y="13512"/>
                        <a:pt x="657828" y="299021"/>
                        <a:pt x="694481" y="300950"/>
                      </a:cubicBezTo>
                      <a:cubicBezTo>
                        <a:pt x="731134" y="302879"/>
                        <a:pt x="760071" y="25087"/>
                        <a:pt x="798653" y="23158"/>
                      </a:cubicBezTo>
                      <a:cubicBezTo>
                        <a:pt x="837235" y="21229"/>
                        <a:pt x="887392" y="293234"/>
                        <a:pt x="925974" y="289376"/>
                      </a:cubicBezTo>
                      <a:cubicBezTo>
                        <a:pt x="964556" y="285518"/>
                        <a:pt x="989636" y="-1920"/>
                        <a:pt x="1030147" y="9"/>
                      </a:cubicBezTo>
                      <a:cubicBezTo>
                        <a:pt x="1070658" y="1938"/>
                        <a:pt x="1132390" y="299021"/>
                        <a:pt x="1169043" y="300950"/>
                      </a:cubicBezTo>
                      <a:cubicBezTo>
                        <a:pt x="1205696" y="302879"/>
                        <a:pt x="1215342" y="13512"/>
                        <a:pt x="1250066" y="11583"/>
                      </a:cubicBezTo>
                      <a:cubicBezTo>
                        <a:pt x="1284790" y="9654"/>
                        <a:pt x="1338805" y="291305"/>
                        <a:pt x="1377387" y="289376"/>
                      </a:cubicBezTo>
                      <a:cubicBezTo>
                        <a:pt x="1415969" y="287447"/>
                        <a:pt x="1448764" y="143728"/>
                        <a:pt x="1481559" y="9"/>
                      </a:cubicBezTo>
                    </a:path>
                  </a:pathLst>
                </a:custGeom>
                <a:no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81" name="手繪多邊形 580">
                  <a:extLst>
                    <a:ext uri="{FF2B5EF4-FFF2-40B4-BE49-F238E27FC236}">
                      <a16:creationId xmlns:a16="http://schemas.microsoft.com/office/drawing/2014/main" id="{3F017041-219F-D342-927B-E300928CB42F}"/>
                    </a:ext>
                  </a:extLst>
                </p:cNvPr>
                <p:cNvSpPr/>
                <p:nvPr/>
              </p:nvSpPr>
              <p:spPr>
                <a:xfrm>
                  <a:off x="1524135" y="11336024"/>
                  <a:ext cx="2043112" cy="198000"/>
                </a:xfrm>
                <a:custGeom>
                  <a:avLst/>
                  <a:gdLst>
                    <a:gd name="connsiteX0" fmla="*/ 0 w 2043112"/>
                    <a:gd name="connsiteY0" fmla="*/ 294676 h 323265"/>
                    <a:gd name="connsiteX1" fmla="*/ 114300 w 2043112"/>
                    <a:gd name="connsiteY1" fmla="*/ 8926 h 323265"/>
                    <a:gd name="connsiteX2" fmla="*/ 242887 w 2043112"/>
                    <a:gd name="connsiteY2" fmla="*/ 308963 h 323265"/>
                    <a:gd name="connsiteX3" fmla="*/ 357187 w 2043112"/>
                    <a:gd name="connsiteY3" fmla="*/ 23213 h 323265"/>
                    <a:gd name="connsiteX4" fmla="*/ 514350 w 2043112"/>
                    <a:gd name="connsiteY4" fmla="*/ 323251 h 323265"/>
                    <a:gd name="connsiteX5" fmla="*/ 628650 w 2043112"/>
                    <a:gd name="connsiteY5" fmla="*/ 37501 h 323265"/>
                    <a:gd name="connsiteX6" fmla="*/ 800100 w 2043112"/>
                    <a:gd name="connsiteY6" fmla="*/ 323251 h 323265"/>
                    <a:gd name="connsiteX7" fmla="*/ 914400 w 2043112"/>
                    <a:gd name="connsiteY7" fmla="*/ 37501 h 323265"/>
                    <a:gd name="connsiteX8" fmla="*/ 1085850 w 2043112"/>
                    <a:gd name="connsiteY8" fmla="*/ 308963 h 323265"/>
                    <a:gd name="connsiteX9" fmla="*/ 1200150 w 2043112"/>
                    <a:gd name="connsiteY9" fmla="*/ 23213 h 323265"/>
                    <a:gd name="connsiteX10" fmla="*/ 1400175 w 2043112"/>
                    <a:gd name="connsiteY10" fmla="*/ 308963 h 323265"/>
                    <a:gd name="connsiteX11" fmla="*/ 1485900 w 2043112"/>
                    <a:gd name="connsiteY11" fmla="*/ 37501 h 323265"/>
                    <a:gd name="connsiteX12" fmla="*/ 1671637 w 2043112"/>
                    <a:gd name="connsiteY12" fmla="*/ 308963 h 323265"/>
                    <a:gd name="connsiteX13" fmla="*/ 1757362 w 2043112"/>
                    <a:gd name="connsiteY13" fmla="*/ 23213 h 323265"/>
                    <a:gd name="connsiteX14" fmla="*/ 1943100 w 2043112"/>
                    <a:gd name="connsiteY14" fmla="*/ 308963 h 323265"/>
                    <a:gd name="connsiteX15" fmla="*/ 2014537 w 2043112"/>
                    <a:gd name="connsiteY15" fmla="*/ 23213 h 323265"/>
                    <a:gd name="connsiteX16" fmla="*/ 2043112 w 2043112"/>
                    <a:gd name="connsiteY16" fmla="*/ 37501 h 3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43112" h="323265">
                      <a:moveTo>
                        <a:pt x="0" y="294676"/>
                      </a:moveTo>
                      <a:cubicBezTo>
                        <a:pt x="36909" y="150610"/>
                        <a:pt x="73819" y="6545"/>
                        <a:pt x="114300" y="8926"/>
                      </a:cubicBezTo>
                      <a:cubicBezTo>
                        <a:pt x="154781" y="11307"/>
                        <a:pt x="202406" y="306582"/>
                        <a:pt x="242887" y="308963"/>
                      </a:cubicBezTo>
                      <a:cubicBezTo>
                        <a:pt x="283368" y="311344"/>
                        <a:pt x="311943" y="20832"/>
                        <a:pt x="357187" y="23213"/>
                      </a:cubicBezTo>
                      <a:cubicBezTo>
                        <a:pt x="402431" y="25594"/>
                        <a:pt x="469106" y="320870"/>
                        <a:pt x="514350" y="323251"/>
                      </a:cubicBezTo>
                      <a:cubicBezTo>
                        <a:pt x="559594" y="325632"/>
                        <a:pt x="581025" y="37501"/>
                        <a:pt x="628650" y="37501"/>
                      </a:cubicBezTo>
                      <a:cubicBezTo>
                        <a:pt x="676275" y="37501"/>
                        <a:pt x="752475" y="323251"/>
                        <a:pt x="800100" y="323251"/>
                      </a:cubicBezTo>
                      <a:cubicBezTo>
                        <a:pt x="847725" y="323251"/>
                        <a:pt x="866775" y="39882"/>
                        <a:pt x="914400" y="37501"/>
                      </a:cubicBezTo>
                      <a:cubicBezTo>
                        <a:pt x="962025" y="35120"/>
                        <a:pt x="1038225" y="311344"/>
                        <a:pt x="1085850" y="308963"/>
                      </a:cubicBezTo>
                      <a:cubicBezTo>
                        <a:pt x="1133475" y="306582"/>
                        <a:pt x="1147763" y="23213"/>
                        <a:pt x="1200150" y="23213"/>
                      </a:cubicBezTo>
                      <a:cubicBezTo>
                        <a:pt x="1252537" y="23213"/>
                        <a:pt x="1352550" y="306582"/>
                        <a:pt x="1400175" y="308963"/>
                      </a:cubicBezTo>
                      <a:cubicBezTo>
                        <a:pt x="1447800" y="311344"/>
                        <a:pt x="1440656" y="37501"/>
                        <a:pt x="1485900" y="37501"/>
                      </a:cubicBezTo>
                      <a:cubicBezTo>
                        <a:pt x="1531144" y="37501"/>
                        <a:pt x="1626393" y="311344"/>
                        <a:pt x="1671637" y="308963"/>
                      </a:cubicBezTo>
                      <a:cubicBezTo>
                        <a:pt x="1716881" y="306582"/>
                        <a:pt x="1712118" y="23213"/>
                        <a:pt x="1757362" y="23213"/>
                      </a:cubicBezTo>
                      <a:cubicBezTo>
                        <a:pt x="1802606" y="23213"/>
                        <a:pt x="1900238" y="308963"/>
                        <a:pt x="1943100" y="308963"/>
                      </a:cubicBezTo>
                      <a:cubicBezTo>
                        <a:pt x="1985962" y="308963"/>
                        <a:pt x="1997868" y="68457"/>
                        <a:pt x="2014537" y="23213"/>
                      </a:cubicBezTo>
                      <a:cubicBezTo>
                        <a:pt x="2031206" y="-22031"/>
                        <a:pt x="2037159" y="7735"/>
                        <a:pt x="2043112" y="37501"/>
                      </a:cubicBezTo>
                    </a:path>
                  </a:pathLst>
                </a:custGeom>
                <a:no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82" name="手繪多邊形 581">
                  <a:extLst>
                    <a:ext uri="{FF2B5EF4-FFF2-40B4-BE49-F238E27FC236}">
                      <a16:creationId xmlns:a16="http://schemas.microsoft.com/office/drawing/2014/main" id="{FBA64057-D51C-5647-B23E-2F27AD9068CB}"/>
                    </a:ext>
                  </a:extLst>
                </p:cNvPr>
                <p:cNvSpPr/>
                <p:nvPr/>
              </p:nvSpPr>
              <p:spPr>
                <a:xfrm>
                  <a:off x="1523716" y="11638496"/>
                  <a:ext cx="2516400" cy="198000"/>
                </a:xfrm>
                <a:custGeom>
                  <a:avLst/>
                  <a:gdLst>
                    <a:gd name="connsiteX0" fmla="*/ 0 w 2514600"/>
                    <a:gd name="connsiteY0" fmla="*/ 300065 h 314409"/>
                    <a:gd name="connsiteX1" fmla="*/ 100012 w 2514600"/>
                    <a:gd name="connsiteY1" fmla="*/ 27 h 314409"/>
                    <a:gd name="connsiteX2" fmla="*/ 271462 w 2514600"/>
                    <a:gd name="connsiteY2" fmla="*/ 314352 h 314409"/>
                    <a:gd name="connsiteX3" fmla="*/ 400050 w 2514600"/>
                    <a:gd name="connsiteY3" fmla="*/ 28602 h 314409"/>
                    <a:gd name="connsiteX4" fmla="*/ 585787 w 2514600"/>
                    <a:gd name="connsiteY4" fmla="*/ 314352 h 314409"/>
                    <a:gd name="connsiteX5" fmla="*/ 685800 w 2514600"/>
                    <a:gd name="connsiteY5" fmla="*/ 14315 h 314409"/>
                    <a:gd name="connsiteX6" fmla="*/ 871537 w 2514600"/>
                    <a:gd name="connsiteY6" fmla="*/ 300065 h 314409"/>
                    <a:gd name="connsiteX7" fmla="*/ 985837 w 2514600"/>
                    <a:gd name="connsiteY7" fmla="*/ 14315 h 314409"/>
                    <a:gd name="connsiteX8" fmla="*/ 1171575 w 2514600"/>
                    <a:gd name="connsiteY8" fmla="*/ 314352 h 314409"/>
                    <a:gd name="connsiteX9" fmla="*/ 1300162 w 2514600"/>
                    <a:gd name="connsiteY9" fmla="*/ 14315 h 314409"/>
                    <a:gd name="connsiteX10" fmla="*/ 1443037 w 2514600"/>
                    <a:gd name="connsiteY10" fmla="*/ 314352 h 314409"/>
                    <a:gd name="connsiteX11" fmla="*/ 1543050 w 2514600"/>
                    <a:gd name="connsiteY11" fmla="*/ 14315 h 314409"/>
                    <a:gd name="connsiteX12" fmla="*/ 1714500 w 2514600"/>
                    <a:gd name="connsiteY12" fmla="*/ 300065 h 314409"/>
                    <a:gd name="connsiteX13" fmla="*/ 1800225 w 2514600"/>
                    <a:gd name="connsiteY13" fmla="*/ 42890 h 314409"/>
                    <a:gd name="connsiteX14" fmla="*/ 1971675 w 2514600"/>
                    <a:gd name="connsiteY14" fmla="*/ 314352 h 314409"/>
                    <a:gd name="connsiteX15" fmla="*/ 2043112 w 2514600"/>
                    <a:gd name="connsiteY15" fmla="*/ 28602 h 314409"/>
                    <a:gd name="connsiteX16" fmla="*/ 2200275 w 2514600"/>
                    <a:gd name="connsiteY16" fmla="*/ 314352 h 314409"/>
                    <a:gd name="connsiteX17" fmla="*/ 2271712 w 2514600"/>
                    <a:gd name="connsiteY17" fmla="*/ 14315 h 314409"/>
                    <a:gd name="connsiteX18" fmla="*/ 2428875 w 2514600"/>
                    <a:gd name="connsiteY18" fmla="*/ 314352 h 314409"/>
                    <a:gd name="connsiteX19" fmla="*/ 2514600 w 2514600"/>
                    <a:gd name="connsiteY19" fmla="*/ 28602 h 31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4600" h="314409">
                      <a:moveTo>
                        <a:pt x="0" y="300065"/>
                      </a:moveTo>
                      <a:cubicBezTo>
                        <a:pt x="27384" y="148855"/>
                        <a:pt x="54768" y="-2354"/>
                        <a:pt x="100012" y="27"/>
                      </a:cubicBezTo>
                      <a:cubicBezTo>
                        <a:pt x="145256" y="2408"/>
                        <a:pt x="221456" y="309590"/>
                        <a:pt x="271462" y="314352"/>
                      </a:cubicBezTo>
                      <a:cubicBezTo>
                        <a:pt x="321468" y="319115"/>
                        <a:pt x="347663" y="28602"/>
                        <a:pt x="400050" y="28602"/>
                      </a:cubicBezTo>
                      <a:cubicBezTo>
                        <a:pt x="452437" y="28602"/>
                        <a:pt x="538162" y="316733"/>
                        <a:pt x="585787" y="314352"/>
                      </a:cubicBezTo>
                      <a:cubicBezTo>
                        <a:pt x="633412" y="311971"/>
                        <a:pt x="638175" y="16696"/>
                        <a:pt x="685800" y="14315"/>
                      </a:cubicBezTo>
                      <a:cubicBezTo>
                        <a:pt x="733425" y="11934"/>
                        <a:pt x="821531" y="300065"/>
                        <a:pt x="871537" y="300065"/>
                      </a:cubicBezTo>
                      <a:cubicBezTo>
                        <a:pt x="921543" y="300065"/>
                        <a:pt x="935831" y="11934"/>
                        <a:pt x="985837" y="14315"/>
                      </a:cubicBezTo>
                      <a:cubicBezTo>
                        <a:pt x="1035843" y="16696"/>
                        <a:pt x="1119188" y="314352"/>
                        <a:pt x="1171575" y="314352"/>
                      </a:cubicBezTo>
                      <a:cubicBezTo>
                        <a:pt x="1223962" y="314352"/>
                        <a:pt x="1254918" y="14315"/>
                        <a:pt x="1300162" y="14315"/>
                      </a:cubicBezTo>
                      <a:cubicBezTo>
                        <a:pt x="1345406" y="14315"/>
                        <a:pt x="1402556" y="314352"/>
                        <a:pt x="1443037" y="314352"/>
                      </a:cubicBezTo>
                      <a:cubicBezTo>
                        <a:pt x="1483518" y="314352"/>
                        <a:pt x="1497806" y="16696"/>
                        <a:pt x="1543050" y="14315"/>
                      </a:cubicBezTo>
                      <a:cubicBezTo>
                        <a:pt x="1588294" y="11934"/>
                        <a:pt x="1671638" y="295302"/>
                        <a:pt x="1714500" y="300065"/>
                      </a:cubicBezTo>
                      <a:cubicBezTo>
                        <a:pt x="1757363" y="304828"/>
                        <a:pt x="1757363" y="40509"/>
                        <a:pt x="1800225" y="42890"/>
                      </a:cubicBezTo>
                      <a:cubicBezTo>
                        <a:pt x="1843088" y="45271"/>
                        <a:pt x="1931194" y="316733"/>
                        <a:pt x="1971675" y="314352"/>
                      </a:cubicBezTo>
                      <a:cubicBezTo>
                        <a:pt x="2012156" y="311971"/>
                        <a:pt x="2005012" y="28602"/>
                        <a:pt x="2043112" y="28602"/>
                      </a:cubicBezTo>
                      <a:cubicBezTo>
                        <a:pt x="2081212" y="28602"/>
                        <a:pt x="2162175" y="316733"/>
                        <a:pt x="2200275" y="314352"/>
                      </a:cubicBezTo>
                      <a:cubicBezTo>
                        <a:pt x="2238375" y="311971"/>
                        <a:pt x="2233612" y="14315"/>
                        <a:pt x="2271712" y="14315"/>
                      </a:cubicBezTo>
                      <a:cubicBezTo>
                        <a:pt x="2309812" y="14315"/>
                        <a:pt x="2388394" y="311971"/>
                        <a:pt x="2428875" y="314352"/>
                      </a:cubicBezTo>
                      <a:cubicBezTo>
                        <a:pt x="2469356" y="316733"/>
                        <a:pt x="2491978" y="172667"/>
                        <a:pt x="2514600" y="28602"/>
                      </a:cubicBezTo>
                    </a:path>
                  </a:pathLst>
                </a:custGeom>
                <a:no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576" name="手繪多邊形 575">
                <a:extLst>
                  <a:ext uri="{FF2B5EF4-FFF2-40B4-BE49-F238E27FC236}">
                    <a16:creationId xmlns:a16="http://schemas.microsoft.com/office/drawing/2014/main" id="{0D4C353D-73B0-324F-9E6A-7D975F77A061}"/>
                  </a:ext>
                </a:extLst>
              </p:cNvPr>
              <p:cNvSpPr/>
              <p:nvPr/>
            </p:nvSpPr>
            <p:spPr>
              <a:xfrm>
                <a:off x="1491507" y="10739925"/>
                <a:ext cx="1481559" cy="198000"/>
              </a:xfrm>
              <a:custGeom>
                <a:avLst/>
                <a:gdLst>
                  <a:gd name="connsiteX0" fmla="*/ 0 w 1481559"/>
                  <a:gd name="connsiteY0" fmla="*/ 289376 h 300959"/>
                  <a:gd name="connsiteX1" fmla="*/ 115747 w 1481559"/>
                  <a:gd name="connsiteY1" fmla="*/ 11583 h 300959"/>
                  <a:gd name="connsiteX2" fmla="*/ 219919 w 1481559"/>
                  <a:gd name="connsiteY2" fmla="*/ 266226 h 300959"/>
                  <a:gd name="connsiteX3" fmla="*/ 335666 w 1481559"/>
                  <a:gd name="connsiteY3" fmla="*/ 23158 h 300959"/>
                  <a:gd name="connsiteX4" fmla="*/ 462987 w 1481559"/>
                  <a:gd name="connsiteY4" fmla="*/ 289376 h 300959"/>
                  <a:gd name="connsiteX5" fmla="*/ 578734 w 1481559"/>
                  <a:gd name="connsiteY5" fmla="*/ 11583 h 300959"/>
                  <a:gd name="connsiteX6" fmla="*/ 694481 w 1481559"/>
                  <a:gd name="connsiteY6" fmla="*/ 300950 h 300959"/>
                  <a:gd name="connsiteX7" fmla="*/ 798653 w 1481559"/>
                  <a:gd name="connsiteY7" fmla="*/ 23158 h 300959"/>
                  <a:gd name="connsiteX8" fmla="*/ 925974 w 1481559"/>
                  <a:gd name="connsiteY8" fmla="*/ 289376 h 300959"/>
                  <a:gd name="connsiteX9" fmla="*/ 1030147 w 1481559"/>
                  <a:gd name="connsiteY9" fmla="*/ 9 h 300959"/>
                  <a:gd name="connsiteX10" fmla="*/ 1169043 w 1481559"/>
                  <a:gd name="connsiteY10" fmla="*/ 300950 h 300959"/>
                  <a:gd name="connsiteX11" fmla="*/ 1250066 w 1481559"/>
                  <a:gd name="connsiteY11" fmla="*/ 11583 h 300959"/>
                  <a:gd name="connsiteX12" fmla="*/ 1377387 w 1481559"/>
                  <a:gd name="connsiteY12" fmla="*/ 289376 h 300959"/>
                  <a:gd name="connsiteX13" fmla="*/ 1481559 w 1481559"/>
                  <a:gd name="connsiteY13" fmla="*/ 9 h 30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1559" h="300959">
                    <a:moveTo>
                      <a:pt x="0" y="289376"/>
                    </a:moveTo>
                    <a:cubicBezTo>
                      <a:pt x="39547" y="152408"/>
                      <a:pt x="79094" y="15441"/>
                      <a:pt x="115747" y="11583"/>
                    </a:cubicBezTo>
                    <a:cubicBezTo>
                      <a:pt x="152400" y="7725"/>
                      <a:pt x="183266" y="264297"/>
                      <a:pt x="219919" y="266226"/>
                    </a:cubicBezTo>
                    <a:cubicBezTo>
                      <a:pt x="256572" y="268155"/>
                      <a:pt x="295155" y="19300"/>
                      <a:pt x="335666" y="23158"/>
                    </a:cubicBezTo>
                    <a:cubicBezTo>
                      <a:pt x="376177" y="27016"/>
                      <a:pt x="422476" y="291305"/>
                      <a:pt x="462987" y="289376"/>
                    </a:cubicBezTo>
                    <a:cubicBezTo>
                      <a:pt x="503498" y="287447"/>
                      <a:pt x="540152" y="9654"/>
                      <a:pt x="578734" y="11583"/>
                    </a:cubicBezTo>
                    <a:cubicBezTo>
                      <a:pt x="617316" y="13512"/>
                      <a:pt x="657828" y="299021"/>
                      <a:pt x="694481" y="300950"/>
                    </a:cubicBezTo>
                    <a:cubicBezTo>
                      <a:pt x="731134" y="302879"/>
                      <a:pt x="760071" y="25087"/>
                      <a:pt x="798653" y="23158"/>
                    </a:cubicBezTo>
                    <a:cubicBezTo>
                      <a:pt x="837235" y="21229"/>
                      <a:pt x="887392" y="293234"/>
                      <a:pt x="925974" y="289376"/>
                    </a:cubicBezTo>
                    <a:cubicBezTo>
                      <a:pt x="964556" y="285518"/>
                      <a:pt x="989636" y="-1920"/>
                      <a:pt x="1030147" y="9"/>
                    </a:cubicBezTo>
                    <a:cubicBezTo>
                      <a:pt x="1070658" y="1938"/>
                      <a:pt x="1132390" y="299021"/>
                      <a:pt x="1169043" y="300950"/>
                    </a:cubicBezTo>
                    <a:cubicBezTo>
                      <a:pt x="1205696" y="302879"/>
                      <a:pt x="1215342" y="13512"/>
                      <a:pt x="1250066" y="11583"/>
                    </a:cubicBezTo>
                    <a:cubicBezTo>
                      <a:pt x="1284790" y="9654"/>
                      <a:pt x="1338805" y="291305"/>
                      <a:pt x="1377387" y="289376"/>
                    </a:cubicBezTo>
                    <a:cubicBezTo>
                      <a:pt x="1415969" y="287447"/>
                      <a:pt x="1448764" y="143728"/>
                      <a:pt x="1481559" y="9"/>
                    </a:cubicBezTo>
                  </a:path>
                </a:pathLst>
              </a:custGeom>
              <a:noFill/>
              <a:ln w="381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595" name="文字方塊 594">
              <a:extLst>
                <a:ext uri="{FF2B5EF4-FFF2-40B4-BE49-F238E27FC236}">
                  <a16:creationId xmlns:a16="http://schemas.microsoft.com/office/drawing/2014/main" id="{ABE7D039-D999-DE4C-A862-D6EC787C7E80}"/>
                </a:ext>
              </a:extLst>
            </p:cNvPr>
            <p:cNvSpPr txBox="1"/>
            <p:nvPr/>
          </p:nvSpPr>
          <p:spPr>
            <a:xfrm>
              <a:off x="5110629" y="5824555"/>
              <a:ext cx="801126" cy="276348"/>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pgR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596" name="群組 595">
              <a:extLst>
                <a:ext uri="{FF2B5EF4-FFF2-40B4-BE49-F238E27FC236}">
                  <a16:creationId xmlns:a16="http://schemas.microsoft.com/office/drawing/2014/main" id="{3B24CA42-B983-4046-8552-EA214D7F5D66}"/>
                </a:ext>
              </a:extLst>
            </p:cNvPr>
            <p:cNvGrpSpPr/>
            <p:nvPr/>
          </p:nvGrpSpPr>
          <p:grpSpPr>
            <a:xfrm>
              <a:off x="8257281" y="5256483"/>
              <a:ext cx="498797" cy="429649"/>
              <a:chOff x="3637834" y="15505734"/>
              <a:chExt cx="1234340" cy="1122155"/>
            </a:xfrm>
          </p:grpSpPr>
          <p:sp>
            <p:nvSpPr>
              <p:cNvPr id="597" name="六邊形 596">
                <a:extLst>
                  <a:ext uri="{FF2B5EF4-FFF2-40B4-BE49-F238E27FC236}">
                    <a16:creationId xmlns:a16="http://schemas.microsoft.com/office/drawing/2014/main" id="{A8C7285C-B728-DD40-8FFF-EC5620C4FD87}"/>
                  </a:ext>
                </a:extLst>
              </p:cNvPr>
              <p:cNvSpPr/>
              <p:nvPr/>
            </p:nvSpPr>
            <p:spPr>
              <a:xfrm>
                <a:off x="3637834" y="15505734"/>
                <a:ext cx="1234340" cy="1122155"/>
              </a:xfrm>
              <a:prstGeom prst="hexagon">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598" name="群組 597">
                <a:extLst>
                  <a:ext uri="{FF2B5EF4-FFF2-40B4-BE49-F238E27FC236}">
                    <a16:creationId xmlns:a16="http://schemas.microsoft.com/office/drawing/2014/main" id="{5D7A0C51-1401-DD44-BAE5-F39609CAE1A1}"/>
                  </a:ext>
                </a:extLst>
              </p:cNvPr>
              <p:cNvGrpSpPr/>
              <p:nvPr/>
            </p:nvGrpSpPr>
            <p:grpSpPr>
              <a:xfrm>
                <a:off x="3854405" y="15684400"/>
                <a:ext cx="842996" cy="825407"/>
                <a:chOff x="5514517" y="13591110"/>
                <a:chExt cx="842996" cy="825407"/>
              </a:xfrm>
            </p:grpSpPr>
            <p:sp>
              <p:nvSpPr>
                <p:cNvPr id="599" name="手繪多邊形 598">
                  <a:extLst>
                    <a:ext uri="{FF2B5EF4-FFF2-40B4-BE49-F238E27FC236}">
                      <a16:creationId xmlns:a16="http://schemas.microsoft.com/office/drawing/2014/main" id="{3D8071AE-F972-524F-8900-986CE59DA102}"/>
                    </a:ext>
                  </a:extLst>
                </p:cNvPr>
                <p:cNvSpPr/>
                <p:nvPr/>
              </p:nvSpPr>
              <p:spPr>
                <a:xfrm>
                  <a:off x="5514517" y="13615155"/>
                  <a:ext cx="842996" cy="801362"/>
                </a:xfrm>
                <a:custGeom>
                  <a:avLst/>
                  <a:gdLst>
                    <a:gd name="connsiteX0" fmla="*/ 314325 w 842996"/>
                    <a:gd name="connsiteY0" fmla="*/ 158392 h 801362"/>
                    <a:gd name="connsiteX1" fmla="*/ 171450 w 842996"/>
                    <a:gd name="connsiteY1" fmla="*/ 58379 h 801362"/>
                    <a:gd name="connsiteX2" fmla="*/ 214313 w 842996"/>
                    <a:gd name="connsiteY2" fmla="*/ 229829 h 801362"/>
                    <a:gd name="connsiteX3" fmla="*/ 71438 w 842996"/>
                    <a:gd name="connsiteY3" fmla="*/ 201254 h 801362"/>
                    <a:gd name="connsiteX4" fmla="*/ 157163 w 842996"/>
                    <a:gd name="connsiteY4" fmla="*/ 329842 h 801362"/>
                    <a:gd name="connsiteX5" fmla="*/ 0 w 842996"/>
                    <a:gd name="connsiteY5" fmla="*/ 386992 h 801362"/>
                    <a:gd name="connsiteX6" fmla="*/ 157163 w 842996"/>
                    <a:gd name="connsiteY6" fmla="*/ 458429 h 801362"/>
                    <a:gd name="connsiteX7" fmla="*/ 57150 w 842996"/>
                    <a:gd name="connsiteY7" fmla="*/ 601304 h 801362"/>
                    <a:gd name="connsiteX8" fmla="*/ 200025 w 842996"/>
                    <a:gd name="connsiteY8" fmla="*/ 601304 h 801362"/>
                    <a:gd name="connsiteX9" fmla="*/ 228600 w 842996"/>
                    <a:gd name="connsiteY9" fmla="*/ 758467 h 801362"/>
                    <a:gd name="connsiteX10" fmla="*/ 314325 w 842996"/>
                    <a:gd name="connsiteY10" fmla="*/ 672742 h 801362"/>
                    <a:gd name="connsiteX11" fmla="*/ 457200 w 842996"/>
                    <a:gd name="connsiteY11" fmla="*/ 801329 h 801362"/>
                    <a:gd name="connsiteX12" fmla="*/ 514350 w 842996"/>
                    <a:gd name="connsiteY12" fmla="*/ 658454 h 801362"/>
                    <a:gd name="connsiteX13" fmla="*/ 628650 w 842996"/>
                    <a:gd name="connsiteY13" fmla="*/ 701317 h 801362"/>
                    <a:gd name="connsiteX14" fmla="*/ 600075 w 842996"/>
                    <a:gd name="connsiteY14" fmla="*/ 587017 h 801362"/>
                    <a:gd name="connsiteX15" fmla="*/ 757238 w 842996"/>
                    <a:gd name="connsiteY15" fmla="*/ 572729 h 801362"/>
                    <a:gd name="connsiteX16" fmla="*/ 685800 w 842996"/>
                    <a:gd name="connsiteY16" fmla="*/ 458429 h 801362"/>
                    <a:gd name="connsiteX17" fmla="*/ 842963 w 842996"/>
                    <a:gd name="connsiteY17" fmla="*/ 372704 h 801362"/>
                    <a:gd name="connsiteX18" fmla="*/ 700088 w 842996"/>
                    <a:gd name="connsiteY18" fmla="*/ 286979 h 801362"/>
                    <a:gd name="connsiteX19" fmla="*/ 714375 w 842996"/>
                    <a:gd name="connsiteY19" fmla="*/ 144104 h 801362"/>
                    <a:gd name="connsiteX20" fmla="*/ 585788 w 842996"/>
                    <a:gd name="connsiteY20" fmla="*/ 201254 h 801362"/>
                    <a:gd name="connsiteX21" fmla="*/ 585788 w 842996"/>
                    <a:gd name="connsiteY21" fmla="*/ 29804 h 801362"/>
                    <a:gd name="connsiteX22" fmla="*/ 514350 w 842996"/>
                    <a:gd name="connsiteY22" fmla="*/ 1229 h 80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2996" h="801362">
                      <a:moveTo>
                        <a:pt x="314325" y="158392"/>
                      </a:moveTo>
                      <a:cubicBezTo>
                        <a:pt x="251222" y="102432"/>
                        <a:pt x="188119" y="46473"/>
                        <a:pt x="171450" y="58379"/>
                      </a:cubicBezTo>
                      <a:cubicBezTo>
                        <a:pt x="154781" y="70285"/>
                        <a:pt x="230982" y="206016"/>
                        <a:pt x="214313" y="229829"/>
                      </a:cubicBezTo>
                      <a:cubicBezTo>
                        <a:pt x="197644" y="253642"/>
                        <a:pt x="80963" y="184585"/>
                        <a:pt x="71438" y="201254"/>
                      </a:cubicBezTo>
                      <a:cubicBezTo>
                        <a:pt x="61913" y="217923"/>
                        <a:pt x="169069" y="298886"/>
                        <a:pt x="157163" y="329842"/>
                      </a:cubicBezTo>
                      <a:cubicBezTo>
                        <a:pt x="145257" y="360798"/>
                        <a:pt x="0" y="365561"/>
                        <a:pt x="0" y="386992"/>
                      </a:cubicBezTo>
                      <a:cubicBezTo>
                        <a:pt x="0" y="408423"/>
                        <a:pt x="147638" y="422710"/>
                        <a:pt x="157163" y="458429"/>
                      </a:cubicBezTo>
                      <a:cubicBezTo>
                        <a:pt x="166688" y="494148"/>
                        <a:pt x="50006" y="577492"/>
                        <a:pt x="57150" y="601304"/>
                      </a:cubicBezTo>
                      <a:cubicBezTo>
                        <a:pt x="64294" y="625116"/>
                        <a:pt x="171450" y="575110"/>
                        <a:pt x="200025" y="601304"/>
                      </a:cubicBezTo>
                      <a:cubicBezTo>
                        <a:pt x="228600" y="627498"/>
                        <a:pt x="209550" y="746561"/>
                        <a:pt x="228600" y="758467"/>
                      </a:cubicBezTo>
                      <a:cubicBezTo>
                        <a:pt x="247650" y="770373"/>
                        <a:pt x="276225" y="665598"/>
                        <a:pt x="314325" y="672742"/>
                      </a:cubicBezTo>
                      <a:cubicBezTo>
                        <a:pt x="352425" y="679886"/>
                        <a:pt x="423863" y="803710"/>
                        <a:pt x="457200" y="801329"/>
                      </a:cubicBezTo>
                      <a:cubicBezTo>
                        <a:pt x="490537" y="798948"/>
                        <a:pt x="485775" y="675123"/>
                        <a:pt x="514350" y="658454"/>
                      </a:cubicBezTo>
                      <a:cubicBezTo>
                        <a:pt x="542925" y="641785"/>
                        <a:pt x="614363" y="713223"/>
                        <a:pt x="628650" y="701317"/>
                      </a:cubicBezTo>
                      <a:cubicBezTo>
                        <a:pt x="642937" y="689411"/>
                        <a:pt x="578644" y="608448"/>
                        <a:pt x="600075" y="587017"/>
                      </a:cubicBezTo>
                      <a:cubicBezTo>
                        <a:pt x="621506" y="565586"/>
                        <a:pt x="742951" y="594160"/>
                        <a:pt x="757238" y="572729"/>
                      </a:cubicBezTo>
                      <a:cubicBezTo>
                        <a:pt x="771525" y="551298"/>
                        <a:pt x="671513" y="491766"/>
                        <a:pt x="685800" y="458429"/>
                      </a:cubicBezTo>
                      <a:cubicBezTo>
                        <a:pt x="700087" y="425092"/>
                        <a:pt x="840582" y="401279"/>
                        <a:pt x="842963" y="372704"/>
                      </a:cubicBezTo>
                      <a:cubicBezTo>
                        <a:pt x="845344" y="344129"/>
                        <a:pt x="721519" y="325079"/>
                        <a:pt x="700088" y="286979"/>
                      </a:cubicBezTo>
                      <a:cubicBezTo>
                        <a:pt x="678657" y="248879"/>
                        <a:pt x="733425" y="158391"/>
                        <a:pt x="714375" y="144104"/>
                      </a:cubicBezTo>
                      <a:cubicBezTo>
                        <a:pt x="695325" y="129816"/>
                        <a:pt x="607219" y="220304"/>
                        <a:pt x="585788" y="201254"/>
                      </a:cubicBezTo>
                      <a:cubicBezTo>
                        <a:pt x="564357" y="182204"/>
                        <a:pt x="597694" y="63141"/>
                        <a:pt x="585788" y="29804"/>
                      </a:cubicBezTo>
                      <a:cubicBezTo>
                        <a:pt x="573882" y="-3533"/>
                        <a:pt x="544116" y="-1152"/>
                        <a:pt x="514350" y="1229"/>
                      </a:cubicBezTo>
                    </a:path>
                  </a:pathLst>
                </a:custGeom>
                <a:noFill/>
                <a:ln w="31750">
                  <a:solidFill>
                    <a:schemeClr val="accent5">
                      <a:lumMod val="50000"/>
                      <a:alpha val="3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00" name="橢圓 599">
                  <a:extLst>
                    <a:ext uri="{FF2B5EF4-FFF2-40B4-BE49-F238E27FC236}">
                      <a16:creationId xmlns:a16="http://schemas.microsoft.com/office/drawing/2014/main" id="{9BC09EBE-8F0D-4D4E-9E57-D16CE2A87691}"/>
                    </a:ext>
                  </a:extLst>
                </p:cNvPr>
                <p:cNvSpPr/>
                <p:nvPr/>
              </p:nvSpPr>
              <p:spPr>
                <a:xfrm>
                  <a:off x="6011301" y="13591110"/>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01" name="手繪多邊形 600">
                  <a:extLst>
                    <a:ext uri="{FF2B5EF4-FFF2-40B4-BE49-F238E27FC236}">
                      <a16:creationId xmlns:a16="http://schemas.microsoft.com/office/drawing/2014/main" id="{ABED84A3-3585-D541-AA14-1FF6F8078003}"/>
                    </a:ext>
                  </a:extLst>
                </p:cNvPr>
                <p:cNvSpPr/>
                <p:nvPr/>
              </p:nvSpPr>
              <p:spPr>
                <a:xfrm rot="21249402">
                  <a:off x="6129338" y="13667710"/>
                  <a:ext cx="57150" cy="128588"/>
                </a:xfrm>
                <a:custGeom>
                  <a:avLst/>
                  <a:gdLst>
                    <a:gd name="connsiteX0" fmla="*/ 0 w 57150"/>
                    <a:gd name="connsiteY0" fmla="*/ 0 h 128588"/>
                    <a:gd name="connsiteX1" fmla="*/ 42863 w 57150"/>
                    <a:gd name="connsiteY1" fmla="*/ 71438 h 128588"/>
                    <a:gd name="connsiteX2" fmla="*/ 57150 w 57150"/>
                    <a:gd name="connsiteY2" fmla="*/ 128588 h 128588"/>
                  </a:gdLst>
                  <a:ahLst/>
                  <a:cxnLst>
                    <a:cxn ang="0">
                      <a:pos x="connsiteX0" y="connsiteY0"/>
                    </a:cxn>
                    <a:cxn ang="0">
                      <a:pos x="connsiteX1" y="connsiteY1"/>
                    </a:cxn>
                    <a:cxn ang="0">
                      <a:pos x="connsiteX2" y="connsiteY2"/>
                    </a:cxn>
                  </a:cxnLst>
                  <a:rect l="l" t="t" r="r" b="b"/>
                  <a:pathLst>
                    <a:path w="57150" h="128588">
                      <a:moveTo>
                        <a:pt x="0" y="0"/>
                      </a:moveTo>
                      <a:cubicBezTo>
                        <a:pt x="14288" y="23813"/>
                        <a:pt x="31585" y="46061"/>
                        <a:pt x="42863" y="71438"/>
                      </a:cubicBezTo>
                      <a:cubicBezTo>
                        <a:pt x="50838" y="89382"/>
                        <a:pt x="57150" y="128588"/>
                        <a:pt x="57150" y="128588"/>
                      </a:cubicBezTo>
                    </a:path>
                  </a:pathLst>
                </a:cu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02" name="手繪多邊形 601">
                  <a:extLst>
                    <a:ext uri="{FF2B5EF4-FFF2-40B4-BE49-F238E27FC236}">
                      <a16:creationId xmlns:a16="http://schemas.microsoft.com/office/drawing/2014/main" id="{6B810179-8C87-B740-AA3C-70D3FE23A2AE}"/>
                    </a:ext>
                  </a:extLst>
                </p:cNvPr>
                <p:cNvSpPr/>
                <p:nvPr/>
              </p:nvSpPr>
              <p:spPr>
                <a:xfrm rot="20643265">
                  <a:off x="6136213" y="13677154"/>
                  <a:ext cx="45719" cy="355253"/>
                </a:xfrm>
                <a:custGeom>
                  <a:avLst/>
                  <a:gdLst>
                    <a:gd name="connsiteX0" fmla="*/ 0 w 57150"/>
                    <a:gd name="connsiteY0" fmla="*/ 0 h 128588"/>
                    <a:gd name="connsiteX1" fmla="*/ 42863 w 57150"/>
                    <a:gd name="connsiteY1" fmla="*/ 71438 h 128588"/>
                    <a:gd name="connsiteX2" fmla="*/ 57150 w 57150"/>
                    <a:gd name="connsiteY2" fmla="*/ 128588 h 128588"/>
                  </a:gdLst>
                  <a:ahLst/>
                  <a:cxnLst>
                    <a:cxn ang="0">
                      <a:pos x="connsiteX0" y="connsiteY0"/>
                    </a:cxn>
                    <a:cxn ang="0">
                      <a:pos x="connsiteX1" y="connsiteY1"/>
                    </a:cxn>
                    <a:cxn ang="0">
                      <a:pos x="connsiteX2" y="connsiteY2"/>
                    </a:cxn>
                  </a:cxnLst>
                  <a:rect l="l" t="t" r="r" b="b"/>
                  <a:pathLst>
                    <a:path w="57150" h="128588">
                      <a:moveTo>
                        <a:pt x="0" y="0"/>
                      </a:moveTo>
                      <a:cubicBezTo>
                        <a:pt x="14288" y="23813"/>
                        <a:pt x="31585" y="46061"/>
                        <a:pt x="42863" y="71438"/>
                      </a:cubicBezTo>
                      <a:cubicBezTo>
                        <a:pt x="50838" y="89382"/>
                        <a:pt x="57150" y="128588"/>
                        <a:pt x="57150" y="128588"/>
                      </a:cubicBezTo>
                    </a:path>
                  </a:pathLst>
                </a:custGeom>
                <a:noFill/>
                <a:ln w="31750">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03" name="橢圓 602">
                  <a:extLst>
                    <a:ext uri="{FF2B5EF4-FFF2-40B4-BE49-F238E27FC236}">
                      <a16:creationId xmlns:a16="http://schemas.microsoft.com/office/drawing/2014/main" id="{7448F73B-53A5-8743-BC0F-FFE67AB0A55E}"/>
                    </a:ext>
                  </a:extLst>
                </p:cNvPr>
                <p:cNvSpPr/>
                <p:nvPr/>
              </p:nvSpPr>
              <p:spPr>
                <a:xfrm rot="3794703">
                  <a:off x="6153642" y="13728783"/>
                  <a:ext cx="84351" cy="165313"/>
                </a:xfrm>
                <a:prstGeom prst="ellipse">
                  <a:avLst/>
                </a:prstGeom>
                <a:gradFill flip="none" rotWithShape="1">
                  <a:gsLst>
                    <a:gs pos="0">
                      <a:schemeClr val="accent6">
                        <a:lumMod val="50000"/>
                      </a:schemeClr>
                    </a:gs>
                    <a:gs pos="50000">
                      <a:schemeClr val="accent6"/>
                    </a:gs>
                    <a:gs pos="100000">
                      <a:schemeClr val="accent6">
                        <a:lumMod val="20000"/>
                        <a:lumOff val="80000"/>
                      </a:schemeClr>
                    </a:gs>
                  </a:gsLst>
                  <a:path path="circle">
                    <a:fillToRect l="50000" t="50000" r="50000" b="50000"/>
                  </a:path>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grpSp>
        <p:grpSp>
          <p:nvGrpSpPr>
            <p:cNvPr id="604" name="群組 603">
              <a:extLst>
                <a:ext uri="{FF2B5EF4-FFF2-40B4-BE49-F238E27FC236}">
                  <a16:creationId xmlns:a16="http://schemas.microsoft.com/office/drawing/2014/main" id="{59777FC6-54E4-F14B-BD06-C198D1A90B8F}"/>
                </a:ext>
              </a:extLst>
            </p:cNvPr>
            <p:cNvGrpSpPr/>
            <p:nvPr/>
          </p:nvGrpSpPr>
          <p:grpSpPr>
            <a:xfrm>
              <a:off x="7970365" y="3894953"/>
              <a:ext cx="498797" cy="429649"/>
              <a:chOff x="1766986" y="13150351"/>
              <a:chExt cx="1234340" cy="1122155"/>
            </a:xfrm>
          </p:grpSpPr>
          <p:sp>
            <p:nvSpPr>
              <p:cNvPr id="605" name="六邊形 604">
                <a:extLst>
                  <a:ext uri="{FF2B5EF4-FFF2-40B4-BE49-F238E27FC236}">
                    <a16:creationId xmlns:a16="http://schemas.microsoft.com/office/drawing/2014/main" id="{E327EDDD-932F-DE49-9DF2-6561B69A339B}"/>
                  </a:ext>
                </a:extLst>
              </p:cNvPr>
              <p:cNvSpPr/>
              <p:nvPr/>
            </p:nvSpPr>
            <p:spPr>
              <a:xfrm>
                <a:off x="1766986" y="13150351"/>
                <a:ext cx="1234340" cy="1122155"/>
              </a:xfrm>
              <a:prstGeom prst="hexagon">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606" name="群組 605">
                <a:extLst>
                  <a:ext uri="{FF2B5EF4-FFF2-40B4-BE49-F238E27FC236}">
                    <a16:creationId xmlns:a16="http://schemas.microsoft.com/office/drawing/2014/main" id="{C49AF535-AF4F-5849-863B-F68CB18B16C5}"/>
                  </a:ext>
                </a:extLst>
              </p:cNvPr>
              <p:cNvGrpSpPr/>
              <p:nvPr/>
            </p:nvGrpSpPr>
            <p:grpSpPr>
              <a:xfrm>
                <a:off x="1937378" y="13295436"/>
                <a:ext cx="880740" cy="841761"/>
                <a:chOff x="4368180" y="14394426"/>
                <a:chExt cx="880740" cy="841761"/>
              </a:xfrm>
            </p:grpSpPr>
            <p:grpSp>
              <p:nvGrpSpPr>
                <p:cNvPr id="607" name="群組 606">
                  <a:extLst>
                    <a:ext uri="{FF2B5EF4-FFF2-40B4-BE49-F238E27FC236}">
                      <a16:creationId xmlns:a16="http://schemas.microsoft.com/office/drawing/2014/main" id="{141A9284-3C2A-B049-881A-0E86CE6803FB}"/>
                    </a:ext>
                  </a:extLst>
                </p:cNvPr>
                <p:cNvGrpSpPr/>
                <p:nvPr/>
              </p:nvGrpSpPr>
              <p:grpSpPr>
                <a:xfrm>
                  <a:off x="4416654" y="14448836"/>
                  <a:ext cx="786013" cy="745410"/>
                  <a:chOff x="4416654" y="14448836"/>
                  <a:chExt cx="786013" cy="745410"/>
                </a:xfrm>
              </p:grpSpPr>
              <p:grpSp>
                <p:nvGrpSpPr>
                  <p:cNvPr id="614" name="群組 613">
                    <a:extLst>
                      <a:ext uri="{FF2B5EF4-FFF2-40B4-BE49-F238E27FC236}">
                        <a16:creationId xmlns:a16="http://schemas.microsoft.com/office/drawing/2014/main" id="{225E69E2-1734-6E44-A198-66EBF58B5862}"/>
                      </a:ext>
                    </a:extLst>
                  </p:cNvPr>
                  <p:cNvGrpSpPr/>
                  <p:nvPr/>
                </p:nvGrpSpPr>
                <p:grpSpPr>
                  <a:xfrm rot="11388710">
                    <a:off x="4416654" y="14480012"/>
                    <a:ext cx="786013" cy="714234"/>
                    <a:chOff x="2547887" y="5811174"/>
                    <a:chExt cx="330232" cy="333003"/>
                  </a:xfrm>
                </p:grpSpPr>
                <p:sp>
                  <p:nvSpPr>
                    <p:cNvPr id="616" name="弧線 615">
                      <a:extLst>
                        <a:ext uri="{FF2B5EF4-FFF2-40B4-BE49-F238E27FC236}">
                          <a16:creationId xmlns:a16="http://schemas.microsoft.com/office/drawing/2014/main" id="{CA91529A-00F6-B243-8D9F-47F4AC979292}"/>
                        </a:ext>
                      </a:extLst>
                    </p:cNvPr>
                    <p:cNvSpPr/>
                    <p:nvPr/>
                  </p:nvSpPr>
                  <p:spPr>
                    <a:xfrm rot="21152590">
                      <a:off x="2579943" y="5813945"/>
                      <a:ext cx="265331" cy="330232"/>
                    </a:xfrm>
                    <a:prstGeom prst="arc">
                      <a:avLst/>
                    </a:prstGeom>
                    <a:ln w="190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17" name="弧線 616">
                      <a:extLst>
                        <a:ext uri="{FF2B5EF4-FFF2-40B4-BE49-F238E27FC236}">
                          <a16:creationId xmlns:a16="http://schemas.microsoft.com/office/drawing/2014/main" id="{66AC2473-A1FD-0940-A6E1-4FAECCF74E7D}"/>
                        </a:ext>
                      </a:extLst>
                    </p:cNvPr>
                    <p:cNvSpPr/>
                    <p:nvPr/>
                  </p:nvSpPr>
                  <p:spPr>
                    <a:xfrm rot="11224768">
                      <a:off x="2550124" y="5812432"/>
                      <a:ext cx="265331" cy="330232"/>
                    </a:xfrm>
                    <a:prstGeom prst="arc">
                      <a:avLst/>
                    </a:prstGeom>
                    <a:ln w="1905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18" name="弧線 617">
                      <a:extLst>
                        <a:ext uri="{FF2B5EF4-FFF2-40B4-BE49-F238E27FC236}">
                          <a16:creationId xmlns:a16="http://schemas.microsoft.com/office/drawing/2014/main" id="{D06C05D6-3C75-7646-9BC6-C1618E3157E4}"/>
                        </a:ext>
                      </a:extLst>
                    </p:cNvPr>
                    <p:cNvSpPr/>
                    <p:nvPr/>
                  </p:nvSpPr>
                  <p:spPr>
                    <a:xfrm rot="15828756">
                      <a:off x="2563404" y="5795657"/>
                      <a:ext cx="299197" cy="330232"/>
                    </a:xfrm>
                    <a:prstGeom prst="arc">
                      <a:avLst/>
                    </a:prstGeom>
                    <a:ln w="19050">
                      <a:solidFill>
                        <a:srgbClr val="002060"/>
                      </a:solidFill>
                      <a:round/>
                      <a:tailEnd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615" name="手繪多邊形 614">
                    <a:extLst>
                      <a:ext uri="{FF2B5EF4-FFF2-40B4-BE49-F238E27FC236}">
                        <a16:creationId xmlns:a16="http://schemas.microsoft.com/office/drawing/2014/main" id="{9153ADC9-9A36-B841-8E58-FE20CDCE4E77}"/>
                      </a:ext>
                    </a:extLst>
                  </p:cNvPr>
                  <p:cNvSpPr/>
                  <p:nvPr/>
                </p:nvSpPr>
                <p:spPr>
                  <a:xfrm>
                    <a:off x="4491587" y="14448836"/>
                    <a:ext cx="396772" cy="377813"/>
                  </a:xfrm>
                  <a:custGeom>
                    <a:avLst/>
                    <a:gdLst>
                      <a:gd name="connsiteX0" fmla="*/ 0 w 406400"/>
                      <a:gd name="connsiteY0" fmla="*/ 381000 h 381000"/>
                      <a:gd name="connsiteX1" fmla="*/ 12700 w 406400"/>
                      <a:gd name="connsiteY1" fmla="*/ 266700 h 381000"/>
                      <a:gd name="connsiteX2" fmla="*/ 63500 w 406400"/>
                      <a:gd name="connsiteY2" fmla="*/ 165100 h 381000"/>
                      <a:gd name="connsiteX3" fmla="*/ 190500 w 406400"/>
                      <a:gd name="connsiteY3" fmla="*/ 76200 h 381000"/>
                      <a:gd name="connsiteX4" fmla="*/ 317500 w 406400"/>
                      <a:gd name="connsiteY4" fmla="*/ 50800 h 381000"/>
                      <a:gd name="connsiteX5" fmla="*/ 406400 w 4064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400" h="381000">
                        <a:moveTo>
                          <a:pt x="0" y="381000"/>
                        </a:moveTo>
                        <a:cubicBezTo>
                          <a:pt x="1058" y="341841"/>
                          <a:pt x="2117" y="302683"/>
                          <a:pt x="12700" y="266700"/>
                        </a:cubicBezTo>
                        <a:cubicBezTo>
                          <a:pt x="23283" y="230717"/>
                          <a:pt x="33867" y="196850"/>
                          <a:pt x="63500" y="165100"/>
                        </a:cubicBezTo>
                        <a:cubicBezTo>
                          <a:pt x="93133" y="133350"/>
                          <a:pt x="148167" y="95250"/>
                          <a:pt x="190500" y="76200"/>
                        </a:cubicBezTo>
                        <a:cubicBezTo>
                          <a:pt x="232833" y="57150"/>
                          <a:pt x="281517" y="63500"/>
                          <a:pt x="317500" y="50800"/>
                        </a:cubicBezTo>
                        <a:cubicBezTo>
                          <a:pt x="353483" y="38100"/>
                          <a:pt x="379941" y="19050"/>
                          <a:pt x="406400" y="0"/>
                        </a:cubicBezTo>
                      </a:path>
                    </a:pathLst>
                  </a:cu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608" name="群組 607">
                  <a:extLst>
                    <a:ext uri="{FF2B5EF4-FFF2-40B4-BE49-F238E27FC236}">
                      <a16:creationId xmlns:a16="http://schemas.microsoft.com/office/drawing/2014/main" id="{A9F720B9-188D-7644-B33F-DB0F4906AF37}"/>
                    </a:ext>
                  </a:extLst>
                </p:cNvPr>
                <p:cNvGrpSpPr>
                  <a:grpSpLocks noChangeAspect="1"/>
                </p:cNvGrpSpPr>
                <p:nvPr/>
              </p:nvGrpSpPr>
              <p:grpSpPr>
                <a:xfrm>
                  <a:off x="4368180" y="14394426"/>
                  <a:ext cx="880740" cy="841761"/>
                  <a:chOff x="4416654" y="14448836"/>
                  <a:chExt cx="786013" cy="745410"/>
                </a:xfrm>
              </p:grpSpPr>
              <p:grpSp>
                <p:nvGrpSpPr>
                  <p:cNvPr id="609" name="群組 608">
                    <a:extLst>
                      <a:ext uri="{FF2B5EF4-FFF2-40B4-BE49-F238E27FC236}">
                        <a16:creationId xmlns:a16="http://schemas.microsoft.com/office/drawing/2014/main" id="{DB8AB1CB-DCB1-5446-B603-2274F8B4B9AC}"/>
                      </a:ext>
                    </a:extLst>
                  </p:cNvPr>
                  <p:cNvGrpSpPr/>
                  <p:nvPr/>
                </p:nvGrpSpPr>
                <p:grpSpPr>
                  <a:xfrm rot="11388710">
                    <a:off x="4416654" y="14480012"/>
                    <a:ext cx="786013" cy="714234"/>
                    <a:chOff x="2547887" y="5811174"/>
                    <a:chExt cx="330232" cy="333003"/>
                  </a:xfrm>
                </p:grpSpPr>
                <p:sp>
                  <p:nvSpPr>
                    <p:cNvPr id="611" name="弧線 610">
                      <a:extLst>
                        <a:ext uri="{FF2B5EF4-FFF2-40B4-BE49-F238E27FC236}">
                          <a16:creationId xmlns:a16="http://schemas.microsoft.com/office/drawing/2014/main" id="{A454D3C1-3797-6040-83E1-73EB098584EB}"/>
                        </a:ext>
                      </a:extLst>
                    </p:cNvPr>
                    <p:cNvSpPr/>
                    <p:nvPr/>
                  </p:nvSpPr>
                  <p:spPr>
                    <a:xfrm rot="21152590">
                      <a:off x="2579943" y="5813945"/>
                      <a:ext cx="265331" cy="330232"/>
                    </a:xfrm>
                    <a:prstGeom prst="arc">
                      <a:avLst/>
                    </a:prstGeom>
                    <a:ln w="19050">
                      <a:solidFill>
                        <a:schemeClr val="accent5"/>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12" name="弧線 611">
                      <a:extLst>
                        <a:ext uri="{FF2B5EF4-FFF2-40B4-BE49-F238E27FC236}">
                          <a16:creationId xmlns:a16="http://schemas.microsoft.com/office/drawing/2014/main" id="{CEEDB3F9-9CCF-9147-8914-ABDFF242E204}"/>
                        </a:ext>
                      </a:extLst>
                    </p:cNvPr>
                    <p:cNvSpPr/>
                    <p:nvPr/>
                  </p:nvSpPr>
                  <p:spPr>
                    <a:xfrm rot="11224768">
                      <a:off x="2550124" y="5812432"/>
                      <a:ext cx="265331" cy="330232"/>
                    </a:xfrm>
                    <a:prstGeom prst="arc">
                      <a:avLst/>
                    </a:prstGeom>
                    <a:ln w="19050">
                      <a:solidFill>
                        <a:schemeClr val="accent5"/>
                      </a:solidFill>
                      <a:prstDash val="lg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13" name="弧線 612">
                      <a:extLst>
                        <a:ext uri="{FF2B5EF4-FFF2-40B4-BE49-F238E27FC236}">
                          <a16:creationId xmlns:a16="http://schemas.microsoft.com/office/drawing/2014/main" id="{353E2841-6CCC-7347-ACA2-3FDB5F34A66D}"/>
                        </a:ext>
                      </a:extLst>
                    </p:cNvPr>
                    <p:cNvSpPr/>
                    <p:nvPr/>
                  </p:nvSpPr>
                  <p:spPr>
                    <a:xfrm rot="15828756">
                      <a:off x="2563404" y="5795657"/>
                      <a:ext cx="299197" cy="330232"/>
                    </a:xfrm>
                    <a:prstGeom prst="arc">
                      <a:avLst/>
                    </a:prstGeom>
                    <a:ln w="19050">
                      <a:solidFill>
                        <a:schemeClr val="accent5"/>
                      </a:solidFill>
                      <a:prstDash val="lgDash"/>
                      <a:round/>
                      <a:tailEnd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610" name="手繪多邊形 609">
                    <a:extLst>
                      <a:ext uri="{FF2B5EF4-FFF2-40B4-BE49-F238E27FC236}">
                        <a16:creationId xmlns:a16="http://schemas.microsoft.com/office/drawing/2014/main" id="{3998280D-2AC5-A044-B4CB-02FBDB8C71B1}"/>
                      </a:ext>
                    </a:extLst>
                  </p:cNvPr>
                  <p:cNvSpPr/>
                  <p:nvPr/>
                </p:nvSpPr>
                <p:spPr>
                  <a:xfrm>
                    <a:off x="4491587" y="14448836"/>
                    <a:ext cx="396772" cy="377813"/>
                  </a:xfrm>
                  <a:custGeom>
                    <a:avLst/>
                    <a:gdLst>
                      <a:gd name="connsiteX0" fmla="*/ 0 w 406400"/>
                      <a:gd name="connsiteY0" fmla="*/ 381000 h 381000"/>
                      <a:gd name="connsiteX1" fmla="*/ 12700 w 406400"/>
                      <a:gd name="connsiteY1" fmla="*/ 266700 h 381000"/>
                      <a:gd name="connsiteX2" fmla="*/ 63500 w 406400"/>
                      <a:gd name="connsiteY2" fmla="*/ 165100 h 381000"/>
                      <a:gd name="connsiteX3" fmla="*/ 190500 w 406400"/>
                      <a:gd name="connsiteY3" fmla="*/ 76200 h 381000"/>
                      <a:gd name="connsiteX4" fmla="*/ 317500 w 406400"/>
                      <a:gd name="connsiteY4" fmla="*/ 50800 h 381000"/>
                      <a:gd name="connsiteX5" fmla="*/ 406400 w 4064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400" h="381000">
                        <a:moveTo>
                          <a:pt x="0" y="381000"/>
                        </a:moveTo>
                        <a:cubicBezTo>
                          <a:pt x="1058" y="341841"/>
                          <a:pt x="2117" y="302683"/>
                          <a:pt x="12700" y="266700"/>
                        </a:cubicBezTo>
                        <a:cubicBezTo>
                          <a:pt x="23283" y="230717"/>
                          <a:pt x="33867" y="196850"/>
                          <a:pt x="63500" y="165100"/>
                        </a:cubicBezTo>
                        <a:cubicBezTo>
                          <a:pt x="93133" y="133350"/>
                          <a:pt x="148167" y="95250"/>
                          <a:pt x="190500" y="76200"/>
                        </a:cubicBezTo>
                        <a:cubicBezTo>
                          <a:pt x="232833" y="57150"/>
                          <a:pt x="281517" y="63500"/>
                          <a:pt x="317500" y="50800"/>
                        </a:cubicBezTo>
                        <a:cubicBezTo>
                          <a:pt x="353483" y="38100"/>
                          <a:pt x="379941" y="19050"/>
                          <a:pt x="406400" y="0"/>
                        </a:cubicBezTo>
                      </a:path>
                    </a:pathLst>
                  </a:custGeom>
                  <a:noFill/>
                  <a:ln w="19050">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grpSp>
        <p:grpSp>
          <p:nvGrpSpPr>
            <p:cNvPr id="619" name="群組 618">
              <a:extLst>
                <a:ext uri="{FF2B5EF4-FFF2-40B4-BE49-F238E27FC236}">
                  <a16:creationId xmlns:a16="http://schemas.microsoft.com/office/drawing/2014/main" id="{CFE4794B-7CF8-EB46-B46B-A35EF1AE226C}"/>
                </a:ext>
              </a:extLst>
            </p:cNvPr>
            <p:cNvGrpSpPr/>
            <p:nvPr/>
          </p:nvGrpSpPr>
          <p:grpSpPr>
            <a:xfrm>
              <a:off x="6939456" y="3429515"/>
              <a:ext cx="504886" cy="442760"/>
              <a:chOff x="3690892" y="4772428"/>
              <a:chExt cx="1249408" cy="1156400"/>
            </a:xfrm>
          </p:grpSpPr>
          <p:sp>
            <p:nvSpPr>
              <p:cNvPr id="620" name="六邊形 619">
                <a:extLst>
                  <a:ext uri="{FF2B5EF4-FFF2-40B4-BE49-F238E27FC236}">
                    <a16:creationId xmlns:a16="http://schemas.microsoft.com/office/drawing/2014/main" id="{071F9AC6-78B6-3D4D-BB59-CF7C4080E5FC}"/>
                  </a:ext>
                </a:extLst>
              </p:cNvPr>
              <p:cNvSpPr/>
              <p:nvPr/>
            </p:nvSpPr>
            <p:spPr>
              <a:xfrm>
                <a:off x="3705960" y="4806672"/>
                <a:ext cx="1234340" cy="1122155"/>
              </a:xfrm>
              <a:prstGeom prst="hexagon">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621" name="群組 620">
                <a:extLst>
                  <a:ext uri="{FF2B5EF4-FFF2-40B4-BE49-F238E27FC236}">
                    <a16:creationId xmlns:a16="http://schemas.microsoft.com/office/drawing/2014/main" id="{BBCA4C69-4A72-EA4F-ACD7-8B3BF8707C86}"/>
                  </a:ext>
                </a:extLst>
              </p:cNvPr>
              <p:cNvGrpSpPr/>
              <p:nvPr/>
            </p:nvGrpSpPr>
            <p:grpSpPr>
              <a:xfrm>
                <a:off x="3690892" y="4772428"/>
                <a:ext cx="982300" cy="1156400"/>
                <a:chOff x="8316000" y="8964000"/>
                <a:chExt cx="982300" cy="1156400"/>
              </a:xfrm>
            </p:grpSpPr>
            <p:sp>
              <p:nvSpPr>
                <p:cNvPr id="637" name="手繪多邊形 636">
                  <a:extLst>
                    <a:ext uri="{FF2B5EF4-FFF2-40B4-BE49-F238E27FC236}">
                      <a16:creationId xmlns:a16="http://schemas.microsoft.com/office/drawing/2014/main" id="{5024DDA3-6BA2-DA40-ACB5-E5861AE8D38D}"/>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38" name="手繪多邊形 637">
                  <a:extLst>
                    <a:ext uri="{FF2B5EF4-FFF2-40B4-BE49-F238E27FC236}">
                      <a16:creationId xmlns:a16="http://schemas.microsoft.com/office/drawing/2014/main" id="{D981185D-D540-804D-873A-2468E24383B2}"/>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39" name="手繪多邊形 638">
                  <a:extLst>
                    <a:ext uri="{FF2B5EF4-FFF2-40B4-BE49-F238E27FC236}">
                      <a16:creationId xmlns:a16="http://schemas.microsoft.com/office/drawing/2014/main" id="{52E2BCBD-B942-4B40-A83A-E951A2EFE687}"/>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40" name="手繪多邊形 639">
                  <a:extLst>
                    <a:ext uri="{FF2B5EF4-FFF2-40B4-BE49-F238E27FC236}">
                      <a16:creationId xmlns:a16="http://schemas.microsoft.com/office/drawing/2014/main" id="{B2465C86-A437-2644-B0B5-FD75D8B9C9ED}"/>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41" name="手繪多邊形 640">
                  <a:extLst>
                    <a:ext uri="{FF2B5EF4-FFF2-40B4-BE49-F238E27FC236}">
                      <a16:creationId xmlns:a16="http://schemas.microsoft.com/office/drawing/2014/main" id="{3A29D9D4-B4E3-874C-BFE2-9A436B5CA4CA}"/>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42" name="手繪多邊形 641">
                  <a:extLst>
                    <a:ext uri="{FF2B5EF4-FFF2-40B4-BE49-F238E27FC236}">
                      <a16:creationId xmlns:a16="http://schemas.microsoft.com/office/drawing/2014/main" id="{C2C668FA-F0A6-AD49-B5BA-E14C4E8B1FF8}"/>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10668"/>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622" name="群組 621">
                <a:extLst>
                  <a:ext uri="{FF2B5EF4-FFF2-40B4-BE49-F238E27FC236}">
                    <a16:creationId xmlns:a16="http://schemas.microsoft.com/office/drawing/2014/main" id="{3000F743-8F60-3844-BA63-73C835A71446}"/>
                  </a:ext>
                </a:extLst>
              </p:cNvPr>
              <p:cNvGrpSpPr/>
              <p:nvPr/>
            </p:nvGrpSpPr>
            <p:grpSpPr>
              <a:xfrm>
                <a:off x="3907224" y="4994286"/>
                <a:ext cx="787665" cy="753512"/>
                <a:chOff x="3907224" y="4994286"/>
                <a:chExt cx="787665" cy="753512"/>
              </a:xfrm>
            </p:grpSpPr>
            <p:grpSp>
              <p:nvGrpSpPr>
                <p:cNvPr id="623" name="群組 622">
                  <a:extLst>
                    <a:ext uri="{FF2B5EF4-FFF2-40B4-BE49-F238E27FC236}">
                      <a16:creationId xmlns:a16="http://schemas.microsoft.com/office/drawing/2014/main" id="{8B89A9D9-6DBC-9542-87E1-FA1244B84EDC}"/>
                    </a:ext>
                  </a:extLst>
                </p:cNvPr>
                <p:cNvGrpSpPr/>
                <p:nvPr/>
              </p:nvGrpSpPr>
              <p:grpSpPr>
                <a:xfrm>
                  <a:off x="4062741" y="5056822"/>
                  <a:ext cx="562853" cy="641173"/>
                  <a:chOff x="4062741" y="5056822"/>
                  <a:chExt cx="562853" cy="641173"/>
                </a:xfrm>
              </p:grpSpPr>
              <p:grpSp>
                <p:nvGrpSpPr>
                  <p:cNvPr id="630" name="群組 629">
                    <a:extLst>
                      <a:ext uri="{FF2B5EF4-FFF2-40B4-BE49-F238E27FC236}">
                        <a16:creationId xmlns:a16="http://schemas.microsoft.com/office/drawing/2014/main" id="{C3622B47-38B3-8343-97DF-30144DFCD46F}"/>
                      </a:ext>
                    </a:extLst>
                  </p:cNvPr>
                  <p:cNvGrpSpPr>
                    <a:grpSpLocks noChangeAspect="1"/>
                  </p:cNvGrpSpPr>
                  <p:nvPr/>
                </p:nvGrpSpPr>
                <p:grpSpPr>
                  <a:xfrm rot="3933323">
                    <a:off x="4022985" y="5096578"/>
                    <a:ext cx="641173" cy="561662"/>
                    <a:chOff x="3311059" y="5885558"/>
                    <a:chExt cx="302559" cy="265556"/>
                  </a:xfrm>
                </p:grpSpPr>
                <p:grpSp>
                  <p:nvGrpSpPr>
                    <p:cNvPr id="632" name="群組 631">
                      <a:extLst>
                        <a:ext uri="{FF2B5EF4-FFF2-40B4-BE49-F238E27FC236}">
                          <a16:creationId xmlns:a16="http://schemas.microsoft.com/office/drawing/2014/main" id="{8D7E9D57-A690-414F-88DA-B8D282FDD77E}"/>
                        </a:ext>
                      </a:extLst>
                    </p:cNvPr>
                    <p:cNvGrpSpPr/>
                    <p:nvPr/>
                  </p:nvGrpSpPr>
                  <p:grpSpPr>
                    <a:xfrm>
                      <a:off x="3337869" y="5885558"/>
                      <a:ext cx="275749" cy="265556"/>
                      <a:chOff x="3056459" y="5824265"/>
                      <a:chExt cx="330832" cy="341116"/>
                    </a:xfrm>
                  </p:grpSpPr>
                  <p:sp>
                    <p:nvSpPr>
                      <p:cNvPr id="634" name="弧線 633">
                        <a:extLst>
                          <a:ext uri="{FF2B5EF4-FFF2-40B4-BE49-F238E27FC236}">
                            <a16:creationId xmlns:a16="http://schemas.microsoft.com/office/drawing/2014/main" id="{F1C7869A-4C4B-2744-90FB-C19581BE210D}"/>
                          </a:ext>
                        </a:extLst>
                      </p:cNvPr>
                      <p:cNvSpPr/>
                      <p:nvPr/>
                    </p:nvSpPr>
                    <p:spPr>
                      <a:xfrm rot="21152590">
                        <a:off x="3089116" y="5835149"/>
                        <a:ext cx="265331" cy="330232"/>
                      </a:xfrm>
                      <a:prstGeom prst="arc">
                        <a:avLst/>
                      </a:prstGeom>
                      <a:ln w="31750">
                        <a:solidFill>
                          <a:srgbClr val="AF4CCF"/>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35" name="弧線 634">
                        <a:extLst>
                          <a:ext uri="{FF2B5EF4-FFF2-40B4-BE49-F238E27FC236}">
                            <a16:creationId xmlns:a16="http://schemas.microsoft.com/office/drawing/2014/main" id="{06AA149F-FBCD-C247-8338-274DA8804CBD}"/>
                          </a:ext>
                        </a:extLst>
                      </p:cNvPr>
                      <p:cNvSpPr/>
                      <p:nvPr/>
                    </p:nvSpPr>
                    <p:spPr>
                      <a:xfrm rot="11224768">
                        <a:off x="3056459" y="5824265"/>
                        <a:ext cx="265331" cy="330232"/>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36" name="弧線 635">
                        <a:extLst>
                          <a:ext uri="{FF2B5EF4-FFF2-40B4-BE49-F238E27FC236}">
                            <a16:creationId xmlns:a16="http://schemas.microsoft.com/office/drawing/2014/main" id="{2FF0E775-F2F4-8B42-987F-4B2B88D3496C}"/>
                          </a:ext>
                        </a:extLst>
                      </p:cNvPr>
                      <p:cNvSpPr/>
                      <p:nvPr/>
                    </p:nvSpPr>
                    <p:spPr>
                      <a:xfrm rot="15828756">
                        <a:off x="3072576" y="5816861"/>
                        <a:ext cx="299197" cy="330232"/>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633" name="弧線 632">
                      <a:extLst>
                        <a:ext uri="{FF2B5EF4-FFF2-40B4-BE49-F238E27FC236}">
                          <a16:creationId xmlns:a16="http://schemas.microsoft.com/office/drawing/2014/main" id="{06AA5C6C-FA30-4C4D-8ECD-BEB5428CB061}"/>
                        </a:ext>
                      </a:extLst>
                    </p:cNvPr>
                    <p:cNvSpPr/>
                    <p:nvPr/>
                  </p:nvSpPr>
                  <p:spPr>
                    <a:xfrm rot="5657964">
                      <a:off x="3347031" y="5928155"/>
                      <a:ext cx="179171" cy="251115"/>
                    </a:xfrm>
                    <a:prstGeom prst="arc">
                      <a:avLst/>
                    </a:prstGeom>
                    <a:ln w="31750">
                      <a:solidFill>
                        <a:srgbClr val="AF4CC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631" name="橢圓 630">
                    <a:extLst>
                      <a:ext uri="{FF2B5EF4-FFF2-40B4-BE49-F238E27FC236}">
                        <a16:creationId xmlns:a16="http://schemas.microsoft.com/office/drawing/2014/main" id="{651BBA6A-B047-E843-9784-ED45E5FDBB7E}"/>
                      </a:ext>
                    </a:extLst>
                  </p:cNvPr>
                  <p:cNvSpPr/>
                  <p:nvPr/>
                </p:nvSpPr>
                <p:spPr>
                  <a:xfrm rot="19020979">
                    <a:off x="4541243" y="5384809"/>
                    <a:ext cx="84351" cy="165313"/>
                  </a:xfrm>
                  <a:prstGeom prst="ellipse">
                    <a:avLst/>
                  </a:prstGeom>
                  <a:gradFill flip="none" rotWithShape="1">
                    <a:gsLst>
                      <a:gs pos="0">
                        <a:schemeClr val="accent6">
                          <a:lumMod val="50000"/>
                        </a:schemeClr>
                      </a:gs>
                      <a:gs pos="50000">
                        <a:schemeClr val="accent6"/>
                      </a:gs>
                      <a:gs pos="100000">
                        <a:schemeClr val="accent6">
                          <a:lumMod val="20000"/>
                          <a:lumOff val="80000"/>
                        </a:schemeClr>
                      </a:gs>
                    </a:gsLst>
                    <a:path path="circle">
                      <a:fillToRect l="50000" t="50000" r="50000" b="50000"/>
                    </a:path>
                    <a:tileRect/>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grpSp>
              <p:nvGrpSpPr>
                <p:cNvPr id="624" name="群組 623">
                  <a:extLst>
                    <a:ext uri="{FF2B5EF4-FFF2-40B4-BE49-F238E27FC236}">
                      <a16:creationId xmlns:a16="http://schemas.microsoft.com/office/drawing/2014/main" id="{B5E84C79-2F95-414E-80F3-2D90BB7C1A68}"/>
                    </a:ext>
                  </a:extLst>
                </p:cNvPr>
                <p:cNvGrpSpPr/>
                <p:nvPr/>
              </p:nvGrpSpPr>
              <p:grpSpPr>
                <a:xfrm rot="11388710">
                  <a:off x="3907224" y="5001484"/>
                  <a:ext cx="787665" cy="746314"/>
                  <a:chOff x="3060806" y="5817421"/>
                  <a:chExt cx="330926" cy="347960"/>
                </a:xfrm>
              </p:grpSpPr>
              <p:sp>
                <p:nvSpPr>
                  <p:cNvPr id="627" name="弧線 626">
                    <a:extLst>
                      <a:ext uri="{FF2B5EF4-FFF2-40B4-BE49-F238E27FC236}">
                        <a16:creationId xmlns:a16="http://schemas.microsoft.com/office/drawing/2014/main" id="{A7E1CD17-09C2-B340-A6D4-CD50A2B6D43A}"/>
                      </a:ext>
                    </a:extLst>
                  </p:cNvPr>
                  <p:cNvSpPr/>
                  <p:nvPr/>
                </p:nvSpPr>
                <p:spPr>
                  <a:xfrm rot="21152590">
                    <a:off x="3089116" y="5835149"/>
                    <a:ext cx="265331" cy="330232"/>
                  </a:xfrm>
                  <a:prstGeom prst="arc">
                    <a:avLst/>
                  </a:prstGeom>
                  <a:ln w="31750">
                    <a:solidFill>
                      <a:srgbClr val="002060"/>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28" name="弧線 627">
                    <a:extLst>
                      <a:ext uri="{FF2B5EF4-FFF2-40B4-BE49-F238E27FC236}">
                        <a16:creationId xmlns:a16="http://schemas.microsoft.com/office/drawing/2014/main" id="{0DE526C5-2586-7B4C-A011-836FEDA5E057}"/>
                      </a:ext>
                    </a:extLst>
                  </p:cNvPr>
                  <p:cNvSpPr/>
                  <p:nvPr/>
                </p:nvSpPr>
                <p:spPr>
                  <a:xfrm rot="11224768">
                    <a:off x="3060806" y="5817421"/>
                    <a:ext cx="265331" cy="330232"/>
                  </a:xfrm>
                  <a:prstGeom prst="arc">
                    <a:avLst/>
                  </a:prstGeom>
                  <a:ln w="31750">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sp>
                <p:nvSpPr>
                  <p:cNvPr id="629" name="弧線 628">
                    <a:extLst>
                      <a:ext uri="{FF2B5EF4-FFF2-40B4-BE49-F238E27FC236}">
                        <a16:creationId xmlns:a16="http://schemas.microsoft.com/office/drawing/2014/main" id="{0D156499-7C24-1A48-BAE8-51FCC2AEFA07}"/>
                      </a:ext>
                    </a:extLst>
                  </p:cNvPr>
                  <p:cNvSpPr/>
                  <p:nvPr/>
                </p:nvSpPr>
                <p:spPr>
                  <a:xfrm rot="15828756">
                    <a:off x="3077017" y="5820335"/>
                    <a:ext cx="299197" cy="330232"/>
                  </a:xfrm>
                  <a:prstGeom prst="arc">
                    <a:avLst/>
                  </a:prstGeom>
                  <a:ln w="31750">
                    <a:solidFill>
                      <a:srgbClr val="002060"/>
                    </a:solidFill>
                    <a:round/>
                    <a:tailEnd w="sm"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Arial" panose="020B0604020202020204" pitchFamily="34" charset="0"/>
                      <a:ea typeface="新細明體" panose="02020500000000000000" pitchFamily="18" charset="-120"/>
                      <a:cs typeface="Arial" panose="020B0604020202020204" pitchFamily="34" charset="0"/>
                    </a:endParaRPr>
                  </a:p>
                </p:txBody>
              </p:sp>
            </p:grpSp>
            <p:sp>
              <p:nvSpPr>
                <p:cNvPr id="625" name="手繪多邊形 624">
                  <a:extLst>
                    <a:ext uri="{FF2B5EF4-FFF2-40B4-BE49-F238E27FC236}">
                      <a16:creationId xmlns:a16="http://schemas.microsoft.com/office/drawing/2014/main" id="{0928C69C-827C-7A4F-8174-DF4B6627A53E}"/>
                    </a:ext>
                  </a:extLst>
                </p:cNvPr>
                <p:cNvSpPr/>
                <p:nvPr/>
              </p:nvSpPr>
              <p:spPr>
                <a:xfrm>
                  <a:off x="3997428" y="4994286"/>
                  <a:ext cx="396772" cy="377813"/>
                </a:xfrm>
                <a:custGeom>
                  <a:avLst/>
                  <a:gdLst>
                    <a:gd name="connsiteX0" fmla="*/ 0 w 406400"/>
                    <a:gd name="connsiteY0" fmla="*/ 381000 h 381000"/>
                    <a:gd name="connsiteX1" fmla="*/ 12700 w 406400"/>
                    <a:gd name="connsiteY1" fmla="*/ 266700 h 381000"/>
                    <a:gd name="connsiteX2" fmla="*/ 63500 w 406400"/>
                    <a:gd name="connsiteY2" fmla="*/ 165100 h 381000"/>
                    <a:gd name="connsiteX3" fmla="*/ 190500 w 406400"/>
                    <a:gd name="connsiteY3" fmla="*/ 76200 h 381000"/>
                    <a:gd name="connsiteX4" fmla="*/ 317500 w 406400"/>
                    <a:gd name="connsiteY4" fmla="*/ 50800 h 381000"/>
                    <a:gd name="connsiteX5" fmla="*/ 406400 w 406400"/>
                    <a:gd name="connsiteY5"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400" h="381000">
                      <a:moveTo>
                        <a:pt x="0" y="381000"/>
                      </a:moveTo>
                      <a:cubicBezTo>
                        <a:pt x="1058" y="341841"/>
                        <a:pt x="2117" y="302683"/>
                        <a:pt x="12700" y="266700"/>
                      </a:cubicBezTo>
                      <a:cubicBezTo>
                        <a:pt x="23283" y="230717"/>
                        <a:pt x="33867" y="196850"/>
                        <a:pt x="63500" y="165100"/>
                      </a:cubicBezTo>
                      <a:cubicBezTo>
                        <a:pt x="93133" y="133350"/>
                        <a:pt x="148167" y="95250"/>
                        <a:pt x="190500" y="76200"/>
                      </a:cubicBezTo>
                      <a:cubicBezTo>
                        <a:pt x="232833" y="57150"/>
                        <a:pt x="281517" y="63500"/>
                        <a:pt x="317500" y="50800"/>
                      </a:cubicBezTo>
                      <a:cubicBezTo>
                        <a:pt x="353483" y="38100"/>
                        <a:pt x="379941" y="19050"/>
                        <a:pt x="406400" y="0"/>
                      </a:cubicBezTo>
                    </a:path>
                  </a:pathLst>
                </a:custGeom>
                <a:no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dirty="0">
                    <a:ln>
                      <a:noFill/>
                    </a:ln>
                    <a:solidFill>
                      <a:prstClr val="white"/>
                    </a:solidFill>
                    <a:effectLst/>
                    <a:uLnTx/>
                    <a:uFillTx/>
                    <a:latin typeface="Calibri" panose="020F0502020204030204"/>
                    <a:ea typeface="新細明體" panose="02020500000000000000" pitchFamily="18" charset="-120"/>
                    <a:cs typeface="+mn-cs"/>
                  </a:endParaRPr>
                </a:p>
              </p:txBody>
            </p:sp>
            <p:sp>
              <p:nvSpPr>
                <p:cNvPr id="626" name="橢圓 625">
                  <a:extLst>
                    <a:ext uri="{FF2B5EF4-FFF2-40B4-BE49-F238E27FC236}">
                      <a16:creationId xmlns:a16="http://schemas.microsoft.com/office/drawing/2014/main" id="{512C237B-5E9D-584F-AE7C-6E7A42828E19}"/>
                    </a:ext>
                  </a:extLst>
                </p:cNvPr>
                <p:cNvSpPr/>
                <p:nvPr/>
              </p:nvSpPr>
              <p:spPr>
                <a:xfrm>
                  <a:off x="4470342" y="5018540"/>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grpSp>
          <p:nvGrpSpPr>
            <p:cNvPr id="651" name="群組 650">
              <a:extLst>
                <a:ext uri="{FF2B5EF4-FFF2-40B4-BE49-F238E27FC236}">
                  <a16:creationId xmlns:a16="http://schemas.microsoft.com/office/drawing/2014/main" id="{5C310F6E-14E6-294A-B10E-BF0112A95B64}"/>
                </a:ext>
              </a:extLst>
            </p:cNvPr>
            <p:cNvGrpSpPr>
              <a:grpSpLocks noChangeAspect="1"/>
            </p:cNvGrpSpPr>
            <p:nvPr/>
          </p:nvGrpSpPr>
          <p:grpSpPr>
            <a:xfrm>
              <a:off x="7727153" y="2643526"/>
              <a:ext cx="629719" cy="564027"/>
              <a:chOff x="7472545" y="8933668"/>
              <a:chExt cx="1891716" cy="1788271"/>
            </a:xfrm>
          </p:grpSpPr>
          <p:sp>
            <p:nvSpPr>
              <p:cNvPr id="652" name="橢圓 651">
                <a:extLst>
                  <a:ext uri="{FF2B5EF4-FFF2-40B4-BE49-F238E27FC236}">
                    <a16:creationId xmlns:a16="http://schemas.microsoft.com/office/drawing/2014/main" id="{3DA7A94A-C7E6-4540-9D1E-911F29DF91DD}"/>
                  </a:ext>
                </a:extLst>
              </p:cNvPr>
              <p:cNvSpPr>
                <a:spLocks noChangeAspect="1"/>
              </p:cNvSpPr>
              <p:nvPr/>
            </p:nvSpPr>
            <p:spPr>
              <a:xfrm>
                <a:off x="7669168" y="9084195"/>
                <a:ext cx="1477636" cy="1475999"/>
              </a:xfrm>
              <a:prstGeom prst="ellipse">
                <a:avLst/>
              </a:prstGeom>
              <a:gradFill flip="none" rotWithShape="1">
                <a:gsLst>
                  <a:gs pos="0">
                    <a:schemeClr val="accent2">
                      <a:lumMod val="40000"/>
                      <a:lumOff val="60000"/>
                    </a:schemeClr>
                  </a:gs>
                  <a:gs pos="48000">
                    <a:schemeClr val="accent2">
                      <a:lumMod val="60000"/>
                      <a:lumOff val="40000"/>
                    </a:schemeClr>
                  </a:gs>
                  <a:gs pos="53000">
                    <a:schemeClr val="accent2">
                      <a:lumMod val="60000"/>
                      <a:lumOff val="40000"/>
                    </a:schemeClr>
                  </a:gs>
                  <a:gs pos="100000">
                    <a:schemeClr val="accent2">
                      <a:lumMod val="20355"/>
                      <a:alpha val="0"/>
                    </a:schemeClr>
                  </a:gs>
                </a:gsLst>
                <a:path path="circle">
                  <a:fillToRect l="50000" t="50000" r="50000" b="50000"/>
                </a:path>
                <a:tileRect/>
              </a:gradFill>
              <a:ln w="41275" cmpd="tri">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nvGrpSpPr>
              <p:cNvPr id="653" name="群組 652">
                <a:extLst>
                  <a:ext uri="{FF2B5EF4-FFF2-40B4-BE49-F238E27FC236}">
                    <a16:creationId xmlns:a16="http://schemas.microsoft.com/office/drawing/2014/main" id="{0883E141-295D-8942-AE95-7ADA9E997DF4}"/>
                  </a:ext>
                </a:extLst>
              </p:cNvPr>
              <p:cNvGrpSpPr/>
              <p:nvPr/>
            </p:nvGrpSpPr>
            <p:grpSpPr>
              <a:xfrm>
                <a:off x="7759886" y="9244302"/>
                <a:ext cx="1312419" cy="1170600"/>
                <a:chOff x="8316000" y="8964000"/>
                <a:chExt cx="1312419" cy="1170600"/>
              </a:xfrm>
            </p:grpSpPr>
            <p:sp>
              <p:nvSpPr>
                <p:cNvPr id="678" name="手繪多邊形 677">
                  <a:extLst>
                    <a:ext uri="{FF2B5EF4-FFF2-40B4-BE49-F238E27FC236}">
                      <a16:creationId xmlns:a16="http://schemas.microsoft.com/office/drawing/2014/main" id="{4FB58F57-7BC0-1049-B3D8-867331E317A5}"/>
                    </a:ext>
                  </a:extLst>
                </p:cNvPr>
                <p:cNvSpPr/>
                <p:nvPr/>
              </p:nvSpPr>
              <p:spPr>
                <a:xfrm>
                  <a:off x="8331200" y="8966200"/>
                  <a:ext cx="520700" cy="596900"/>
                </a:xfrm>
                <a:custGeom>
                  <a:avLst/>
                  <a:gdLst>
                    <a:gd name="connsiteX0" fmla="*/ 317500 w 520700"/>
                    <a:gd name="connsiteY0" fmla="*/ 0 h 596900"/>
                    <a:gd name="connsiteX1" fmla="*/ 0 w 520700"/>
                    <a:gd name="connsiteY1" fmla="*/ 596900 h 596900"/>
                    <a:gd name="connsiteX2" fmla="*/ 520700 w 520700"/>
                    <a:gd name="connsiteY2" fmla="*/ 254000 h 596900"/>
                    <a:gd name="connsiteX3" fmla="*/ 317500 w 520700"/>
                    <a:gd name="connsiteY3" fmla="*/ 0 h 596900"/>
                  </a:gdLst>
                  <a:ahLst/>
                  <a:cxnLst>
                    <a:cxn ang="0">
                      <a:pos x="connsiteX0" y="connsiteY0"/>
                    </a:cxn>
                    <a:cxn ang="0">
                      <a:pos x="connsiteX1" y="connsiteY1"/>
                    </a:cxn>
                    <a:cxn ang="0">
                      <a:pos x="connsiteX2" y="connsiteY2"/>
                    </a:cxn>
                    <a:cxn ang="0">
                      <a:pos x="connsiteX3" y="connsiteY3"/>
                    </a:cxn>
                  </a:cxnLst>
                  <a:rect l="l" t="t" r="r" b="b"/>
                  <a:pathLst>
                    <a:path w="520700" h="596900">
                      <a:moveTo>
                        <a:pt x="317500" y="0"/>
                      </a:moveTo>
                      <a:lnTo>
                        <a:pt x="0" y="596900"/>
                      </a:lnTo>
                      <a:lnTo>
                        <a:pt x="520700" y="254000"/>
                      </a:lnTo>
                      <a:lnTo>
                        <a:pt x="3175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9" name="手繪多邊形 678">
                  <a:extLst>
                    <a:ext uri="{FF2B5EF4-FFF2-40B4-BE49-F238E27FC236}">
                      <a16:creationId xmlns:a16="http://schemas.microsoft.com/office/drawing/2014/main" id="{A9200626-DF26-884A-B8B1-3743FE1F3678}"/>
                    </a:ext>
                  </a:extLst>
                </p:cNvPr>
                <p:cNvSpPr/>
                <p:nvPr/>
              </p:nvSpPr>
              <p:spPr>
                <a:xfrm>
                  <a:off x="8801100" y="9207500"/>
                  <a:ext cx="457200" cy="431800"/>
                </a:xfrm>
                <a:custGeom>
                  <a:avLst/>
                  <a:gdLst>
                    <a:gd name="connsiteX0" fmla="*/ 50800 w 457200"/>
                    <a:gd name="connsiteY0" fmla="*/ 0 h 431800"/>
                    <a:gd name="connsiteX1" fmla="*/ 0 w 457200"/>
                    <a:gd name="connsiteY1" fmla="*/ 431800 h 431800"/>
                    <a:gd name="connsiteX2" fmla="*/ 457200 w 457200"/>
                    <a:gd name="connsiteY2" fmla="*/ 317500 h 431800"/>
                    <a:gd name="connsiteX3" fmla="*/ 50800 w 457200"/>
                    <a:gd name="connsiteY3" fmla="*/ 0 h 431800"/>
                  </a:gdLst>
                  <a:ahLst/>
                  <a:cxnLst>
                    <a:cxn ang="0">
                      <a:pos x="connsiteX0" y="connsiteY0"/>
                    </a:cxn>
                    <a:cxn ang="0">
                      <a:pos x="connsiteX1" y="connsiteY1"/>
                    </a:cxn>
                    <a:cxn ang="0">
                      <a:pos x="connsiteX2" y="connsiteY2"/>
                    </a:cxn>
                    <a:cxn ang="0">
                      <a:pos x="connsiteX3" y="connsiteY3"/>
                    </a:cxn>
                  </a:cxnLst>
                  <a:rect l="l" t="t" r="r" b="b"/>
                  <a:pathLst>
                    <a:path w="457200" h="431800">
                      <a:moveTo>
                        <a:pt x="50800" y="0"/>
                      </a:moveTo>
                      <a:lnTo>
                        <a:pt x="0" y="431800"/>
                      </a:lnTo>
                      <a:lnTo>
                        <a:pt x="457200" y="317500"/>
                      </a:lnTo>
                      <a:lnTo>
                        <a:pt x="50800" y="0"/>
                      </a:lnTo>
                      <a:close/>
                    </a:path>
                  </a:pathLst>
                </a:custGeom>
                <a:solidFill>
                  <a:schemeClr val="accent6">
                    <a:lumMod val="20000"/>
                    <a:lumOff val="8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0" name="手繪多邊形 679">
                  <a:extLst>
                    <a:ext uri="{FF2B5EF4-FFF2-40B4-BE49-F238E27FC236}">
                      <a16:creationId xmlns:a16="http://schemas.microsoft.com/office/drawing/2014/main" id="{EF68B697-9EEF-B84D-B7F5-2C9D013BF6F1}"/>
                    </a:ext>
                  </a:extLst>
                </p:cNvPr>
                <p:cNvSpPr/>
                <p:nvPr/>
              </p:nvSpPr>
              <p:spPr>
                <a:xfrm rot="-180000">
                  <a:off x="8676000" y="8964000"/>
                  <a:ext cx="622300" cy="241300"/>
                </a:xfrm>
                <a:custGeom>
                  <a:avLst/>
                  <a:gdLst>
                    <a:gd name="connsiteX0" fmla="*/ 0 w 622300"/>
                    <a:gd name="connsiteY0" fmla="*/ 0 h 241300"/>
                    <a:gd name="connsiteX1" fmla="*/ 190500 w 622300"/>
                    <a:gd name="connsiteY1" fmla="*/ 241300 h 241300"/>
                    <a:gd name="connsiteX2" fmla="*/ 622300 w 622300"/>
                    <a:gd name="connsiteY2" fmla="*/ 50800 h 241300"/>
                    <a:gd name="connsiteX3" fmla="*/ 0 w 622300"/>
                    <a:gd name="connsiteY3" fmla="*/ 0 h 241300"/>
                  </a:gdLst>
                  <a:ahLst/>
                  <a:cxnLst>
                    <a:cxn ang="0">
                      <a:pos x="connsiteX0" y="connsiteY0"/>
                    </a:cxn>
                    <a:cxn ang="0">
                      <a:pos x="connsiteX1" y="connsiteY1"/>
                    </a:cxn>
                    <a:cxn ang="0">
                      <a:pos x="connsiteX2" y="connsiteY2"/>
                    </a:cxn>
                    <a:cxn ang="0">
                      <a:pos x="connsiteX3" y="connsiteY3"/>
                    </a:cxn>
                  </a:cxnLst>
                  <a:rect l="l" t="t" r="r" b="b"/>
                  <a:pathLst>
                    <a:path w="622300" h="241300">
                      <a:moveTo>
                        <a:pt x="0" y="0"/>
                      </a:moveTo>
                      <a:lnTo>
                        <a:pt x="190500" y="241300"/>
                      </a:lnTo>
                      <a:lnTo>
                        <a:pt x="622300" y="50800"/>
                      </a:lnTo>
                      <a:lnTo>
                        <a:pt x="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1" name="手繪多邊形 680">
                  <a:extLst>
                    <a:ext uri="{FF2B5EF4-FFF2-40B4-BE49-F238E27FC236}">
                      <a16:creationId xmlns:a16="http://schemas.microsoft.com/office/drawing/2014/main" id="{77451243-0EC8-C241-AA7C-CDECA05DEE61}"/>
                    </a:ext>
                  </a:extLst>
                </p:cNvPr>
                <p:cNvSpPr/>
                <p:nvPr/>
              </p:nvSpPr>
              <p:spPr>
                <a:xfrm rot="120000">
                  <a:off x="8861094" y="9005414"/>
                  <a:ext cx="419672" cy="507192"/>
                </a:xfrm>
                <a:custGeom>
                  <a:avLst/>
                  <a:gdLst>
                    <a:gd name="connsiteX0" fmla="*/ 0 w 419100"/>
                    <a:gd name="connsiteY0" fmla="*/ 215900 h 508000"/>
                    <a:gd name="connsiteX1" fmla="*/ 419100 w 419100"/>
                    <a:gd name="connsiteY1" fmla="*/ 0 h 508000"/>
                    <a:gd name="connsiteX2" fmla="*/ 419100 w 419100"/>
                    <a:gd name="connsiteY2" fmla="*/ 508000 h 508000"/>
                    <a:gd name="connsiteX3" fmla="*/ 419100 w 419100"/>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419100" h="508000">
                      <a:moveTo>
                        <a:pt x="0" y="215900"/>
                      </a:moveTo>
                      <a:lnTo>
                        <a:pt x="419100" y="0"/>
                      </a:lnTo>
                      <a:lnTo>
                        <a:pt x="419100" y="508000"/>
                      </a:lnTo>
                      <a:lnTo>
                        <a:pt x="419100" y="508000"/>
                      </a:lnTo>
                    </a:path>
                  </a:pathLst>
                </a:custGeom>
                <a:solidFill>
                  <a:schemeClr val="accent6">
                    <a:lumMod val="60000"/>
                    <a:lumOff val="40000"/>
                    <a:alpha val="97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2" name="手繪多邊形 681">
                  <a:extLst>
                    <a:ext uri="{FF2B5EF4-FFF2-40B4-BE49-F238E27FC236}">
                      <a16:creationId xmlns:a16="http://schemas.microsoft.com/office/drawing/2014/main" id="{2D28C316-9D40-8D4C-9479-59F2DECAAA59}"/>
                    </a:ext>
                  </a:extLst>
                </p:cNvPr>
                <p:cNvSpPr/>
                <p:nvPr/>
              </p:nvSpPr>
              <p:spPr>
                <a:xfrm rot="60000">
                  <a:off x="9279466" y="9000067"/>
                  <a:ext cx="344691" cy="536768"/>
                </a:xfrm>
                <a:custGeom>
                  <a:avLst/>
                  <a:gdLst>
                    <a:gd name="connsiteX0" fmla="*/ 12700 w 330200"/>
                    <a:gd name="connsiteY0" fmla="*/ 0 h 533400"/>
                    <a:gd name="connsiteX1" fmla="*/ 0 w 330200"/>
                    <a:gd name="connsiteY1" fmla="*/ 520700 h 533400"/>
                    <a:gd name="connsiteX2" fmla="*/ 330200 w 330200"/>
                    <a:gd name="connsiteY2" fmla="*/ 533400 h 533400"/>
                    <a:gd name="connsiteX3" fmla="*/ 12700 w 330200"/>
                    <a:gd name="connsiteY3" fmla="*/ 0 h 533400"/>
                  </a:gdLst>
                  <a:ahLst/>
                  <a:cxnLst>
                    <a:cxn ang="0">
                      <a:pos x="connsiteX0" y="connsiteY0"/>
                    </a:cxn>
                    <a:cxn ang="0">
                      <a:pos x="connsiteX1" y="connsiteY1"/>
                    </a:cxn>
                    <a:cxn ang="0">
                      <a:pos x="connsiteX2" y="connsiteY2"/>
                    </a:cxn>
                    <a:cxn ang="0">
                      <a:pos x="connsiteX3" y="connsiteY3"/>
                    </a:cxn>
                  </a:cxnLst>
                  <a:rect l="l" t="t" r="r" b="b"/>
                  <a:pathLst>
                    <a:path w="330200" h="533400">
                      <a:moveTo>
                        <a:pt x="12700" y="0"/>
                      </a:moveTo>
                      <a:lnTo>
                        <a:pt x="0" y="520700"/>
                      </a:lnTo>
                      <a:lnTo>
                        <a:pt x="330200" y="533400"/>
                      </a:lnTo>
                      <a:lnTo>
                        <a:pt x="12700" y="0"/>
                      </a:lnTo>
                      <a:close/>
                    </a:path>
                  </a:pathLst>
                </a:custGeom>
                <a:solidFill>
                  <a:schemeClr val="accent6">
                    <a:lumMod val="40000"/>
                    <a:lumOff val="6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3" name="手繪多邊形 682">
                  <a:extLst>
                    <a:ext uri="{FF2B5EF4-FFF2-40B4-BE49-F238E27FC236}">
                      <a16:creationId xmlns:a16="http://schemas.microsoft.com/office/drawing/2014/main" id="{E9134382-0D0B-E546-8722-EA97A120ED8D}"/>
                    </a:ext>
                  </a:extLst>
                </p:cNvPr>
                <p:cNvSpPr/>
                <p:nvPr/>
              </p:nvSpPr>
              <p:spPr>
                <a:xfrm>
                  <a:off x="9268419" y="9521085"/>
                  <a:ext cx="360000" cy="612000"/>
                </a:xfrm>
                <a:custGeom>
                  <a:avLst/>
                  <a:gdLst>
                    <a:gd name="connsiteX0" fmla="*/ 0 w 355600"/>
                    <a:gd name="connsiteY0" fmla="*/ 0 h 609600"/>
                    <a:gd name="connsiteX1" fmla="*/ 25400 w 355600"/>
                    <a:gd name="connsiteY1" fmla="*/ 609600 h 609600"/>
                    <a:gd name="connsiteX2" fmla="*/ 355600 w 355600"/>
                    <a:gd name="connsiteY2" fmla="*/ 25400 h 609600"/>
                    <a:gd name="connsiteX3" fmla="*/ 0 w 355600"/>
                    <a:gd name="connsiteY3" fmla="*/ 0 h 609600"/>
                  </a:gdLst>
                  <a:ahLst/>
                  <a:cxnLst>
                    <a:cxn ang="0">
                      <a:pos x="connsiteX0" y="connsiteY0"/>
                    </a:cxn>
                    <a:cxn ang="0">
                      <a:pos x="connsiteX1" y="connsiteY1"/>
                    </a:cxn>
                    <a:cxn ang="0">
                      <a:pos x="connsiteX2" y="connsiteY2"/>
                    </a:cxn>
                    <a:cxn ang="0">
                      <a:pos x="connsiteX3" y="connsiteY3"/>
                    </a:cxn>
                  </a:cxnLst>
                  <a:rect l="l" t="t" r="r" b="b"/>
                  <a:pathLst>
                    <a:path w="355600" h="609600">
                      <a:moveTo>
                        <a:pt x="0" y="0"/>
                      </a:moveTo>
                      <a:lnTo>
                        <a:pt x="25400" y="609600"/>
                      </a:lnTo>
                      <a:lnTo>
                        <a:pt x="355600" y="25400"/>
                      </a:lnTo>
                      <a:lnTo>
                        <a:pt x="0" y="0"/>
                      </a:lnTo>
                      <a:close/>
                    </a:path>
                  </a:pathLst>
                </a:custGeom>
                <a:solidFill>
                  <a:schemeClr val="accent6">
                    <a:lumMod val="75000"/>
                    <a:alpha val="83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4" name="手繪多邊形 683">
                  <a:extLst>
                    <a:ext uri="{FF2B5EF4-FFF2-40B4-BE49-F238E27FC236}">
                      <a16:creationId xmlns:a16="http://schemas.microsoft.com/office/drawing/2014/main" id="{704F3DAE-09A2-974A-8526-24C61BD9E8A2}"/>
                    </a:ext>
                  </a:extLst>
                </p:cNvPr>
                <p:cNvSpPr/>
                <p:nvPr/>
              </p:nvSpPr>
              <p:spPr>
                <a:xfrm rot="60000">
                  <a:off x="8805334" y="9516533"/>
                  <a:ext cx="482600" cy="609600"/>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5" name="手繪多邊形 684">
                  <a:extLst>
                    <a:ext uri="{FF2B5EF4-FFF2-40B4-BE49-F238E27FC236}">
                      <a16:creationId xmlns:a16="http://schemas.microsoft.com/office/drawing/2014/main" id="{1C43B8ED-00A0-C048-93EB-16E693B7279D}"/>
                    </a:ext>
                  </a:extLst>
                </p:cNvPr>
                <p:cNvSpPr/>
                <p:nvPr/>
              </p:nvSpPr>
              <p:spPr>
                <a:xfrm>
                  <a:off x="8652933" y="9626600"/>
                  <a:ext cx="635000" cy="508000"/>
                </a:xfrm>
                <a:custGeom>
                  <a:avLst/>
                  <a:gdLst>
                    <a:gd name="connsiteX0" fmla="*/ 152400 w 635000"/>
                    <a:gd name="connsiteY0" fmla="*/ 0 h 508000"/>
                    <a:gd name="connsiteX1" fmla="*/ 0 w 635000"/>
                    <a:gd name="connsiteY1" fmla="*/ 508000 h 508000"/>
                    <a:gd name="connsiteX2" fmla="*/ 635000 w 635000"/>
                    <a:gd name="connsiteY2" fmla="*/ 499533 h 508000"/>
                    <a:gd name="connsiteX3" fmla="*/ 152400 w 635000"/>
                    <a:gd name="connsiteY3" fmla="*/ 0 h 508000"/>
                  </a:gdLst>
                  <a:ahLst/>
                  <a:cxnLst>
                    <a:cxn ang="0">
                      <a:pos x="connsiteX0" y="connsiteY0"/>
                    </a:cxn>
                    <a:cxn ang="0">
                      <a:pos x="connsiteX1" y="connsiteY1"/>
                    </a:cxn>
                    <a:cxn ang="0">
                      <a:pos x="connsiteX2" y="connsiteY2"/>
                    </a:cxn>
                    <a:cxn ang="0">
                      <a:pos x="connsiteX3" y="connsiteY3"/>
                    </a:cxn>
                  </a:cxnLst>
                  <a:rect l="l" t="t" r="r" b="b"/>
                  <a:pathLst>
                    <a:path w="635000" h="508000">
                      <a:moveTo>
                        <a:pt x="152400" y="0"/>
                      </a:moveTo>
                      <a:lnTo>
                        <a:pt x="0" y="508000"/>
                      </a:lnTo>
                      <a:lnTo>
                        <a:pt x="635000" y="499533"/>
                      </a:lnTo>
                      <a:lnTo>
                        <a:pt x="152400" y="0"/>
                      </a:lnTo>
                      <a:close/>
                    </a:path>
                  </a:pathLst>
                </a:custGeom>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6" name="手繪多邊形 685">
                  <a:extLst>
                    <a:ext uri="{FF2B5EF4-FFF2-40B4-BE49-F238E27FC236}">
                      <a16:creationId xmlns:a16="http://schemas.microsoft.com/office/drawing/2014/main" id="{027584A7-A79B-114C-82B5-61D7629629FD}"/>
                    </a:ext>
                  </a:extLst>
                </p:cNvPr>
                <p:cNvSpPr/>
                <p:nvPr/>
              </p:nvSpPr>
              <p:spPr>
                <a:xfrm>
                  <a:off x="8335926" y="9218428"/>
                  <a:ext cx="510362" cy="425302"/>
                </a:xfrm>
                <a:custGeom>
                  <a:avLst/>
                  <a:gdLst>
                    <a:gd name="connsiteX0" fmla="*/ 0 w 510362"/>
                    <a:gd name="connsiteY0" fmla="*/ 350874 h 425302"/>
                    <a:gd name="connsiteX1" fmla="*/ 510362 w 510362"/>
                    <a:gd name="connsiteY1" fmla="*/ 0 h 425302"/>
                    <a:gd name="connsiteX2" fmla="*/ 467832 w 510362"/>
                    <a:gd name="connsiteY2" fmla="*/ 425302 h 425302"/>
                    <a:gd name="connsiteX3" fmla="*/ 467832 w 510362"/>
                    <a:gd name="connsiteY3" fmla="*/ 425302 h 425302"/>
                  </a:gdLst>
                  <a:ahLst/>
                  <a:cxnLst>
                    <a:cxn ang="0">
                      <a:pos x="connsiteX0" y="connsiteY0"/>
                    </a:cxn>
                    <a:cxn ang="0">
                      <a:pos x="connsiteX1" y="connsiteY1"/>
                    </a:cxn>
                    <a:cxn ang="0">
                      <a:pos x="connsiteX2" y="connsiteY2"/>
                    </a:cxn>
                    <a:cxn ang="0">
                      <a:pos x="connsiteX3" y="connsiteY3"/>
                    </a:cxn>
                  </a:cxnLst>
                  <a:rect l="l" t="t" r="r" b="b"/>
                  <a:pathLst>
                    <a:path w="510362" h="425302">
                      <a:moveTo>
                        <a:pt x="0" y="350874"/>
                      </a:moveTo>
                      <a:lnTo>
                        <a:pt x="510362" y="0"/>
                      </a:lnTo>
                      <a:lnTo>
                        <a:pt x="467832" y="425302"/>
                      </a:lnTo>
                      <a:lnTo>
                        <a:pt x="467832" y="425302"/>
                      </a:lnTo>
                    </a:path>
                  </a:pathLst>
                </a:custGeom>
                <a:solidFill>
                  <a:schemeClr val="accent6">
                    <a:lumMod val="40000"/>
                    <a:lumOff val="60000"/>
                    <a:alpha val="86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7" name="手繪多邊形 686">
                  <a:extLst>
                    <a:ext uri="{FF2B5EF4-FFF2-40B4-BE49-F238E27FC236}">
                      <a16:creationId xmlns:a16="http://schemas.microsoft.com/office/drawing/2014/main" id="{9278CB53-C80B-C948-9EF5-271598C7258A}"/>
                    </a:ext>
                  </a:extLst>
                </p:cNvPr>
                <p:cNvSpPr/>
                <p:nvPr/>
              </p:nvSpPr>
              <p:spPr>
                <a:xfrm>
                  <a:off x="8644467" y="9635067"/>
                  <a:ext cx="635000" cy="499533"/>
                </a:xfrm>
                <a:custGeom>
                  <a:avLst/>
                  <a:gdLst>
                    <a:gd name="connsiteX0" fmla="*/ 152400 w 635000"/>
                    <a:gd name="connsiteY0" fmla="*/ 0 h 499533"/>
                    <a:gd name="connsiteX1" fmla="*/ 0 w 635000"/>
                    <a:gd name="connsiteY1" fmla="*/ 499533 h 499533"/>
                    <a:gd name="connsiteX2" fmla="*/ 635000 w 635000"/>
                    <a:gd name="connsiteY2" fmla="*/ 491066 h 499533"/>
                    <a:gd name="connsiteX3" fmla="*/ 635000 w 635000"/>
                    <a:gd name="connsiteY3" fmla="*/ 491066 h 499533"/>
                  </a:gdLst>
                  <a:ahLst/>
                  <a:cxnLst>
                    <a:cxn ang="0">
                      <a:pos x="connsiteX0" y="connsiteY0"/>
                    </a:cxn>
                    <a:cxn ang="0">
                      <a:pos x="connsiteX1" y="connsiteY1"/>
                    </a:cxn>
                    <a:cxn ang="0">
                      <a:pos x="connsiteX2" y="connsiteY2"/>
                    </a:cxn>
                    <a:cxn ang="0">
                      <a:pos x="connsiteX3" y="connsiteY3"/>
                    </a:cxn>
                  </a:cxnLst>
                  <a:rect l="l" t="t" r="r" b="b"/>
                  <a:pathLst>
                    <a:path w="635000" h="499533">
                      <a:moveTo>
                        <a:pt x="152400" y="0"/>
                      </a:moveTo>
                      <a:lnTo>
                        <a:pt x="0" y="499533"/>
                      </a:lnTo>
                      <a:lnTo>
                        <a:pt x="635000" y="491066"/>
                      </a:lnTo>
                      <a:lnTo>
                        <a:pt x="635000" y="491066"/>
                      </a:lnTo>
                    </a:path>
                  </a:pathLst>
                </a:custGeom>
                <a:solidFill>
                  <a:schemeClr val="accent6">
                    <a:lumMod val="60000"/>
                    <a:lumOff val="40000"/>
                    <a:alpha val="7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88" name="手繪多邊形 687">
                  <a:extLst>
                    <a:ext uri="{FF2B5EF4-FFF2-40B4-BE49-F238E27FC236}">
                      <a16:creationId xmlns:a16="http://schemas.microsoft.com/office/drawing/2014/main" id="{2A22F768-781D-5C4A-AC23-97581BE103D8}"/>
                    </a:ext>
                  </a:extLst>
                </p:cNvPr>
                <p:cNvSpPr/>
                <p:nvPr/>
              </p:nvSpPr>
              <p:spPr>
                <a:xfrm>
                  <a:off x="8316000" y="9561600"/>
                  <a:ext cx="474134" cy="558800"/>
                </a:xfrm>
                <a:custGeom>
                  <a:avLst/>
                  <a:gdLst>
                    <a:gd name="connsiteX0" fmla="*/ 0 w 474134"/>
                    <a:gd name="connsiteY0" fmla="*/ 0 h 558800"/>
                    <a:gd name="connsiteX1" fmla="*/ 321734 w 474134"/>
                    <a:gd name="connsiteY1" fmla="*/ 558800 h 558800"/>
                    <a:gd name="connsiteX2" fmla="*/ 474134 w 474134"/>
                    <a:gd name="connsiteY2" fmla="*/ 84667 h 558800"/>
                  </a:gdLst>
                  <a:ahLst/>
                  <a:cxnLst>
                    <a:cxn ang="0">
                      <a:pos x="connsiteX0" y="connsiteY0"/>
                    </a:cxn>
                    <a:cxn ang="0">
                      <a:pos x="connsiteX1" y="connsiteY1"/>
                    </a:cxn>
                    <a:cxn ang="0">
                      <a:pos x="connsiteX2" y="connsiteY2"/>
                    </a:cxn>
                  </a:cxnLst>
                  <a:rect l="l" t="t" r="r" b="b"/>
                  <a:pathLst>
                    <a:path w="474134" h="558800">
                      <a:moveTo>
                        <a:pt x="0" y="0"/>
                      </a:moveTo>
                      <a:lnTo>
                        <a:pt x="321734" y="558800"/>
                      </a:lnTo>
                      <a:lnTo>
                        <a:pt x="474134" y="84667"/>
                      </a:lnTo>
                    </a:path>
                  </a:pathLst>
                </a:custGeom>
                <a:solidFill>
                  <a:schemeClr val="accent6">
                    <a:lumMod val="60000"/>
                    <a:lumOff val="40000"/>
                  </a:schemeClr>
                </a:solidFill>
                <a:ln>
                  <a:solidFill>
                    <a:schemeClr val="accent6">
                      <a:alpha val="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654" name="橢圓 653">
                <a:extLst>
                  <a:ext uri="{FF2B5EF4-FFF2-40B4-BE49-F238E27FC236}">
                    <a16:creationId xmlns:a16="http://schemas.microsoft.com/office/drawing/2014/main" id="{05CBB644-A44A-3C45-B379-50EF415B2AEF}"/>
                  </a:ext>
                </a:extLst>
              </p:cNvPr>
              <p:cNvSpPr/>
              <p:nvPr/>
            </p:nvSpPr>
            <p:spPr>
              <a:xfrm>
                <a:off x="7893818" y="897584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55" name="橢圓 654">
                <a:extLst>
                  <a:ext uri="{FF2B5EF4-FFF2-40B4-BE49-F238E27FC236}">
                    <a16:creationId xmlns:a16="http://schemas.microsoft.com/office/drawing/2014/main" id="{B75CE373-E3EE-8F4D-86C0-48D09BFE676E}"/>
                  </a:ext>
                </a:extLst>
              </p:cNvPr>
              <p:cNvSpPr/>
              <p:nvPr/>
            </p:nvSpPr>
            <p:spPr>
              <a:xfrm>
                <a:off x="9157992" y="972820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56" name="橢圓 655">
                <a:extLst>
                  <a:ext uri="{FF2B5EF4-FFF2-40B4-BE49-F238E27FC236}">
                    <a16:creationId xmlns:a16="http://schemas.microsoft.com/office/drawing/2014/main" id="{8B9E608F-DD1A-9D43-86CE-4E662BDD3543}"/>
                  </a:ext>
                </a:extLst>
              </p:cNvPr>
              <p:cNvSpPr/>
              <p:nvPr/>
            </p:nvSpPr>
            <p:spPr>
              <a:xfrm>
                <a:off x="8783852" y="900932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57" name="橢圓 656">
                <a:extLst>
                  <a:ext uri="{FF2B5EF4-FFF2-40B4-BE49-F238E27FC236}">
                    <a16:creationId xmlns:a16="http://schemas.microsoft.com/office/drawing/2014/main" id="{D345C801-FCC0-5042-8864-D761D13685FA}"/>
                  </a:ext>
                </a:extLst>
              </p:cNvPr>
              <p:cNvSpPr/>
              <p:nvPr/>
            </p:nvSpPr>
            <p:spPr>
              <a:xfrm>
                <a:off x="8721355" y="1047351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58" name="橢圓 657">
                <a:extLst>
                  <a:ext uri="{FF2B5EF4-FFF2-40B4-BE49-F238E27FC236}">
                    <a16:creationId xmlns:a16="http://schemas.microsoft.com/office/drawing/2014/main" id="{5E5D6A8D-2F76-1F42-B327-A1FCC67622FB}"/>
                  </a:ext>
                </a:extLst>
              </p:cNvPr>
              <p:cNvSpPr/>
              <p:nvPr/>
            </p:nvSpPr>
            <p:spPr>
              <a:xfrm>
                <a:off x="7888013" y="1045184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59" name="橢圓 658">
                <a:extLst>
                  <a:ext uri="{FF2B5EF4-FFF2-40B4-BE49-F238E27FC236}">
                    <a16:creationId xmlns:a16="http://schemas.microsoft.com/office/drawing/2014/main" id="{AE7EF211-A728-2748-83DA-96152DC48BCD}"/>
                  </a:ext>
                </a:extLst>
              </p:cNvPr>
              <p:cNvSpPr/>
              <p:nvPr/>
            </p:nvSpPr>
            <p:spPr>
              <a:xfrm>
                <a:off x="7472545" y="974736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0" name="橢圓 659">
                <a:extLst>
                  <a:ext uri="{FF2B5EF4-FFF2-40B4-BE49-F238E27FC236}">
                    <a16:creationId xmlns:a16="http://schemas.microsoft.com/office/drawing/2014/main" id="{6EE24F59-196F-454C-9E97-3032E9FE1A27}"/>
                  </a:ext>
                </a:extLst>
              </p:cNvPr>
              <p:cNvSpPr>
                <a:spLocks noChangeAspect="1"/>
              </p:cNvSpPr>
              <p:nvPr/>
            </p:nvSpPr>
            <p:spPr>
              <a:xfrm>
                <a:off x="8381045" y="8933668"/>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1" name="橢圓 660">
                <a:extLst>
                  <a:ext uri="{FF2B5EF4-FFF2-40B4-BE49-F238E27FC236}">
                    <a16:creationId xmlns:a16="http://schemas.microsoft.com/office/drawing/2014/main" id="{44B3F91A-8DBE-0B42-A0FD-FB0AAC2E9163}"/>
                  </a:ext>
                </a:extLst>
              </p:cNvPr>
              <p:cNvSpPr>
                <a:spLocks noChangeAspect="1"/>
              </p:cNvSpPr>
              <p:nvPr/>
            </p:nvSpPr>
            <p:spPr>
              <a:xfrm>
                <a:off x="8388046" y="10572045"/>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2" name="橢圓 661">
                <a:extLst>
                  <a:ext uri="{FF2B5EF4-FFF2-40B4-BE49-F238E27FC236}">
                    <a16:creationId xmlns:a16="http://schemas.microsoft.com/office/drawing/2014/main" id="{E7FCCE90-B36D-834B-877B-7C1C1C73F80C}"/>
                  </a:ext>
                </a:extLst>
              </p:cNvPr>
              <p:cNvSpPr>
                <a:spLocks noChangeAspect="1"/>
              </p:cNvSpPr>
              <p:nvPr/>
            </p:nvSpPr>
            <p:spPr>
              <a:xfrm>
                <a:off x="9065435" y="937567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3" name="橢圓 662">
                <a:extLst>
                  <a:ext uri="{FF2B5EF4-FFF2-40B4-BE49-F238E27FC236}">
                    <a16:creationId xmlns:a16="http://schemas.microsoft.com/office/drawing/2014/main" id="{D2BF7F56-C5B2-D24F-9647-3D86FA8A6C0F}"/>
                  </a:ext>
                </a:extLst>
              </p:cNvPr>
              <p:cNvSpPr>
                <a:spLocks noChangeAspect="1"/>
              </p:cNvSpPr>
              <p:nvPr/>
            </p:nvSpPr>
            <p:spPr>
              <a:xfrm>
                <a:off x="9033211" y="1018752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4" name="橢圓 663">
                <a:extLst>
                  <a:ext uri="{FF2B5EF4-FFF2-40B4-BE49-F238E27FC236}">
                    <a16:creationId xmlns:a16="http://schemas.microsoft.com/office/drawing/2014/main" id="{5051A539-76A6-B74B-84FD-C742F88ABBA9}"/>
                  </a:ext>
                </a:extLst>
              </p:cNvPr>
              <p:cNvSpPr>
                <a:spLocks noChangeAspect="1"/>
              </p:cNvSpPr>
              <p:nvPr/>
            </p:nvSpPr>
            <p:spPr>
              <a:xfrm>
                <a:off x="7627352" y="10160902"/>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5" name="橢圓 664">
                <a:extLst>
                  <a:ext uri="{FF2B5EF4-FFF2-40B4-BE49-F238E27FC236}">
                    <a16:creationId xmlns:a16="http://schemas.microsoft.com/office/drawing/2014/main" id="{21029B48-584C-AC40-A0D0-5849B9ECBBDD}"/>
                  </a:ext>
                </a:extLst>
              </p:cNvPr>
              <p:cNvSpPr>
                <a:spLocks noChangeAspect="1"/>
              </p:cNvSpPr>
              <p:nvPr/>
            </p:nvSpPr>
            <p:spPr>
              <a:xfrm>
                <a:off x="7653243" y="9316894"/>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6" name="橢圓 665">
                <a:extLst>
                  <a:ext uri="{FF2B5EF4-FFF2-40B4-BE49-F238E27FC236}">
                    <a16:creationId xmlns:a16="http://schemas.microsoft.com/office/drawing/2014/main" id="{750EAA79-120C-3F48-8D99-0568A0CECAC5}"/>
                  </a:ext>
                </a:extLst>
              </p:cNvPr>
              <p:cNvSpPr>
                <a:spLocks noChangeAspect="1"/>
              </p:cNvSpPr>
              <p:nvPr/>
            </p:nvSpPr>
            <p:spPr>
              <a:xfrm>
                <a:off x="8594212" y="900929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7" name="橢圓 666">
                <a:extLst>
                  <a:ext uri="{FF2B5EF4-FFF2-40B4-BE49-F238E27FC236}">
                    <a16:creationId xmlns:a16="http://schemas.microsoft.com/office/drawing/2014/main" id="{77412074-AB32-F146-8687-C38F156E6F73}"/>
                  </a:ext>
                </a:extLst>
              </p:cNvPr>
              <p:cNvSpPr>
                <a:spLocks noChangeAspect="1"/>
              </p:cNvSpPr>
              <p:nvPr/>
            </p:nvSpPr>
            <p:spPr>
              <a:xfrm>
                <a:off x="8196210" y="898406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8" name="橢圓 667">
                <a:extLst>
                  <a:ext uri="{FF2B5EF4-FFF2-40B4-BE49-F238E27FC236}">
                    <a16:creationId xmlns:a16="http://schemas.microsoft.com/office/drawing/2014/main" id="{505856BA-99F0-704C-A2E7-FC506AA7E23B}"/>
                  </a:ext>
                </a:extLst>
              </p:cNvPr>
              <p:cNvSpPr>
                <a:spLocks noChangeAspect="1"/>
              </p:cNvSpPr>
              <p:nvPr/>
            </p:nvSpPr>
            <p:spPr>
              <a:xfrm>
                <a:off x="8966871" y="924896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69" name="橢圓 668">
                <a:extLst>
                  <a:ext uri="{FF2B5EF4-FFF2-40B4-BE49-F238E27FC236}">
                    <a16:creationId xmlns:a16="http://schemas.microsoft.com/office/drawing/2014/main" id="{E6A25CAA-383B-2042-9F18-D8C5DCA60301}"/>
                  </a:ext>
                </a:extLst>
              </p:cNvPr>
              <p:cNvSpPr>
                <a:spLocks noChangeAspect="1"/>
              </p:cNvSpPr>
              <p:nvPr/>
            </p:nvSpPr>
            <p:spPr>
              <a:xfrm>
                <a:off x="9146125" y="9576854"/>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0" name="橢圓 669">
                <a:extLst>
                  <a:ext uri="{FF2B5EF4-FFF2-40B4-BE49-F238E27FC236}">
                    <a16:creationId xmlns:a16="http://schemas.microsoft.com/office/drawing/2014/main" id="{2A2CD1F1-720E-1247-845A-E14F2D64C93A}"/>
                  </a:ext>
                </a:extLst>
              </p:cNvPr>
              <p:cNvSpPr>
                <a:spLocks noChangeAspect="1"/>
              </p:cNvSpPr>
              <p:nvPr/>
            </p:nvSpPr>
            <p:spPr>
              <a:xfrm>
                <a:off x="9127689" y="1002853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1" name="橢圓 670">
                <a:extLst>
                  <a:ext uri="{FF2B5EF4-FFF2-40B4-BE49-F238E27FC236}">
                    <a16:creationId xmlns:a16="http://schemas.microsoft.com/office/drawing/2014/main" id="{F40F6FC4-FEB0-A643-A791-466685E075A3}"/>
                  </a:ext>
                </a:extLst>
              </p:cNvPr>
              <p:cNvSpPr>
                <a:spLocks noChangeAspect="1"/>
              </p:cNvSpPr>
              <p:nvPr/>
            </p:nvSpPr>
            <p:spPr>
              <a:xfrm>
                <a:off x="8933134" y="1034629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2" name="橢圓 671">
                <a:extLst>
                  <a:ext uri="{FF2B5EF4-FFF2-40B4-BE49-F238E27FC236}">
                    <a16:creationId xmlns:a16="http://schemas.microsoft.com/office/drawing/2014/main" id="{CC8A039E-8D42-9249-9B84-7A4AFF726D08}"/>
                  </a:ext>
                </a:extLst>
              </p:cNvPr>
              <p:cNvSpPr>
                <a:spLocks noChangeAspect="1"/>
              </p:cNvSpPr>
              <p:nvPr/>
            </p:nvSpPr>
            <p:spPr>
              <a:xfrm>
                <a:off x="8572340" y="1056767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3" name="橢圓 672">
                <a:extLst>
                  <a:ext uri="{FF2B5EF4-FFF2-40B4-BE49-F238E27FC236}">
                    <a16:creationId xmlns:a16="http://schemas.microsoft.com/office/drawing/2014/main" id="{6C15F9F2-BE82-694E-8142-BB8E27E695BD}"/>
                  </a:ext>
                </a:extLst>
              </p:cNvPr>
              <p:cNvSpPr>
                <a:spLocks noChangeAspect="1"/>
              </p:cNvSpPr>
              <p:nvPr/>
            </p:nvSpPr>
            <p:spPr>
              <a:xfrm>
                <a:off x="8195734" y="10574559"/>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4" name="橢圓 673">
                <a:extLst>
                  <a:ext uri="{FF2B5EF4-FFF2-40B4-BE49-F238E27FC236}">
                    <a16:creationId xmlns:a16="http://schemas.microsoft.com/office/drawing/2014/main" id="{0ADED275-F32A-2E4C-B763-1A82156D59FE}"/>
                  </a:ext>
                </a:extLst>
              </p:cNvPr>
              <p:cNvSpPr>
                <a:spLocks noChangeAspect="1"/>
              </p:cNvSpPr>
              <p:nvPr/>
            </p:nvSpPr>
            <p:spPr>
              <a:xfrm>
                <a:off x="7765311" y="1034437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5" name="橢圓 674">
                <a:extLst>
                  <a:ext uri="{FF2B5EF4-FFF2-40B4-BE49-F238E27FC236}">
                    <a16:creationId xmlns:a16="http://schemas.microsoft.com/office/drawing/2014/main" id="{A7D783D6-9F49-FA45-8D53-B76914E8EA3B}"/>
                  </a:ext>
                </a:extLst>
              </p:cNvPr>
              <p:cNvSpPr>
                <a:spLocks noChangeAspect="1"/>
              </p:cNvSpPr>
              <p:nvPr/>
            </p:nvSpPr>
            <p:spPr>
              <a:xfrm>
                <a:off x="7577334" y="10008666"/>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6" name="橢圓 675">
                <a:extLst>
                  <a:ext uri="{FF2B5EF4-FFF2-40B4-BE49-F238E27FC236}">
                    <a16:creationId xmlns:a16="http://schemas.microsoft.com/office/drawing/2014/main" id="{82B606D9-5F29-0E4E-A0FF-558895756066}"/>
                  </a:ext>
                </a:extLst>
              </p:cNvPr>
              <p:cNvSpPr>
                <a:spLocks noChangeAspect="1"/>
              </p:cNvSpPr>
              <p:nvPr/>
            </p:nvSpPr>
            <p:spPr>
              <a:xfrm>
                <a:off x="7586404" y="952556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677" name="橢圓 676">
                <a:extLst>
                  <a:ext uri="{FF2B5EF4-FFF2-40B4-BE49-F238E27FC236}">
                    <a16:creationId xmlns:a16="http://schemas.microsoft.com/office/drawing/2014/main" id="{CDA2E0D1-8CC6-8B4B-88E8-FC47D8147F8B}"/>
                  </a:ext>
                </a:extLst>
              </p:cNvPr>
              <p:cNvSpPr>
                <a:spLocks noChangeAspect="1"/>
              </p:cNvSpPr>
              <p:nvPr/>
            </p:nvSpPr>
            <p:spPr>
              <a:xfrm>
                <a:off x="7806138" y="919428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690" name="文字方塊 689">
              <a:extLst>
                <a:ext uri="{FF2B5EF4-FFF2-40B4-BE49-F238E27FC236}">
                  <a16:creationId xmlns:a16="http://schemas.microsoft.com/office/drawing/2014/main" id="{68D7AD91-04B9-794B-9D41-F10C1EEDE9BD}"/>
                </a:ext>
              </a:extLst>
            </p:cNvPr>
            <p:cNvSpPr txBox="1"/>
            <p:nvPr/>
          </p:nvSpPr>
          <p:spPr>
            <a:xfrm>
              <a:off x="7450397" y="2632450"/>
              <a:ext cx="625792"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ER</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719" name="直線箭頭接點 718">
              <a:extLst>
                <a:ext uri="{FF2B5EF4-FFF2-40B4-BE49-F238E27FC236}">
                  <a16:creationId xmlns:a16="http://schemas.microsoft.com/office/drawing/2014/main" id="{0A7F1F3C-6610-3743-99EA-F1AD4EE07C83}"/>
                </a:ext>
              </a:extLst>
            </p:cNvPr>
            <p:cNvCxnSpPr>
              <a:cxnSpLocks/>
            </p:cNvCxnSpPr>
            <p:nvPr/>
          </p:nvCxnSpPr>
          <p:spPr>
            <a:xfrm flipV="1">
              <a:off x="7660830" y="1728992"/>
              <a:ext cx="168801" cy="763921"/>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1" name="直線箭頭接點 930">
              <a:extLst>
                <a:ext uri="{FF2B5EF4-FFF2-40B4-BE49-F238E27FC236}">
                  <a16:creationId xmlns:a16="http://schemas.microsoft.com/office/drawing/2014/main" id="{7EBDD333-85B3-C84D-9810-93C3776932CA}"/>
                </a:ext>
              </a:extLst>
            </p:cNvPr>
            <p:cNvCxnSpPr>
              <a:cxnSpLocks/>
            </p:cNvCxnSpPr>
            <p:nvPr/>
          </p:nvCxnSpPr>
          <p:spPr>
            <a:xfrm flipH="1" flipV="1">
              <a:off x="7366808" y="3913697"/>
              <a:ext cx="527531" cy="173453"/>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6" name="直線箭頭接點 935">
              <a:extLst>
                <a:ext uri="{FF2B5EF4-FFF2-40B4-BE49-F238E27FC236}">
                  <a16:creationId xmlns:a16="http://schemas.microsoft.com/office/drawing/2014/main" id="{F3E3CEDC-3673-874F-8850-A6440B467DDE}"/>
                </a:ext>
              </a:extLst>
            </p:cNvPr>
            <p:cNvCxnSpPr>
              <a:cxnSpLocks/>
            </p:cNvCxnSpPr>
            <p:nvPr/>
          </p:nvCxnSpPr>
          <p:spPr>
            <a:xfrm flipH="1" flipV="1">
              <a:off x="8313948" y="4325097"/>
              <a:ext cx="30708" cy="89419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9" name="直線箭頭接點 938">
              <a:extLst>
                <a:ext uri="{FF2B5EF4-FFF2-40B4-BE49-F238E27FC236}">
                  <a16:creationId xmlns:a16="http://schemas.microsoft.com/office/drawing/2014/main" id="{2370BAE9-6DB1-5947-B10C-D77BA9088596}"/>
                </a:ext>
              </a:extLst>
            </p:cNvPr>
            <p:cNvCxnSpPr>
              <a:cxnSpLocks/>
              <a:endCxn id="597" idx="3"/>
            </p:cNvCxnSpPr>
            <p:nvPr/>
          </p:nvCxnSpPr>
          <p:spPr>
            <a:xfrm>
              <a:off x="7643668" y="5409502"/>
              <a:ext cx="613612" cy="6180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6" name="文字方塊 965">
              <a:extLst>
                <a:ext uri="{FF2B5EF4-FFF2-40B4-BE49-F238E27FC236}">
                  <a16:creationId xmlns:a16="http://schemas.microsoft.com/office/drawing/2014/main" id="{CC556DB3-5AE0-8348-A91B-A2B80491A7D5}"/>
                </a:ext>
              </a:extLst>
            </p:cNvPr>
            <p:cNvSpPr txBox="1"/>
            <p:nvPr/>
          </p:nvSpPr>
          <p:spPr>
            <a:xfrm>
              <a:off x="6550550" y="1237791"/>
              <a:ext cx="807081"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HBeAg</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sp>
          <p:nvSpPr>
            <p:cNvPr id="967" name="文字方塊 966">
              <a:extLst>
                <a:ext uri="{FF2B5EF4-FFF2-40B4-BE49-F238E27FC236}">
                  <a16:creationId xmlns:a16="http://schemas.microsoft.com/office/drawing/2014/main" id="{0978402E-E4A0-B74A-B0F2-7E128F429F91}"/>
                </a:ext>
              </a:extLst>
            </p:cNvPr>
            <p:cNvSpPr txBox="1"/>
            <p:nvPr/>
          </p:nvSpPr>
          <p:spPr>
            <a:xfrm>
              <a:off x="6249724" y="3918385"/>
              <a:ext cx="66556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HBe</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968" name="直線箭頭接點 967">
              <a:extLst>
                <a:ext uri="{FF2B5EF4-FFF2-40B4-BE49-F238E27FC236}">
                  <a16:creationId xmlns:a16="http://schemas.microsoft.com/office/drawing/2014/main" id="{590FE210-A72C-7F43-9502-8A62E5EA6557}"/>
                </a:ext>
              </a:extLst>
            </p:cNvPr>
            <p:cNvCxnSpPr>
              <a:cxnSpLocks/>
            </p:cNvCxnSpPr>
            <p:nvPr/>
          </p:nvCxnSpPr>
          <p:spPr>
            <a:xfrm flipH="1" flipV="1">
              <a:off x="6456014" y="4586171"/>
              <a:ext cx="1750" cy="544905"/>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71" name="群組 970">
              <a:extLst>
                <a:ext uri="{FF2B5EF4-FFF2-40B4-BE49-F238E27FC236}">
                  <a16:creationId xmlns:a16="http://schemas.microsoft.com/office/drawing/2014/main" id="{C6D5CE8B-2C91-9E49-982E-7C97DE5282E5}"/>
                </a:ext>
              </a:extLst>
            </p:cNvPr>
            <p:cNvGrpSpPr/>
            <p:nvPr/>
          </p:nvGrpSpPr>
          <p:grpSpPr>
            <a:xfrm>
              <a:off x="5663805" y="3610402"/>
              <a:ext cx="365452" cy="280607"/>
              <a:chOff x="18649407" y="9651463"/>
              <a:chExt cx="904362" cy="732888"/>
            </a:xfrm>
          </p:grpSpPr>
          <p:sp>
            <p:nvSpPr>
              <p:cNvPr id="972" name="橢圓 971">
                <a:extLst>
                  <a:ext uri="{FF2B5EF4-FFF2-40B4-BE49-F238E27FC236}">
                    <a16:creationId xmlns:a16="http://schemas.microsoft.com/office/drawing/2014/main" id="{FB1C09ED-5BB0-E14D-940B-EF537135394D}"/>
                  </a:ext>
                </a:extLst>
              </p:cNvPr>
              <p:cNvSpPr/>
              <p:nvPr/>
            </p:nvSpPr>
            <p:spPr>
              <a:xfrm>
                <a:off x="19195100" y="965146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73" name="橢圓 972">
                <a:extLst>
                  <a:ext uri="{FF2B5EF4-FFF2-40B4-BE49-F238E27FC236}">
                    <a16:creationId xmlns:a16="http://schemas.microsoft.com/office/drawing/2014/main" id="{3A0B5416-7235-1A4D-95E6-1126762FE0DD}"/>
                  </a:ext>
                </a:extLst>
              </p:cNvPr>
              <p:cNvSpPr/>
              <p:nvPr/>
            </p:nvSpPr>
            <p:spPr>
              <a:xfrm>
                <a:off x="19347500" y="995134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76" name="橢圓 975">
                <a:extLst>
                  <a:ext uri="{FF2B5EF4-FFF2-40B4-BE49-F238E27FC236}">
                    <a16:creationId xmlns:a16="http://schemas.microsoft.com/office/drawing/2014/main" id="{705F7DEB-B863-C54A-A624-F97F75FDA772}"/>
                  </a:ext>
                </a:extLst>
              </p:cNvPr>
              <p:cNvSpPr/>
              <p:nvPr/>
            </p:nvSpPr>
            <p:spPr>
              <a:xfrm>
                <a:off x="18909964" y="10162742"/>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77" name="橢圓 976">
                <a:extLst>
                  <a:ext uri="{FF2B5EF4-FFF2-40B4-BE49-F238E27FC236}">
                    <a16:creationId xmlns:a16="http://schemas.microsoft.com/office/drawing/2014/main" id="{CEEAF691-4E3C-5A44-BF98-250E70B126C6}"/>
                  </a:ext>
                </a:extLst>
              </p:cNvPr>
              <p:cNvSpPr/>
              <p:nvPr/>
            </p:nvSpPr>
            <p:spPr>
              <a:xfrm>
                <a:off x="18649407" y="1016765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981" name="文字方塊 980">
              <a:extLst>
                <a:ext uri="{FF2B5EF4-FFF2-40B4-BE49-F238E27FC236}">
                  <a16:creationId xmlns:a16="http://schemas.microsoft.com/office/drawing/2014/main" id="{8BDC9F53-62E1-CA4D-83C3-CCEB23255DC0}"/>
                </a:ext>
              </a:extLst>
            </p:cNvPr>
            <p:cNvSpPr txBox="1"/>
            <p:nvPr/>
          </p:nvSpPr>
          <p:spPr>
            <a:xfrm>
              <a:off x="5591965" y="3386156"/>
              <a:ext cx="924257" cy="27634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HBsAg</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1018" name="群組 1017">
              <a:extLst>
                <a:ext uri="{FF2B5EF4-FFF2-40B4-BE49-F238E27FC236}">
                  <a16:creationId xmlns:a16="http://schemas.microsoft.com/office/drawing/2014/main" id="{C75F901B-767D-EA41-A11D-E03A1233079F}"/>
                </a:ext>
              </a:extLst>
            </p:cNvPr>
            <p:cNvGrpSpPr/>
            <p:nvPr/>
          </p:nvGrpSpPr>
          <p:grpSpPr>
            <a:xfrm>
              <a:off x="5654938" y="3542482"/>
              <a:ext cx="228505" cy="230561"/>
              <a:chOff x="12127934" y="15800956"/>
              <a:chExt cx="565469" cy="602179"/>
            </a:xfrm>
          </p:grpSpPr>
          <p:sp>
            <p:nvSpPr>
              <p:cNvPr id="985" name="橢圓 984">
                <a:extLst>
                  <a:ext uri="{FF2B5EF4-FFF2-40B4-BE49-F238E27FC236}">
                    <a16:creationId xmlns:a16="http://schemas.microsoft.com/office/drawing/2014/main" id="{EA1AEF6E-CA6E-F34A-A0B4-78314F7AC97C}"/>
                  </a:ext>
                </a:extLst>
              </p:cNvPr>
              <p:cNvSpPr>
                <a:spLocks noChangeAspect="1"/>
              </p:cNvSpPr>
              <p:nvPr/>
            </p:nvSpPr>
            <p:spPr>
              <a:xfrm>
                <a:off x="12127934" y="15800956"/>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86" name="橢圓 985">
                <a:extLst>
                  <a:ext uri="{FF2B5EF4-FFF2-40B4-BE49-F238E27FC236}">
                    <a16:creationId xmlns:a16="http://schemas.microsoft.com/office/drawing/2014/main" id="{B51FB054-2087-1648-8EF3-BFCC60700D5A}"/>
                  </a:ext>
                </a:extLst>
              </p:cNvPr>
              <p:cNvSpPr>
                <a:spLocks noChangeAspect="1"/>
              </p:cNvSpPr>
              <p:nvPr/>
            </p:nvSpPr>
            <p:spPr>
              <a:xfrm>
                <a:off x="12280334" y="16071344"/>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87" name="橢圓 986">
                <a:extLst>
                  <a:ext uri="{FF2B5EF4-FFF2-40B4-BE49-F238E27FC236}">
                    <a16:creationId xmlns:a16="http://schemas.microsoft.com/office/drawing/2014/main" id="{9B890861-AD4F-E84D-A8D6-F0A918099324}"/>
                  </a:ext>
                </a:extLst>
              </p:cNvPr>
              <p:cNvSpPr>
                <a:spLocks noChangeAspect="1"/>
              </p:cNvSpPr>
              <p:nvPr/>
            </p:nvSpPr>
            <p:spPr>
              <a:xfrm>
                <a:off x="12398322" y="15835368"/>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88" name="橢圓 987">
                <a:extLst>
                  <a:ext uri="{FF2B5EF4-FFF2-40B4-BE49-F238E27FC236}">
                    <a16:creationId xmlns:a16="http://schemas.microsoft.com/office/drawing/2014/main" id="{897F12AF-91EB-8748-A9F1-2797BBC80A90}"/>
                  </a:ext>
                </a:extLst>
              </p:cNvPr>
              <p:cNvSpPr>
                <a:spLocks noChangeAspect="1"/>
              </p:cNvSpPr>
              <p:nvPr/>
            </p:nvSpPr>
            <p:spPr>
              <a:xfrm>
                <a:off x="12550722" y="16105756"/>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89" name="橢圓 988">
                <a:extLst>
                  <a:ext uri="{FF2B5EF4-FFF2-40B4-BE49-F238E27FC236}">
                    <a16:creationId xmlns:a16="http://schemas.microsoft.com/office/drawing/2014/main" id="{9CF88857-DD6E-324D-8D08-3B5D834D9F9A}"/>
                  </a:ext>
                </a:extLst>
              </p:cNvPr>
              <p:cNvSpPr>
                <a:spLocks noChangeAspect="1"/>
              </p:cNvSpPr>
              <p:nvPr/>
            </p:nvSpPr>
            <p:spPr>
              <a:xfrm>
                <a:off x="12132849" y="15982853"/>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0" name="橢圓 989">
                <a:extLst>
                  <a:ext uri="{FF2B5EF4-FFF2-40B4-BE49-F238E27FC236}">
                    <a16:creationId xmlns:a16="http://schemas.microsoft.com/office/drawing/2014/main" id="{0C117461-3FAD-EA43-994D-BE2241C0B5A9}"/>
                  </a:ext>
                </a:extLst>
              </p:cNvPr>
              <p:cNvSpPr>
                <a:spLocks noChangeAspect="1"/>
              </p:cNvSpPr>
              <p:nvPr/>
            </p:nvSpPr>
            <p:spPr>
              <a:xfrm>
                <a:off x="12285249" y="16253241"/>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991" name="群組 990">
              <a:extLst>
                <a:ext uri="{FF2B5EF4-FFF2-40B4-BE49-F238E27FC236}">
                  <a16:creationId xmlns:a16="http://schemas.microsoft.com/office/drawing/2014/main" id="{D12F363D-DD2F-8243-97AC-E9B63AC45618}"/>
                </a:ext>
              </a:extLst>
            </p:cNvPr>
            <p:cNvGrpSpPr/>
            <p:nvPr/>
          </p:nvGrpSpPr>
          <p:grpSpPr>
            <a:xfrm>
              <a:off x="5453386" y="3527306"/>
              <a:ext cx="185966" cy="247711"/>
              <a:chOff x="20088317" y="8950632"/>
              <a:chExt cx="460200" cy="646971"/>
            </a:xfrm>
          </p:grpSpPr>
          <p:sp>
            <p:nvSpPr>
              <p:cNvPr id="992" name="橢圓 991">
                <a:extLst>
                  <a:ext uri="{FF2B5EF4-FFF2-40B4-BE49-F238E27FC236}">
                    <a16:creationId xmlns:a16="http://schemas.microsoft.com/office/drawing/2014/main" id="{53F03236-EF59-4B48-926F-3AEEF3A97A06}"/>
                  </a:ext>
                </a:extLst>
              </p:cNvPr>
              <p:cNvSpPr>
                <a:spLocks noChangeAspect="1"/>
              </p:cNvSpPr>
              <p:nvPr/>
            </p:nvSpPr>
            <p:spPr>
              <a:xfrm>
                <a:off x="20088317" y="895063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3" name="橢圓 992">
                <a:extLst>
                  <a:ext uri="{FF2B5EF4-FFF2-40B4-BE49-F238E27FC236}">
                    <a16:creationId xmlns:a16="http://schemas.microsoft.com/office/drawing/2014/main" id="{8EB63A6D-1E9F-E545-A023-038D54F6431C}"/>
                  </a:ext>
                </a:extLst>
              </p:cNvPr>
              <p:cNvSpPr>
                <a:spLocks noChangeAspect="1"/>
              </p:cNvSpPr>
              <p:nvPr/>
            </p:nvSpPr>
            <p:spPr>
              <a:xfrm>
                <a:off x="20240717" y="910303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4" name="橢圓 993">
                <a:extLst>
                  <a:ext uri="{FF2B5EF4-FFF2-40B4-BE49-F238E27FC236}">
                    <a16:creationId xmlns:a16="http://schemas.microsoft.com/office/drawing/2014/main" id="{996BE781-CAC3-1043-913F-0AC4AB280261}"/>
                  </a:ext>
                </a:extLst>
              </p:cNvPr>
              <p:cNvSpPr>
                <a:spLocks noChangeAspect="1"/>
              </p:cNvSpPr>
              <p:nvPr/>
            </p:nvSpPr>
            <p:spPr>
              <a:xfrm>
                <a:off x="20393117" y="925543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5" name="橢圓 994">
                <a:extLst>
                  <a:ext uri="{FF2B5EF4-FFF2-40B4-BE49-F238E27FC236}">
                    <a16:creationId xmlns:a16="http://schemas.microsoft.com/office/drawing/2014/main" id="{19C3C65B-BA2D-CA42-9EAC-C12AF21F820A}"/>
                  </a:ext>
                </a:extLst>
              </p:cNvPr>
              <p:cNvSpPr>
                <a:spLocks noChangeAspect="1"/>
              </p:cNvSpPr>
              <p:nvPr/>
            </p:nvSpPr>
            <p:spPr>
              <a:xfrm>
                <a:off x="20093232" y="919152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6" name="橢圓 995">
                <a:extLst>
                  <a:ext uri="{FF2B5EF4-FFF2-40B4-BE49-F238E27FC236}">
                    <a16:creationId xmlns:a16="http://schemas.microsoft.com/office/drawing/2014/main" id="{29D54886-AEBD-3D48-943D-FDFE57E04682}"/>
                  </a:ext>
                </a:extLst>
              </p:cNvPr>
              <p:cNvSpPr>
                <a:spLocks noChangeAspect="1"/>
              </p:cNvSpPr>
              <p:nvPr/>
            </p:nvSpPr>
            <p:spPr>
              <a:xfrm>
                <a:off x="20245632" y="934392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7" name="橢圓 996">
                <a:extLst>
                  <a:ext uri="{FF2B5EF4-FFF2-40B4-BE49-F238E27FC236}">
                    <a16:creationId xmlns:a16="http://schemas.microsoft.com/office/drawing/2014/main" id="{D2AD12C9-1559-6444-8091-FEF8D0CBF385}"/>
                  </a:ext>
                </a:extLst>
              </p:cNvPr>
              <p:cNvSpPr>
                <a:spLocks noChangeAspect="1"/>
              </p:cNvSpPr>
              <p:nvPr/>
            </p:nvSpPr>
            <p:spPr>
              <a:xfrm>
                <a:off x="20398032" y="949632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8" name="橢圓 997">
                <a:extLst>
                  <a:ext uri="{FF2B5EF4-FFF2-40B4-BE49-F238E27FC236}">
                    <a16:creationId xmlns:a16="http://schemas.microsoft.com/office/drawing/2014/main" id="{39F11C33-4295-E444-8462-4FB07E5DE499}"/>
                  </a:ext>
                </a:extLst>
              </p:cNvPr>
              <p:cNvSpPr>
                <a:spLocks noChangeAspect="1"/>
              </p:cNvSpPr>
              <p:nvPr/>
            </p:nvSpPr>
            <p:spPr>
              <a:xfrm>
                <a:off x="20299711" y="895554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999" name="橢圓 998">
                <a:extLst>
                  <a:ext uri="{FF2B5EF4-FFF2-40B4-BE49-F238E27FC236}">
                    <a16:creationId xmlns:a16="http://schemas.microsoft.com/office/drawing/2014/main" id="{4403D419-3E1E-1340-A969-F5BFA9F03063}"/>
                  </a:ext>
                </a:extLst>
              </p:cNvPr>
              <p:cNvSpPr>
                <a:spLocks noChangeAspect="1"/>
              </p:cNvSpPr>
              <p:nvPr/>
            </p:nvSpPr>
            <p:spPr>
              <a:xfrm>
                <a:off x="20452111" y="9107947"/>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1187" name="群組 1186">
              <a:extLst>
                <a:ext uri="{FF2B5EF4-FFF2-40B4-BE49-F238E27FC236}">
                  <a16:creationId xmlns:a16="http://schemas.microsoft.com/office/drawing/2014/main" id="{FB97DACA-C950-924F-8EFE-80A31FCB8D62}"/>
                </a:ext>
              </a:extLst>
            </p:cNvPr>
            <p:cNvGrpSpPr/>
            <p:nvPr/>
          </p:nvGrpSpPr>
          <p:grpSpPr>
            <a:xfrm>
              <a:off x="6922967" y="4956509"/>
              <a:ext cx="195985" cy="216403"/>
              <a:chOff x="15253022" y="16752306"/>
              <a:chExt cx="484990" cy="565200"/>
            </a:xfrm>
          </p:grpSpPr>
          <p:sp>
            <p:nvSpPr>
              <p:cNvPr id="1032" name="橢圓 1031">
                <a:extLst>
                  <a:ext uri="{FF2B5EF4-FFF2-40B4-BE49-F238E27FC236}">
                    <a16:creationId xmlns:a16="http://schemas.microsoft.com/office/drawing/2014/main" id="{D63F9DC0-6CA6-ED44-8CA8-D01A08A0D92C}"/>
                  </a:ext>
                </a:extLst>
              </p:cNvPr>
              <p:cNvSpPr/>
              <p:nvPr/>
            </p:nvSpPr>
            <p:spPr>
              <a:xfrm>
                <a:off x="15293126" y="16752306"/>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33" name="橢圓 1032">
                <a:extLst>
                  <a:ext uri="{FF2B5EF4-FFF2-40B4-BE49-F238E27FC236}">
                    <a16:creationId xmlns:a16="http://schemas.microsoft.com/office/drawing/2014/main" id="{C2D91F01-36AC-7E43-AEF7-3726A6EAC1F2}"/>
                  </a:ext>
                </a:extLst>
              </p:cNvPr>
              <p:cNvSpPr/>
              <p:nvPr/>
            </p:nvSpPr>
            <p:spPr>
              <a:xfrm>
                <a:off x="15445526" y="16920748"/>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34" name="橢圓 1033">
                <a:extLst>
                  <a:ext uri="{FF2B5EF4-FFF2-40B4-BE49-F238E27FC236}">
                    <a16:creationId xmlns:a16="http://schemas.microsoft.com/office/drawing/2014/main" id="{C449422F-85DA-7B43-8348-80EDF0333EC0}"/>
                  </a:ext>
                </a:extLst>
              </p:cNvPr>
              <p:cNvSpPr/>
              <p:nvPr/>
            </p:nvSpPr>
            <p:spPr>
              <a:xfrm>
                <a:off x="15253022" y="16904706"/>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35" name="橢圓 1034">
                <a:extLst>
                  <a:ext uri="{FF2B5EF4-FFF2-40B4-BE49-F238E27FC236}">
                    <a16:creationId xmlns:a16="http://schemas.microsoft.com/office/drawing/2014/main" id="{2569305A-8726-554F-86DA-B67CD91B3F01}"/>
                  </a:ext>
                </a:extLst>
              </p:cNvPr>
              <p:cNvSpPr/>
              <p:nvPr/>
            </p:nvSpPr>
            <p:spPr>
              <a:xfrm>
                <a:off x="15405422" y="17057106"/>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36" name="橢圓 1035">
                <a:extLst>
                  <a:ext uri="{FF2B5EF4-FFF2-40B4-BE49-F238E27FC236}">
                    <a16:creationId xmlns:a16="http://schemas.microsoft.com/office/drawing/2014/main" id="{FDA8DB32-0FD0-5347-92E5-1FE4EDA1A0C0}"/>
                  </a:ext>
                </a:extLst>
              </p:cNvPr>
              <p:cNvSpPr/>
              <p:nvPr/>
            </p:nvSpPr>
            <p:spPr>
              <a:xfrm>
                <a:off x="15557822" y="17209506"/>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37" name="橢圓 1036">
                <a:extLst>
                  <a:ext uri="{FF2B5EF4-FFF2-40B4-BE49-F238E27FC236}">
                    <a16:creationId xmlns:a16="http://schemas.microsoft.com/office/drawing/2014/main" id="{37921602-9384-1C44-99BE-6EDF5B8F4358}"/>
                  </a:ext>
                </a:extLst>
              </p:cNvPr>
              <p:cNvSpPr/>
              <p:nvPr/>
            </p:nvSpPr>
            <p:spPr>
              <a:xfrm>
                <a:off x="15293130" y="17153360"/>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38" name="橢圓 1037">
                <a:extLst>
                  <a:ext uri="{FF2B5EF4-FFF2-40B4-BE49-F238E27FC236}">
                    <a16:creationId xmlns:a16="http://schemas.microsoft.com/office/drawing/2014/main" id="{A674A6B1-A1F4-FC40-AC49-961BC1BB2C10}"/>
                  </a:ext>
                </a:extLst>
              </p:cNvPr>
              <p:cNvSpPr/>
              <p:nvPr/>
            </p:nvSpPr>
            <p:spPr>
              <a:xfrm>
                <a:off x="15630012" y="17041066"/>
                <a:ext cx="108000" cy="108000"/>
              </a:xfrm>
              <a:prstGeom prst="ellipse">
                <a:avLst/>
              </a:prstGeom>
              <a:solidFill>
                <a:schemeClr val="accent4"/>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1039" name="文字方塊 1038">
              <a:extLst>
                <a:ext uri="{FF2B5EF4-FFF2-40B4-BE49-F238E27FC236}">
                  <a16:creationId xmlns:a16="http://schemas.microsoft.com/office/drawing/2014/main" id="{4B7B88FF-C0D8-AF4A-9817-A3EC5443408B}"/>
                </a:ext>
              </a:extLst>
            </p:cNvPr>
            <p:cNvSpPr txBox="1"/>
            <p:nvPr/>
          </p:nvSpPr>
          <p:spPr>
            <a:xfrm>
              <a:off x="6834577" y="4692194"/>
              <a:ext cx="66556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Pol</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1040" name="直線箭頭接點 1039">
              <a:extLst>
                <a:ext uri="{FF2B5EF4-FFF2-40B4-BE49-F238E27FC236}">
                  <a16:creationId xmlns:a16="http://schemas.microsoft.com/office/drawing/2014/main" id="{86B8CA49-BE0B-1E47-870C-D1C38366D6CB}"/>
                </a:ext>
              </a:extLst>
            </p:cNvPr>
            <p:cNvCxnSpPr>
              <a:cxnSpLocks/>
            </p:cNvCxnSpPr>
            <p:nvPr/>
          </p:nvCxnSpPr>
          <p:spPr>
            <a:xfrm flipV="1">
              <a:off x="6609921" y="4982159"/>
              <a:ext cx="273414" cy="148919"/>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80" name="群組 1079">
              <a:extLst>
                <a:ext uri="{FF2B5EF4-FFF2-40B4-BE49-F238E27FC236}">
                  <a16:creationId xmlns:a16="http://schemas.microsoft.com/office/drawing/2014/main" id="{CCF68716-1FAC-E24F-A417-72C13D6E6168}"/>
                </a:ext>
              </a:extLst>
            </p:cNvPr>
            <p:cNvGrpSpPr/>
            <p:nvPr/>
          </p:nvGrpSpPr>
          <p:grpSpPr>
            <a:xfrm>
              <a:off x="5361616" y="1259398"/>
              <a:ext cx="842215" cy="719852"/>
              <a:chOff x="10485267" y="8590383"/>
              <a:chExt cx="2084173" cy="1880109"/>
            </a:xfrm>
          </p:grpSpPr>
          <p:sp>
            <p:nvSpPr>
              <p:cNvPr id="1045" name="橢圓 1044">
                <a:extLst>
                  <a:ext uri="{FF2B5EF4-FFF2-40B4-BE49-F238E27FC236}">
                    <a16:creationId xmlns:a16="http://schemas.microsoft.com/office/drawing/2014/main" id="{5004DA1F-45CC-F44A-A444-59DA4DAF7C6D}"/>
                  </a:ext>
                </a:extLst>
              </p:cNvPr>
              <p:cNvSpPr/>
              <p:nvPr/>
            </p:nvSpPr>
            <p:spPr>
              <a:xfrm>
                <a:off x="12058371" y="1007485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46" name="橢圓 1045">
                <a:extLst>
                  <a:ext uri="{FF2B5EF4-FFF2-40B4-BE49-F238E27FC236}">
                    <a16:creationId xmlns:a16="http://schemas.microsoft.com/office/drawing/2014/main" id="{6FC415A1-F8B5-B04A-897D-A624221F4E4A}"/>
                  </a:ext>
                </a:extLst>
              </p:cNvPr>
              <p:cNvSpPr/>
              <p:nvPr/>
            </p:nvSpPr>
            <p:spPr>
              <a:xfrm>
                <a:off x="11889062" y="9953949"/>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47" name="橢圓 1046">
                <a:extLst>
                  <a:ext uri="{FF2B5EF4-FFF2-40B4-BE49-F238E27FC236}">
                    <a16:creationId xmlns:a16="http://schemas.microsoft.com/office/drawing/2014/main" id="{83AF61E7-373D-9E42-A851-3BC8BFB7FB8A}"/>
                  </a:ext>
                </a:extLst>
              </p:cNvPr>
              <p:cNvSpPr/>
              <p:nvPr/>
            </p:nvSpPr>
            <p:spPr>
              <a:xfrm>
                <a:off x="11713469" y="9794119"/>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48" name="橢圓 1047">
                <a:extLst>
                  <a:ext uri="{FF2B5EF4-FFF2-40B4-BE49-F238E27FC236}">
                    <a16:creationId xmlns:a16="http://schemas.microsoft.com/office/drawing/2014/main" id="{1C432D87-CB05-6045-A53F-AFFB2FA6C2C4}"/>
                  </a:ext>
                </a:extLst>
              </p:cNvPr>
              <p:cNvSpPr/>
              <p:nvPr/>
            </p:nvSpPr>
            <p:spPr>
              <a:xfrm>
                <a:off x="11528118" y="965717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49" name="橢圓 1048">
                <a:extLst>
                  <a:ext uri="{FF2B5EF4-FFF2-40B4-BE49-F238E27FC236}">
                    <a16:creationId xmlns:a16="http://schemas.microsoft.com/office/drawing/2014/main" id="{4BC2A964-54BF-EC46-85E6-EC9F699610BE}"/>
                  </a:ext>
                </a:extLst>
              </p:cNvPr>
              <p:cNvSpPr/>
              <p:nvPr/>
            </p:nvSpPr>
            <p:spPr>
              <a:xfrm>
                <a:off x="12210771" y="960161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0" name="橢圓 1049">
                <a:extLst>
                  <a:ext uri="{FF2B5EF4-FFF2-40B4-BE49-F238E27FC236}">
                    <a16:creationId xmlns:a16="http://schemas.microsoft.com/office/drawing/2014/main" id="{816A463D-BB18-BF44-8635-8F734BC1AB94}"/>
                  </a:ext>
                </a:extLst>
              </p:cNvPr>
              <p:cNvSpPr/>
              <p:nvPr/>
            </p:nvSpPr>
            <p:spPr>
              <a:xfrm>
                <a:off x="12041462" y="9480711"/>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1" name="橢圓 1050">
                <a:extLst>
                  <a:ext uri="{FF2B5EF4-FFF2-40B4-BE49-F238E27FC236}">
                    <a16:creationId xmlns:a16="http://schemas.microsoft.com/office/drawing/2014/main" id="{B131E4B8-0CEC-F746-8066-7067F537D9C6}"/>
                  </a:ext>
                </a:extLst>
              </p:cNvPr>
              <p:cNvSpPr/>
              <p:nvPr/>
            </p:nvSpPr>
            <p:spPr>
              <a:xfrm>
                <a:off x="11865869" y="9320881"/>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2" name="橢圓 1051">
                <a:extLst>
                  <a:ext uri="{FF2B5EF4-FFF2-40B4-BE49-F238E27FC236}">
                    <a16:creationId xmlns:a16="http://schemas.microsoft.com/office/drawing/2014/main" id="{CDDDDBD0-21C1-4B49-8456-34C2998F1BAF}"/>
                  </a:ext>
                </a:extLst>
              </p:cNvPr>
              <p:cNvSpPr/>
              <p:nvPr/>
            </p:nvSpPr>
            <p:spPr>
              <a:xfrm>
                <a:off x="11680518" y="918393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3" name="橢圓 1052">
                <a:extLst>
                  <a:ext uri="{FF2B5EF4-FFF2-40B4-BE49-F238E27FC236}">
                    <a16:creationId xmlns:a16="http://schemas.microsoft.com/office/drawing/2014/main" id="{8465E328-3E0C-1240-804D-6259900E2531}"/>
                  </a:ext>
                </a:extLst>
              </p:cNvPr>
              <p:cNvSpPr/>
              <p:nvPr/>
            </p:nvSpPr>
            <p:spPr>
              <a:xfrm>
                <a:off x="11360545" y="950536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4" name="橢圓 1053">
                <a:extLst>
                  <a:ext uri="{FF2B5EF4-FFF2-40B4-BE49-F238E27FC236}">
                    <a16:creationId xmlns:a16="http://schemas.microsoft.com/office/drawing/2014/main" id="{FC9735D3-EADE-4742-9FF9-EED351A2A2C8}"/>
                  </a:ext>
                </a:extLst>
              </p:cNvPr>
              <p:cNvSpPr/>
              <p:nvPr/>
            </p:nvSpPr>
            <p:spPr>
              <a:xfrm>
                <a:off x="11191236" y="9384459"/>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5" name="橢圓 1054">
                <a:extLst>
                  <a:ext uri="{FF2B5EF4-FFF2-40B4-BE49-F238E27FC236}">
                    <a16:creationId xmlns:a16="http://schemas.microsoft.com/office/drawing/2014/main" id="{193C5330-57DB-3C49-9A44-1B3A8BB06E8C}"/>
                  </a:ext>
                </a:extLst>
              </p:cNvPr>
              <p:cNvSpPr/>
              <p:nvPr/>
            </p:nvSpPr>
            <p:spPr>
              <a:xfrm>
                <a:off x="11015643" y="9224629"/>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6" name="橢圓 1055">
                <a:extLst>
                  <a:ext uri="{FF2B5EF4-FFF2-40B4-BE49-F238E27FC236}">
                    <a16:creationId xmlns:a16="http://schemas.microsoft.com/office/drawing/2014/main" id="{335F398F-ED73-F74E-A86B-794CBFA36F6C}"/>
                  </a:ext>
                </a:extLst>
              </p:cNvPr>
              <p:cNvSpPr/>
              <p:nvPr/>
            </p:nvSpPr>
            <p:spPr>
              <a:xfrm>
                <a:off x="10830292" y="908768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7" name="橢圓 1056">
                <a:extLst>
                  <a:ext uri="{FF2B5EF4-FFF2-40B4-BE49-F238E27FC236}">
                    <a16:creationId xmlns:a16="http://schemas.microsoft.com/office/drawing/2014/main" id="{981FB879-DF99-7748-A0F7-805376B9FD1A}"/>
                  </a:ext>
                </a:extLst>
              </p:cNvPr>
              <p:cNvSpPr/>
              <p:nvPr/>
            </p:nvSpPr>
            <p:spPr>
              <a:xfrm>
                <a:off x="11512945" y="903212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8" name="橢圓 1057">
                <a:extLst>
                  <a:ext uri="{FF2B5EF4-FFF2-40B4-BE49-F238E27FC236}">
                    <a16:creationId xmlns:a16="http://schemas.microsoft.com/office/drawing/2014/main" id="{0E122958-AEFE-DC4B-9BFE-3DB4415B415C}"/>
                  </a:ext>
                </a:extLst>
              </p:cNvPr>
              <p:cNvSpPr/>
              <p:nvPr/>
            </p:nvSpPr>
            <p:spPr>
              <a:xfrm>
                <a:off x="11343636" y="8911221"/>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59" name="橢圓 1058">
                <a:extLst>
                  <a:ext uri="{FF2B5EF4-FFF2-40B4-BE49-F238E27FC236}">
                    <a16:creationId xmlns:a16="http://schemas.microsoft.com/office/drawing/2014/main" id="{8DA2A311-B409-794E-A77E-CEE5F3945A6A}"/>
                  </a:ext>
                </a:extLst>
              </p:cNvPr>
              <p:cNvSpPr/>
              <p:nvPr/>
            </p:nvSpPr>
            <p:spPr>
              <a:xfrm>
                <a:off x="11168043" y="8751391"/>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0" name="橢圓 1059">
                <a:extLst>
                  <a:ext uri="{FF2B5EF4-FFF2-40B4-BE49-F238E27FC236}">
                    <a16:creationId xmlns:a16="http://schemas.microsoft.com/office/drawing/2014/main" id="{312D49FF-0B1F-4A4E-80F4-CE915BCE41B8}"/>
                  </a:ext>
                </a:extLst>
              </p:cNvPr>
              <p:cNvSpPr/>
              <p:nvPr/>
            </p:nvSpPr>
            <p:spPr>
              <a:xfrm>
                <a:off x="10982692" y="861444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1" name="橢圓 1060">
                <a:extLst>
                  <a:ext uri="{FF2B5EF4-FFF2-40B4-BE49-F238E27FC236}">
                    <a16:creationId xmlns:a16="http://schemas.microsoft.com/office/drawing/2014/main" id="{BB5ABCE5-FA95-7D42-B372-05195D609C08}"/>
                  </a:ext>
                </a:extLst>
              </p:cNvPr>
              <p:cNvSpPr/>
              <p:nvPr/>
            </p:nvSpPr>
            <p:spPr>
              <a:xfrm>
                <a:off x="10766126" y="859038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2" name="橢圓 1061">
                <a:extLst>
                  <a:ext uri="{FF2B5EF4-FFF2-40B4-BE49-F238E27FC236}">
                    <a16:creationId xmlns:a16="http://schemas.microsoft.com/office/drawing/2014/main" id="{3C8721C0-48C8-7B44-9153-AEF3403E87AA}"/>
                  </a:ext>
                </a:extLst>
              </p:cNvPr>
              <p:cNvSpPr/>
              <p:nvPr/>
            </p:nvSpPr>
            <p:spPr>
              <a:xfrm>
                <a:off x="10645812" y="875882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3" name="橢圓 1062">
                <a:extLst>
                  <a:ext uri="{FF2B5EF4-FFF2-40B4-BE49-F238E27FC236}">
                    <a16:creationId xmlns:a16="http://schemas.microsoft.com/office/drawing/2014/main" id="{D0E2E965-FCA4-704E-8ADF-C44B08F6FB14}"/>
                  </a:ext>
                </a:extLst>
              </p:cNvPr>
              <p:cNvSpPr/>
              <p:nvPr/>
            </p:nvSpPr>
            <p:spPr>
              <a:xfrm>
                <a:off x="10693938" y="891924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4" name="橢圓 1063">
                <a:extLst>
                  <a:ext uri="{FF2B5EF4-FFF2-40B4-BE49-F238E27FC236}">
                    <a16:creationId xmlns:a16="http://schemas.microsoft.com/office/drawing/2014/main" id="{DEC7724E-90BF-F443-8014-8DC1427B2C20}"/>
                  </a:ext>
                </a:extLst>
              </p:cNvPr>
              <p:cNvSpPr/>
              <p:nvPr/>
            </p:nvSpPr>
            <p:spPr>
              <a:xfrm>
                <a:off x="12363171" y="977005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5" name="橢圓 1064">
                <a:extLst>
                  <a:ext uri="{FF2B5EF4-FFF2-40B4-BE49-F238E27FC236}">
                    <a16:creationId xmlns:a16="http://schemas.microsoft.com/office/drawing/2014/main" id="{16654FC3-B4CE-2141-A4FE-4B03B2BEB282}"/>
                  </a:ext>
                </a:extLst>
              </p:cNvPr>
              <p:cNvSpPr/>
              <p:nvPr/>
            </p:nvSpPr>
            <p:spPr>
              <a:xfrm>
                <a:off x="12363171" y="997860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6" name="橢圓 1065">
                <a:extLst>
                  <a:ext uri="{FF2B5EF4-FFF2-40B4-BE49-F238E27FC236}">
                    <a16:creationId xmlns:a16="http://schemas.microsoft.com/office/drawing/2014/main" id="{B81C4286-F80F-5D4A-9B25-628E0DF691B5}"/>
                  </a:ext>
                </a:extLst>
              </p:cNvPr>
              <p:cNvSpPr/>
              <p:nvPr/>
            </p:nvSpPr>
            <p:spPr>
              <a:xfrm>
                <a:off x="12266919" y="1013902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7" name="橢圓 1066">
                <a:extLst>
                  <a:ext uri="{FF2B5EF4-FFF2-40B4-BE49-F238E27FC236}">
                    <a16:creationId xmlns:a16="http://schemas.microsoft.com/office/drawing/2014/main" id="{0E864D97-E386-D442-82D3-B389B498A3C5}"/>
                  </a:ext>
                </a:extLst>
              </p:cNvPr>
              <p:cNvSpPr>
                <a:spLocks noChangeAspect="1"/>
              </p:cNvSpPr>
              <p:nvPr/>
            </p:nvSpPr>
            <p:spPr>
              <a:xfrm flipV="1">
                <a:off x="11337010" y="8662185"/>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8" name="橢圓 1067">
                <a:extLst>
                  <a:ext uri="{FF2B5EF4-FFF2-40B4-BE49-F238E27FC236}">
                    <a16:creationId xmlns:a16="http://schemas.microsoft.com/office/drawing/2014/main" id="{EA2C1479-EFA7-4C4D-B84F-59376BEA02B7}"/>
                  </a:ext>
                </a:extLst>
              </p:cNvPr>
              <p:cNvSpPr>
                <a:spLocks noChangeAspect="1"/>
              </p:cNvSpPr>
              <p:nvPr/>
            </p:nvSpPr>
            <p:spPr>
              <a:xfrm flipV="1">
                <a:off x="11802809" y="9056036"/>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69" name="橢圓 1068">
                <a:extLst>
                  <a:ext uri="{FF2B5EF4-FFF2-40B4-BE49-F238E27FC236}">
                    <a16:creationId xmlns:a16="http://schemas.microsoft.com/office/drawing/2014/main" id="{C8AADC61-ADFE-A847-8E07-5C31D7EFD4C8}"/>
                  </a:ext>
                </a:extLst>
              </p:cNvPr>
              <p:cNvSpPr>
                <a:spLocks noChangeAspect="1"/>
              </p:cNvSpPr>
              <p:nvPr/>
            </p:nvSpPr>
            <p:spPr>
              <a:xfrm flipV="1">
                <a:off x="10485267" y="8726448"/>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0" name="橢圓 1069">
                <a:extLst>
                  <a:ext uri="{FF2B5EF4-FFF2-40B4-BE49-F238E27FC236}">
                    <a16:creationId xmlns:a16="http://schemas.microsoft.com/office/drawing/2014/main" id="{C92FFF59-D44C-E346-91C1-4492E0331645}"/>
                  </a:ext>
                </a:extLst>
              </p:cNvPr>
              <p:cNvSpPr>
                <a:spLocks noChangeAspect="1"/>
              </p:cNvSpPr>
              <p:nvPr/>
            </p:nvSpPr>
            <p:spPr>
              <a:xfrm flipV="1">
                <a:off x="10917862" y="9385204"/>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1" name="橢圓 1070">
                <a:extLst>
                  <a:ext uri="{FF2B5EF4-FFF2-40B4-BE49-F238E27FC236}">
                    <a16:creationId xmlns:a16="http://schemas.microsoft.com/office/drawing/2014/main" id="{BB2590D1-545B-2D42-BA76-0C9A45AA7427}"/>
                  </a:ext>
                </a:extLst>
              </p:cNvPr>
              <p:cNvSpPr>
                <a:spLocks noChangeAspect="1"/>
              </p:cNvSpPr>
              <p:nvPr/>
            </p:nvSpPr>
            <p:spPr>
              <a:xfrm flipV="1">
                <a:off x="11477255" y="9817644"/>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2" name="橢圓 1071">
                <a:extLst>
                  <a:ext uri="{FF2B5EF4-FFF2-40B4-BE49-F238E27FC236}">
                    <a16:creationId xmlns:a16="http://schemas.microsoft.com/office/drawing/2014/main" id="{B026CF03-757E-A447-A829-1A9D99B7032F}"/>
                  </a:ext>
                </a:extLst>
              </p:cNvPr>
              <p:cNvSpPr>
                <a:spLocks noChangeAspect="1"/>
              </p:cNvSpPr>
              <p:nvPr/>
            </p:nvSpPr>
            <p:spPr>
              <a:xfrm flipV="1">
                <a:off x="12314575" y="9486827"/>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3" name="橢圓 1072">
                <a:extLst>
                  <a:ext uri="{FF2B5EF4-FFF2-40B4-BE49-F238E27FC236}">
                    <a16:creationId xmlns:a16="http://schemas.microsoft.com/office/drawing/2014/main" id="{8E237A7F-88FB-8F44-9528-4BC776BF2BA3}"/>
                  </a:ext>
                </a:extLst>
              </p:cNvPr>
              <p:cNvSpPr>
                <a:spLocks noChangeAspect="1"/>
              </p:cNvSpPr>
              <p:nvPr/>
            </p:nvSpPr>
            <p:spPr>
              <a:xfrm flipV="1">
                <a:off x="12162510" y="10287785"/>
                <a:ext cx="173915" cy="182707"/>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4" name="橢圓 1073">
                <a:extLst>
                  <a:ext uri="{FF2B5EF4-FFF2-40B4-BE49-F238E27FC236}">
                    <a16:creationId xmlns:a16="http://schemas.microsoft.com/office/drawing/2014/main" id="{549C46DF-2CD1-854C-99E0-565843B1E88A}"/>
                  </a:ext>
                </a:extLst>
              </p:cNvPr>
              <p:cNvSpPr>
                <a:spLocks noChangeAspect="1"/>
              </p:cNvSpPr>
              <p:nvPr/>
            </p:nvSpPr>
            <p:spPr>
              <a:xfrm>
                <a:off x="11982360" y="915654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5" name="橢圓 1074">
                <a:extLst>
                  <a:ext uri="{FF2B5EF4-FFF2-40B4-BE49-F238E27FC236}">
                    <a16:creationId xmlns:a16="http://schemas.microsoft.com/office/drawing/2014/main" id="{55E7B4D3-3153-9F44-A210-90E40CB163E8}"/>
                  </a:ext>
                </a:extLst>
              </p:cNvPr>
              <p:cNvSpPr>
                <a:spLocks noChangeAspect="1"/>
              </p:cNvSpPr>
              <p:nvPr/>
            </p:nvSpPr>
            <p:spPr>
              <a:xfrm>
                <a:off x="12223660" y="943594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6" name="橢圓 1075">
                <a:extLst>
                  <a:ext uri="{FF2B5EF4-FFF2-40B4-BE49-F238E27FC236}">
                    <a16:creationId xmlns:a16="http://schemas.microsoft.com/office/drawing/2014/main" id="{6CF57485-1F28-FA4E-B878-9802C198DACE}"/>
                  </a:ext>
                </a:extLst>
              </p:cNvPr>
              <p:cNvSpPr>
                <a:spLocks noChangeAspect="1"/>
              </p:cNvSpPr>
              <p:nvPr/>
            </p:nvSpPr>
            <p:spPr>
              <a:xfrm>
                <a:off x="12109360" y="1029954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7" name="橢圓 1076">
                <a:extLst>
                  <a:ext uri="{FF2B5EF4-FFF2-40B4-BE49-F238E27FC236}">
                    <a16:creationId xmlns:a16="http://schemas.microsoft.com/office/drawing/2014/main" id="{3910AC98-E159-8348-B0AA-EAF3E317097F}"/>
                  </a:ext>
                </a:extLst>
              </p:cNvPr>
              <p:cNvSpPr>
                <a:spLocks noChangeAspect="1"/>
              </p:cNvSpPr>
              <p:nvPr/>
            </p:nvSpPr>
            <p:spPr>
              <a:xfrm>
                <a:off x="11398160" y="966454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8" name="橢圓 1077">
                <a:extLst>
                  <a:ext uri="{FF2B5EF4-FFF2-40B4-BE49-F238E27FC236}">
                    <a16:creationId xmlns:a16="http://schemas.microsoft.com/office/drawing/2014/main" id="{0257CEDA-28AD-4B45-A726-1E58E03394FE}"/>
                  </a:ext>
                </a:extLst>
              </p:cNvPr>
              <p:cNvSpPr>
                <a:spLocks noChangeAspect="1"/>
              </p:cNvSpPr>
              <p:nvPr/>
            </p:nvSpPr>
            <p:spPr>
              <a:xfrm>
                <a:off x="11347360" y="861044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79" name="橢圓 1078">
                <a:extLst>
                  <a:ext uri="{FF2B5EF4-FFF2-40B4-BE49-F238E27FC236}">
                    <a16:creationId xmlns:a16="http://schemas.microsoft.com/office/drawing/2014/main" id="{5D264056-B69A-CF41-9E2B-FF822FD93121}"/>
                  </a:ext>
                </a:extLst>
              </p:cNvPr>
              <p:cNvSpPr>
                <a:spLocks noChangeAspect="1"/>
              </p:cNvSpPr>
              <p:nvPr/>
            </p:nvSpPr>
            <p:spPr>
              <a:xfrm>
                <a:off x="10775860" y="918194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1085" name="群組 1084">
              <a:extLst>
                <a:ext uri="{FF2B5EF4-FFF2-40B4-BE49-F238E27FC236}">
                  <a16:creationId xmlns:a16="http://schemas.microsoft.com/office/drawing/2014/main" id="{6C1703E3-DED1-B646-ABF1-CB0FC5803AB6}"/>
                </a:ext>
              </a:extLst>
            </p:cNvPr>
            <p:cNvGrpSpPr/>
            <p:nvPr/>
          </p:nvGrpSpPr>
          <p:grpSpPr>
            <a:xfrm>
              <a:off x="6480333" y="1502176"/>
              <a:ext cx="479839" cy="263961"/>
              <a:chOff x="13656874" y="8392155"/>
              <a:chExt cx="1187427" cy="689413"/>
            </a:xfrm>
          </p:grpSpPr>
          <p:sp>
            <p:nvSpPr>
              <p:cNvPr id="1081" name="剪去對角線角落矩形 1080">
                <a:extLst>
                  <a:ext uri="{FF2B5EF4-FFF2-40B4-BE49-F238E27FC236}">
                    <a16:creationId xmlns:a16="http://schemas.microsoft.com/office/drawing/2014/main" id="{41D485DC-85A5-8E49-B6EF-8D7ECB102450}"/>
                  </a:ext>
                </a:extLst>
              </p:cNvPr>
              <p:cNvSpPr/>
              <p:nvPr/>
            </p:nvSpPr>
            <p:spPr>
              <a:xfrm>
                <a:off x="14164906" y="8392155"/>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82" name="剪去對角線角落矩形 1081">
                <a:extLst>
                  <a:ext uri="{FF2B5EF4-FFF2-40B4-BE49-F238E27FC236}">
                    <a16:creationId xmlns:a16="http://schemas.microsoft.com/office/drawing/2014/main" id="{D83A5DFB-E9C3-B248-93C5-0DE8AE8939EA}"/>
                  </a:ext>
                </a:extLst>
              </p:cNvPr>
              <p:cNvSpPr/>
              <p:nvPr/>
            </p:nvSpPr>
            <p:spPr>
              <a:xfrm>
                <a:off x="13656874" y="8545571"/>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83" name="剪去對角線角落矩形 1082">
                <a:extLst>
                  <a:ext uri="{FF2B5EF4-FFF2-40B4-BE49-F238E27FC236}">
                    <a16:creationId xmlns:a16="http://schemas.microsoft.com/office/drawing/2014/main" id="{F4786068-13BB-334B-974F-118B601BC8FB}"/>
                  </a:ext>
                </a:extLst>
              </p:cNvPr>
              <p:cNvSpPr/>
              <p:nvPr/>
            </p:nvSpPr>
            <p:spPr>
              <a:xfrm>
                <a:off x="14578987" y="8658907"/>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84" name="剪去對角線角落矩形 1083">
                <a:extLst>
                  <a:ext uri="{FF2B5EF4-FFF2-40B4-BE49-F238E27FC236}">
                    <a16:creationId xmlns:a16="http://schemas.microsoft.com/office/drawing/2014/main" id="{C047C00F-6066-E246-8BF1-984DB0079DB5}"/>
                  </a:ext>
                </a:extLst>
              </p:cNvPr>
              <p:cNvSpPr/>
              <p:nvPr/>
            </p:nvSpPr>
            <p:spPr>
              <a:xfrm>
                <a:off x="14070955" y="8812323"/>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grpSp>
          <p:nvGrpSpPr>
            <p:cNvPr id="1086" name="群組 1085">
              <a:extLst>
                <a:ext uri="{FF2B5EF4-FFF2-40B4-BE49-F238E27FC236}">
                  <a16:creationId xmlns:a16="http://schemas.microsoft.com/office/drawing/2014/main" id="{C9726735-D319-4C4C-BBDE-7C35DC10FF3F}"/>
                </a:ext>
              </a:extLst>
            </p:cNvPr>
            <p:cNvGrpSpPr/>
            <p:nvPr/>
          </p:nvGrpSpPr>
          <p:grpSpPr>
            <a:xfrm>
              <a:off x="6311934" y="4136658"/>
              <a:ext cx="237763" cy="390274"/>
              <a:chOff x="13841841" y="8392155"/>
              <a:chExt cx="588379" cy="1019317"/>
            </a:xfrm>
          </p:grpSpPr>
          <p:sp>
            <p:nvSpPr>
              <p:cNvPr id="1087" name="剪去對角線角落矩形 1086">
                <a:extLst>
                  <a:ext uri="{FF2B5EF4-FFF2-40B4-BE49-F238E27FC236}">
                    <a16:creationId xmlns:a16="http://schemas.microsoft.com/office/drawing/2014/main" id="{A7B36CCC-5FBA-614B-B3A0-4661B3965430}"/>
                  </a:ext>
                </a:extLst>
              </p:cNvPr>
              <p:cNvSpPr/>
              <p:nvPr/>
            </p:nvSpPr>
            <p:spPr>
              <a:xfrm>
                <a:off x="14164906" y="8392155"/>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89" name="剪去對角線角落矩形 1088">
                <a:extLst>
                  <a:ext uri="{FF2B5EF4-FFF2-40B4-BE49-F238E27FC236}">
                    <a16:creationId xmlns:a16="http://schemas.microsoft.com/office/drawing/2014/main" id="{0EF8726E-4DF1-F94B-AB50-5D3B50B991B5}"/>
                  </a:ext>
                </a:extLst>
              </p:cNvPr>
              <p:cNvSpPr/>
              <p:nvPr/>
            </p:nvSpPr>
            <p:spPr>
              <a:xfrm>
                <a:off x="13841841" y="9142227"/>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090" name="剪去對角線角落矩形 1089">
                <a:extLst>
                  <a:ext uri="{FF2B5EF4-FFF2-40B4-BE49-F238E27FC236}">
                    <a16:creationId xmlns:a16="http://schemas.microsoft.com/office/drawing/2014/main" id="{CA858A38-E853-564F-8F68-A788A7BF33B4}"/>
                  </a:ext>
                </a:extLst>
              </p:cNvPr>
              <p:cNvSpPr/>
              <p:nvPr/>
            </p:nvSpPr>
            <p:spPr>
              <a:xfrm>
                <a:off x="14070955" y="8812323"/>
                <a:ext cx="265314" cy="269245"/>
              </a:xfrm>
              <a:prstGeom prst="snip2DiagRect">
                <a:avLst/>
              </a:prstGeom>
              <a:solidFill>
                <a:srgbClr val="92D05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1091" name="文字方塊 1090">
              <a:extLst>
                <a:ext uri="{FF2B5EF4-FFF2-40B4-BE49-F238E27FC236}">
                  <a16:creationId xmlns:a16="http://schemas.microsoft.com/office/drawing/2014/main" id="{8D99746B-37EF-274C-906C-900A7A46F101}"/>
                </a:ext>
              </a:extLst>
            </p:cNvPr>
            <p:cNvSpPr txBox="1"/>
            <p:nvPr/>
          </p:nvSpPr>
          <p:spPr>
            <a:xfrm>
              <a:off x="5206763" y="1000455"/>
              <a:ext cx="66556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SVP</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1128" name="群組 1127">
              <a:extLst>
                <a:ext uri="{FF2B5EF4-FFF2-40B4-BE49-F238E27FC236}">
                  <a16:creationId xmlns:a16="http://schemas.microsoft.com/office/drawing/2014/main" id="{64EE0D68-0022-104F-949A-E4BE24E4937D}"/>
                </a:ext>
              </a:extLst>
            </p:cNvPr>
            <p:cNvGrpSpPr/>
            <p:nvPr/>
          </p:nvGrpSpPr>
          <p:grpSpPr>
            <a:xfrm>
              <a:off x="5663284" y="577495"/>
              <a:ext cx="672906" cy="684690"/>
              <a:chOff x="15312037" y="5933964"/>
              <a:chExt cx="1665197" cy="1788271"/>
            </a:xfrm>
          </p:grpSpPr>
          <p:sp>
            <p:nvSpPr>
              <p:cNvPr id="1129" name="橢圓 1128">
                <a:extLst>
                  <a:ext uri="{FF2B5EF4-FFF2-40B4-BE49-F238E27FC236}">
                    <a16:creationId xmlns:a16="http://schemas.microsoft.com/office/drawing/2014/main" id="{84E15300-A42A-E740-A34E-FF27D2E90D98}"/>
                  </a:ext>
                </a:extLst>
              </p:cNvPr>
              <p:cNvSpPr/>
              <p:nvPr/>
            </p:nvSpPr>
            <p:spPr>
              <a:xfrm>
                <a:off x="16604277" y="648424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0" name="橢圓 1129">
                <a:extLst>
                  <a:ext uri="{FF2B5EF4-FFF2-40B4-BE49-F238E27FC236}">
                    <a16:creationId xmlns:a16="http://schemas.microsoft.com/office/drawing/2014/main" id="{41ADFBE6-20DC-6F46-BFB0-758A6587B8C2}"/>
                  </a:ext>
                </a:extLst>
              </p:cNvPr>
              <p:cNvSpPr/>
              <p:nvPr/>
            </p:nvSpPr>
            <p:spPr>
              <a:xfrm>
                <a:off x="16676174" y="6703882"/>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1" name="橢圓 1130">
                <a:extLst>
                  <a:ext uri="{FF2B5EF4-FFF2-40B4-BE49-F238E27FC236}">
                    <a16:creationId xmlns:a16="http://schemas.microsoft.com/office/drawing/2014/main" id="{15D645EC-2D27-F944-96A7-DD23C77DD810}"/>
                  </a:ext>
                </a:extLst>
              </p:cNvPr>
              <p:cNvSpPr/>
              <p:nvPr/>
            </p:nvSpPr>
            <p:spPr>
              <a:xfrm>
                <a:off x="16493765" y="626673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2" name="橢圓 1131">
                <a:extLst>
                  <a:ext uri="{FF2B5EF4-FFF2-40B4-BE49-F238E27FC236}">
                    <a16:creationId xmlns:a16="http://schemas.microsoft.com/office/drawing/2014/main" id="{13C69E4F-93FF-004E-95A2-9387E2A22A87}"/>
                  </a:ext>
                </a:extLst>
              </p:cNvPr>
              <p:cNvSpPr/>
              <p:nvPr/>
            </p:nvSpPr>
            <p:spPr>
              <a:xfrm>
                <a:off x="16395662" y="728458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3" name="橢圓 1132">
                <a:extLst>
                  <a:ext uri="{FF2B5EF4-FFF2-40B4-BE49-F238E27FC236}">
                    <a16:creationId xmlns:a16="http://schemas.microsoft.com/office/drawing/2014/main" id="{06831878-B26B-894D-9C9B-8334640ED366}"/>
                  </a:ext>
                </a:extLst>
              </p:cNvPr>
              <p:cNvSpPr/>
              <p:nvPr/>
            </p:nvSpPr>
            <p:spPr>
              <a:xfrm>
                <a:off x="16203395" y="7364233"/>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4" name="橢圓 1133">
                <a:extLst>
                  <a:ext uri="{FF2B5EF4-FFF2-40B4-BE49-F238E27FC236}">
                    <a16:creationId xmlns:a16="http://schemas.microsoft.com/office/drawing/2014/main" id="{26B3CA99-1260-C64C-80A0-F253EBD63BD8}"/>
                  </a:ext>
                </a:extLst>
              </p:cNvPr>
              <p:cNvSpPr/>
              <p:nvPr/>
            </p:nvSpPr>
            <p:spPr>
              <a:xfrm>
                <a:off x="16632985" y="693773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5" name="橢圓 1134">
                <a:extLst>
                  <a:ext uri="{FF2B5EF4-FFF2-40B4-BE49-F238E27FC236}">
                    <a16:creationId xmlns:a16="http://schemas.microsoft.com/office/drawing/2014/main" id="{457C7D5E-75BE-E942-9615-BDFB35B02D21}"/>
                  </a:ext>
                </a:extLst>
              </p:cNvPr>
              <p:cNvSpPr>
                <a:spLocks noChangeAspect="1"/>
              </p:cNvSpPr>
              <p:nvPr/>
            </p:nvSpPr>
            <p:spPr>
              <a:xfrm>
                <a:off x="16115748" y="5933964"/>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6" name="橢圓 1135">
                <a:extLst>
                  <a:ext uri="{FF2B5EF4-FFF2-40B4-BE49-F238E27FC236}">
                    <a16:creationId xmlns:a16="http://schemas.microsoft.com/office/drawing/2014/main" id="{08D1EB5A-886D-C641-A016-534CBE14E678}"/>
                  </a:ext>
                </a:extLst>
              </p:cNvPr>
              <p:cNvSpPr>
                <a:spLocks noChangeAspect="1"/>
              </p:cNvSpPr>
              <p:nvPr/>
            </p:nvSpPr>
            <p:spPr>
              <a:xfrm>
                <a:off x="16122749" y="7572341"/>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7" name="橢圓 1136">
                <a:extLst>
                  <a:ext uri="{FF2B5EF4-FFF2-40B4-BE49-F238E27FC236}">
                    <a16:creationId xmlns:a16="http://schemas.microsoft.com/office/drawing/2014/main" id="{503D6A3C-181A-F448-99F6-D01256E41B20}"/>
                  </a:ext>
                </a:extLst>
              </p:cNvPr>
              <p:cNvSpPr>
                <a:spLocks noChangeAspect="1"/>
              </p:cNvSpPr>
              <p:nvPr/>
            </p:nvSpPr>
            <p:spPr>
              <a:xfrm>
                <a:off x="16800138" y="6375969"/>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8" name="橢圓 1137">
                <a:extLst>
                  <a:ext uri="{FF2B5EF4-FFF2-40B4-BE49-F238E27FC236}">
                    <a16:creationId xmlns:a16="http://schemas.microsoft.com/office/drawing/2014/main" id="{7866507F-747E-184F-815C-8CD52BE6F978}"/>
                  </a:ext>
                </a:extLst>
              </p:cNvPr>
              <p:cNvSpPr>
                <a:spLocks noChangeAspect="1"/>
              </p:cNvSpPr>
              <p:nvPr/>
            </p:nvSpPr>
            <p:spPr>
              <a:xfrm>
                <a:off x="16767914" y="7187819"/>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39" name="橢圓 1138">
                <a:extLst>
                  <a:ext uri="{FF2B5EF4-FFF2-40B4-BE49-F238E27FC236}">
                    <a16:creationId xmlns:a16="http://schemas.microsoft.com/office/drawing/2014/main" id="{7864AE65-036E-3742-8F56-0092FF45D8EE}"/>
                  </a:ext>
                </a:extLst>
              </p:cNvPr>
              <p:cNvSpPr>
                <a:spLocks noChangeAspect="1"/>
              </p:cNvSpPr>
              <p:nvPr/>
            </p:nvSpPr>
            <p:spPr>
              <a:xfrm>
                <a:off x="15362055" y="7161198"/>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0" name="橢圓 1139">
                <a:extLst>
                  <a:ext uri="{FF2B5EF4-FFF2-40B4-BE49-F238E27FC236}">
                    <a16:creationId xmlns:a16="http://schemas.microsoft.com/office/drawing/2014/main" id="{14073B88-652B-C743-978C-164C29A5A690}"/>
                  </a:ext>
                </a:extLst>
              </p:cNvPr>
              <p:cNvSpPr>
                <a:spLocks noChangeAspect="1"/>
              </p:cNvSpPr>
              <p:nvPr/>
            </p:nvSpPr>
            <p:spPr>
              <a:xfrm>
                <a:off x="15387946" y="6317190"/>
                <a:ext cx="142681" cy="149894"/>
              </a:xfrm>
              <a:prstGeom prst="ellipse">
                <a:avLst/>
              </a:prstGeom>
              <a:gradFill>
                <a:gsLst>
                  <a:gs pos="0">
                    <a:schemeClr val="accent2">
                      <a:lumMod val="50000"/>
                    </a:schemeClr>
                  </a:gs>
                  <a:gs pos="48000">
                    <a:schemeClr val="accent2">
                      <a:lumMod val="60000"/>
                      <a:lumOff val="40000"/>
                    </a:schemeClr>
                  </a:gs>
                  <a:gs pos="52000">
                    <a:schemeClr val="accent2">
                      <a:lumMod val="60000"/>
                      <a:lumOff val="40000"/>
                    </a:schemeClr>
                  </a:gs>
                  <a:gs pos="99000">
                    <a:schemeClr val="accent2">
                      <a:lumMod val="20000"/>
                      <a:lumOff val="80000"/>
                    </a:schemeClr>
                  </a:gs>
                </a:gsLst>
                <a:path path="circle">
                  <a:fillToRect l="50000" t="50000" r="50000" b="50000"/>
                </a:path>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1" name="橢圓 1140">
                <a:extLst>
                  <a:ext uri="{FF2B5EF4-FFF2-40B4-BE49-F238E27FC236}">
                    <a16:creationId xmlns:a16="http://schemas.microsoft.com/office/drawing/2014/main" id="{52A0D732-68B1-004F-A754-9203F477C739}"/>
                  </a:ext>
                </a:extLst>
              </p:cNvPr>
              <p:cNvSpPr>
                <a:spLocks noChangeAspect="1"/>
              </p:cNvSpPr>
              <p:nvPr/>
            </p:nvSpPr>
            <p:spPr>
              <a:xfrm>
                <a:off x="16328915" y="6009594"/>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2" name="橢圓 1141">
                <a:extLst>
                  <a:ext uri="{FF2B5EF4-FFF2-40B4-BE49-F238E27FC236}">
                    <a16:creationId xmlns:a16="http://schemas.microsoft.com/office/drawing/2014/main" id="{EADAD553-4003-1C42-B046-B0896B7EE58D}"/>
                  </a:ext>
                </a:extLst>
              </p:cNvPr>
              <p:cNvSpPr>
                <a:spLocks noChangeAspect="1"/>
              </p:cNvSpPr>
              <p:nvPr/>
            </p:nvSpPr>
            <p:spPr>
              <a:xfrm>
                <a:off x="15930913" y="5984358"/>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3" name="橢圓 1142">
                <a:extLst>
                  <a:ext uri="{FF2B5EF4-FFF2-40B4-BE49-F238E27FC236}">
                    <a16:creationId xmlns:a16="http://schemas.microsoft.com/office/drawing/2014/main" id="{197F1365-CC6F-3A47-91D6-7CE08983435B}"/>
                  </a:ext>
                </a:extLst>
              </p:cNvPr>
              <p:cNvSpPr>
                <a:spLocks noChangeAspect="1"/>
              </p:cNvSpPr>
              <p:nvPr/>
            </p:nvSpPr>
            <p:spPr>
              <a:xfrm>
                <a:off x="16701574" y="6249261"/>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4" name="橢圓 1143">
                <a:extLst>
                  <a:ext uri="{FF2B5EF4-FFF2-40B4-BE49-F238E27FC236}">
                    <a16:creationId xmlns:a16="http://schemas.microsoft.com/office/drawing/2014/main" id="{1EC9E24A-62C8-894E-BC8C-46D15CF5F102}"/>
                  </a:ext>
                </a:extLst>
              </p:cNvPr>
              <p:cNvSpPr>
                <a:spLocks noChangeAspect="1"/>
              </p:cNvSpPr>
              <p:nvPr/>
            </p:nvSpPr>
            <p:spPr>
              <a:xfrm>
                <a:off x="16880828" y="6577150"/>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5" name="橢圓 1144">
                <a:extLst>
                  <a:ext uri="{FF2B5EF4-FFF2-40B4-BE49-F238E27FC236}">
                    <a16:creationId xmlns:a16="http://schemas.microsoft.com/office/drawing/2014/main" id="{D3E5A20E-9BB5-BB49-86A0-5B35E1AB8237}"/>
                  </a:ext>
                </a:extLst>
              </p:cNvPr>
              <p:cNvSpPr>
                <a:spLocks noChangeAspect="1"/>
              </p:cNvSpPr>
              <p:nvPr/>
            </p:nvSpPr>
            <p:spPr>
              <a:xfrm>
                <a:off x="16862392" y="702883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6" name="橢圓 1145">
                <a:extLst>
                  <a:ext uri="{FF2B5EF4-FFF2-40B4-BE49-F238E27FC236}">
                    <a16:creationId xmlns:a16="http://schemas.microsoft.com/office/drawing/2014/main" id="{B09F81EA-4BF8-DD45-B911-2A2282007235}"/>
                  </a:ext>
                </a:extLst>
              </p:cNvPr>
              <p:cNvSpPr>
                <a:spLocks noChangeAspect="1"/>
              </p:cNvSpPr>
              <p:nvPr/>
            </p:nvSpPr>
            <p:spPr>
              <a:xfrm>
                <a:off x="16667837" y="7346589"/>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7" name="橢圓 1146">
                <a:extLst>
                  <a:ext uri="{FF2B5EF4-FFF2-40B4-BE49-F238E27FC236}">
                    <a16:creationId xmlns:a16="http://schemas.microsoft.com/office/drawing/2014/main" id="{D0EC4206-32D2-2D4E-8C70-9461281F57FF}"/>
                  </a:ext>
                </a:extLst>
              </p:cNvPr>
              <p:cNvSpPr>
                <a:spLocks noChangeAspect="1"/>
              </p:cNvSpPr>
              <p:nvPr/>
            </p:nvSpPr>
            <p:spPr>
              <a:xfrm>
                <a:off x="16307043" y="7567974"/>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8" name="橢圓 1147">
                <a:extLst>
                  <a:ext uri="{FF2B5EF4-FFF2-40B4-BE49-F238E27FC236}">
                    <a16:creationId xmlns:a16="http://schemas.microsoft.com/office/drawing/2014/main" id="{99C18539-1209-DE4B-A8AD-EE4D73DB5A32}"/>
                  </a:ext>
                </a:extLst>
              </p:cNvPr>
              <p:cNvSpPr>
                <a:spLocks noChangeAspect="1"/>
              </p:cNvSpPr>
              <p:nvPr/>
            </p:nvSpPr>
            <p:spPr>
              <a:xfrm>
                <a:off x="15930437" y="7574855"/>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49" name="橢圓 1148">
                <a:extLst>
                  <a:ext uri="{FF2B5EF4-FFF2-40B4-BE49-F238E27FC236}">
                    <a16:creationId xmlns:a16="http://schemas.microsoft.com/office/drawing/2014/main" id="{DFBCBB2D-7CC7-D242-94C1-B3809533FFC2}"/>
                  </a:ext>
                </a:extLst>
              </p:cNvPr>
              <p:cNvSpPr>
                <a:spLocks noChangeAspect="1"/>
              </p:cNvSpPr>
              <p:nvPr/>
            </p:nvSpPr>
            <p:spPr>
              <a:xfrm>
                <a:off x="15500014" y="7344671"/>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0" name="橢圓 1149">
                <a:extLst>
                  <a:ext uri="{FF2B5EF4-FFF2-40B4-BE49-F238E27FC236}">
                    <a16:creationId xmlns:a16="http://schemas.microsoft.com/office/drawing/2014/main" id="{455104DB-C1F4-4F42-AFBB-E2846D2D55BA}"/>
                  </a:ext>
                </a:extLst>
              </p:cNvPr>
              <p:cNvSpPr>
                <a:spLocks noChangeAspect="1"/>
              </p:cNvSpPr>
              <p:nvPr/>
            </p:nvSpPr>
            <p:spPr>
              <a:xfrm>
                <a:off x="15312037" y="7008962"/>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1" name="橢圓 1150">
                <a:extLst>
                  <a:ext uri="{FF2B5EF4-FFF2-40B4-BE49-F238E27FC236}">
                    <a16:creationId xmlns:a16="http://schemas.microsoft.com/office/drawing/2014/main" id="{4EC6673D-8DD5-544B-9ED3-5A77F608BD84}"/>
                  </a:ext>
                </a:extLst>
              </p:cNvPr>
              <p:cNvSpPr>
                <a:spLocks noChangeAspect="1"/>
              </p:cNvSpPr>
              <p:nvPr/>
            </p:nvSpPr>
            <p:spPr>
              <a:xfrm>
                <a:off x="15321107" y="652586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2" name="橢圓 1151">
                <a:extLst>
                  <a:ext uri="{FF2B5EF4-FFF2-40B4-BE49-F238E27FC236}">
                    <a16:creationId xmlns:a16="http://schemas.microsoft.com/office/drawing/2014/main" id="{40FBFFA9-9B7A-E340-B63A-7E0B6AADA8B2}"/>
                  </a:ext>
                </a:extLst>
              </p:cNvPr>
              <p:cNvSpPr>
                <a:spLocks noChangeAspect="1"/>
              </p:cNvSpPr>
              <p:nvPr/>
            </p:nvSpPr>
            <p:spPr>
              <a:xfrm>
                <a:off x="15540841" y="6194583"/>
                <a:ext cx="96406" cy="101280"/>
              </a:xfrm>
              <a:prstGeom prst="ellipse">
                <a:avLst/>
              </a:prstGeom>
              <a:gradFill>
                <a:gsLst>
                  <a:gs pos="0">
                    <a:schemeClr val="accent4">
                      <a:lumMod val="75000"/>
                    </a:schemeClr>
                  </a:gs>
                  <a:gs pos="48000">
                    <a:schemeClr val="accent4">
                      <a:lumMod val="60000"/>
                      <a:lumOff val="40000"/>
                    </a:schemeClr>
                  </a:gs>
                  <a:gs pos="52000">
                    <a:srgbClr val="FFFF00"/>
                  </a:gs>
                  <a:gs pos="99000">
                    <a:schemeClr val="accent2">
                      <a:lumMod val="20000"/>
                      <a:lumOff val="80000"/>
                    </a:schemeClr>
                  </a:gs>
                </a:gsLst>
                <a:path path="circle">
                  <a:fillToRect l="50000" t="50000" r="50000" b="50000"/>
                </a:path>
              </a:gradFill>
              <a:ln>
                <a:solidFill>
                  <a:srgbClr val="FFFF00"/>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3" name="橢圓 1152">
                <a:extLst>
                  <a:ext uri="{FF2B5EF4-FFF2-40B4-BE49-F238E27FC236}">
                    <a16:creationId xmlns:a16="http://schemas.microsoft.com/office/drawing/2014/main" id="{2F4B6A77-B74C-EA42-B532-4BD10C3D5AD4}"/>
                  </a:ext>
                </a:extLst>
              </p:cNvPr>
              <p:cNvSpPr/>
              <p:nvPr/>
            </p:nvSpPr>
            <p:spPr>
              <a:xfrm>
                <a:off x="15796773" y="7351280"/>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4" name="橢圓 1153">
                <a:extLst>
                  <a:ext uri="{FF2B5EF4-FFF2-40B4-BE49-F238E27FC236}">
                    <a16:creationId xmlns:a16="http://schemas.microsoft.com/office/drawing/2014/main" id="{32A6DF08-C579-8047-AE9E-BA58EB874DD0}"/>
                  </a:ext>
                </a:extLst>
              </p:cNvPr>
              <p:cNvSpPr/>
              <p:nvPr/>
            </p:nvSpPr>
            <p:spPr>
              <a:xfrm>
                <a:off x="15998808" y="7365459"/>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5" name="橢圓 1154">
                <a:extLst>
                  <a:ext uri="{FF2B5EF4-FFF2-40B4-BE49-F238E27FC236}">
                    <a16:creationId xmlns:a16="http://schemas.microsoft.com/office/drawing/2014/main" id="{51C5DC8B-9CA7-1F43-A84B-59C1874A787C}"/>
                  </a:ext>
                </a:extLst>
              </p:cNvPr>
              <p:cNvSpPr/>
              <p:nvPr/>
            </p:nvSpPr>
            <p:spPr>
              <a:xfrm>
                <a:off x="16123919" y="6093357"/>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6" name="橢圓 1155">
                <a:extLst>
                  <a:ext uri="{FF2B5EF4-FFF2-40B4-BE49-F238E27FC236}">
                    <a16:creationId xmlns:a16="http://schemas.microsoft.com/office/drawing/2014/main" id="{37CABD90-2D45-6D48-83C0-090AE10037F3}"/>
                  </a:ext>
                </a:extLst>
              </p:cNvPr>
              <p:cNvSpPr/>
              <p:nvPr/>
            </p:nvSpPr>
            <p:spPr>
              <a:xfrm>
                <a:off x="16325954" y="6107536"/>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7" name="橢圓 1156">
                <a:extLst>
                  <a:ext uri="{FF2B5EF4-FFF2-40B4-BE49-F238E27FC236}">
                    <a16:creationId xmlns:a16="http://schemas.microsoft.com/office/drawing/2014/main" id="{CC9F63E4-C09E-A54E-B3CE-535149B23ACE}"/>
                  </a:ext>
                </a:extLst>
              </p:cNvPr>
              <p:cNvSpPr/>
              <p:nvPr/>
            </p:nvSpPr>
            <p:spPr>
              <a:xfrm>
                <a:off x="15760149" y="614497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8" name="橢圓 1157">
                <a:extLst>
                  <a:ext uri="{FF2B5EF4-FFF2-40B4-BE49-F238E27FC236}">
                    <a16:creationId xmlns:a16="http://schemas.microsoft.com/office/drawing/2014/main" id="{2C3067C3-1B53-7B45-9FCE-75146C569B76}"/>
                  </a:ext>
                </a:extLst>
              </p:cNvPr>
              <p:cNvSpPr/>
              <p:nvPr/>
            </p:nvSpPr>
            <p:spPr>
              <a:xfrm>
                <a:off x="15962184" y="6107536"/>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59" name="橢圓 1158">
                <a:extLst>
                  <a:ext uri="{FF2B5EF4-FFF2-40B4-BE49-F238E27FC236}">
                    <a16:creationId xmlns:a16="http://schemas.microsoft.com/office/drawing/2014/main" id="{AFE005FD-3D7E-EB46-809C-4AA8F3646FE4}"/>
                  </a:ext>
                </a:extLst>
              </p:cNvPr>
              <p:cNvSpPr/>
              <p:nvPr/>
            </p:nvSpPr>
            <p:spPr>
              <a:xfrm>
                <a:off x="15586743" y="6266735"/>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0" name="橢圓 1159">
                <a:extLst>
                  <a:ext uri="{FF2B5EF4-FFF2-40B4-BE49-F238E27FC236}">
                    <a16:creationId xmlns:a16="http://schemas.microsoft.com/office/drawing/2014/main" id="{8568699E-A0A9-1141-BA0F-1BA03D12314A}"/>
                  </a:ext>
                </a:extLst>
              </p:cNvPr>
              <p:cNvSpPr/>
              <p:nvPr/>
            </p:nvSpPr>
            <p:spPr>
              <a:xfrm>
                <a:off x="15448467" y="641343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1" name="橢圓 1160">
                <a:extLst>
                  <a:ext uri="{FF2B5EF4-FFF2-40B4-BE49-F238E27FC236}">
                    <a16:creationId xmlns:a16="http://schemas.microsoft.com/office/drawing/2014/main" id="{DC5E321D-A31B-4947-9936-07CDA42DE525}"/>
                  </a:ext>
                </a:extLst>
              </p:cNvPr>
              <p:cNvSpPr/>
              <p:nvPr/>
            </p:nvSpPr>
            <p:spPr>
              <a:xfrm>
                <a:off x="15384660" y="6632022"/>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2" name="橢圓 1161">
                <a:extLst>
                  <a:ext uri="{FF2B5EF4-FFF2-40B4-BE49-F238E27FC236}">
                    <a16:creationId xmlns:a16="http://schemas.microsoft.com/office/drawing/2014/main" id="{FC7B4EA1-763B-3142-88D5-D47EAA522FEC}"/>
                  </a:ext>
                </a:extLst>
              </p:cNvPr>
              <p:cNvSpPr/>
              <p:nvPr/>
            </p:nvSpPr>
            <p:spPr>
              <a:xfrm>
                <a:off x="15384660" y="6861704"/>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3" name="橢圓 1162">
                <a:extLst>
                  <a:ext uri="{FF2B5EF4-FFF2-40B4-BE49-F238E27FC236}">
                    <a16:creationId xmlns:a16="http://schemas.microsoft.com/office/drawing/2014/main" id="{456AD9A0-A9DB-8749-B380-E6D1B34BCA5E}"/>
                  </a:ext>
                </a:extLst>
              </p:cNvPr>
              <p:cNvSpPr/>
              <p:nvPr/>
            </p:nvSpPr>
            <p:spPr>
              <a:xfrm>
                <a:off x="15459286" y="7069198"/>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4" name="橢圓 1163">
                <a:extLst>
                  <a:ext uri="{FF2B5EF4-FFF2-40B4-BE49-F238E27FC236}">
                    <a16:creationId xmlns:a16="http://schemas.microsoft.com/office/drawing/2014/main" id="{FAF1FE89-8605-2C4B-999E-54B69E1D053A}"/>
                  </a:ext>
                </a:extLst>
              </p:cNvPr>
              <p:cNvSpPr/>
              <p:nvPr/>
            </p:nvSpPr>
            <p:spPr>
              <a:xfrm>
                <a:off x="15601954" y="7229519"/>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65" name="橢圓 1164">
                <a:extLst>
                  <a:ext uri="{FF2B5EF4-FFF2-40B4-BE49-F238E27FC236}">
                    <a16:creationId xmlns:a16="http://schemas.microsoft.com/office/drawing/2014/main" id="{FECD3CBA-FBBD-BB46-950F-A1436DE5448C}"/>
                  </a:ext>
                </a:extLst>
              </p:cNvPr>
              <p:cNvSpPr/>
              <p:nvPr/>
            </p:nvSpPr>
            <p:spPr>
              <a:xfrm>
                <a:off x="16546792" y="7119541"/>
                <a:ext cx="206269" cy="216694"/>
              </a:xfrm>
              <a:prstGeom prst="ellipse">
                <a:avLst/>
              </a:prstGeom>
              <a:gradFill>
                <a:gsLst>
                  <a:gs pos="0">
                    <a:srgbClr val="002060"/>
                  </a:gs>
                  <a:gs pos="48000">
                    <a:schemeClr val="accent5">
                      <a:lumMod val="50000"/>
                    </a:schemeClr>
                  </a:gs>
                  <a:gs pos="53000">
                    <a:schemeClr val="accent5">
                      <a:lumMod val="60000"/>
                      <a:lumOff val="40000"/>
                    </a:schemeClr>
                  </a:gs>
                  <a:gs pos="100000">
                    <a:schemeClr val="accent5"/>
                  </a:gs>
                </a:gsLst>
                <a:path path="circle">
                  <a:fillToRect l="50000" t="50000" r="50000" b="50000"/>
                </a:path>
              </a:gra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grpSp>
        <p:sp>
          <p:nvSpPr>
            <p:cNvPr id="1169" name="水滴形 1168">
              <a:extLst>
                <a:ext uri="{FF2B5EF4-FFF2-40B4-BE49-F238E27FC236}">
                  <a16:creationId xmlns:a16="http://schemas.microsoft.com/office/drawing/2014/main" id="{91913F8F-DC44-5141-98AD-24030C4D8F2F}"/>
                </a:ext>
              </a:extLst>
            </p:cNvPr>
            <p:cNvSpPr/>
            <p:nvPr/>
          </p:nvSpPr>
          <p:spPr>
            <a:xfrm>
              <a:off x="5843257" y="4942689"/>
              <a:ext cx="58150" cy="81944"/>
            </a:xfrm>
            <a:prstGeom prst="teardrop">
              <a:avLst/>
            </a:prstGeom>
            <a:solidFill>
              <a:srgbClr val="7030A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70" name="水滴形 1169">
              <a:extLst>
                <a:ext uri="{FF2B5EF4-FFF2-40B4-BE49-F238E27FC236}">
                  <a16:creationId xmlns:a16="http://schemas.microsoft.com/office/drawing/2014/main" id="{8AF9A61F-37E6-A64D-B02C-727F6D92798E}"/>
                </a:ext>
              </a:extLst>
            </p:cNvPr>
            <p:cNvSpPr/>
            <p:nvPr/>
          </p:nvSpPr>
          <p:spPr>
            <a:xfrm>
              <a:off x="5853874" y="5061291"/>
              <a:ext cx="58150" cy="81944"/>
            </a:xfrm>
            <a:prstGeom prst="teardrop">
              <a:avLst/>
            </a:prstGeom>
            <a:solidFill>
              <a:srgbClr val="7030A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71" name="水滴形 1170">
              <a:extLst>
                <a:ext uri="{FF2B5EF4-FFF2-40B4-BE49-F238E27FC236}">
                  <a16:creationId xmlns:a16="http://schemas.microsoft.com/office/drawing/2014/main" id="{51B2A86C-8097-B443-B6ED-49CEB11AA6B1}"/>
                </a:ext>
              </a:extLst>
            </p:cNvPr>
            <p:cNvSpPr/>
            <p:nvPr/>
          </p:nvSpPr>
          <p:spPr>
            <a:xfrm>
              <a:off x="5766210" y="5001276"/>
              <a:ext cx="58150" cy="81944"/>
            </a:xfrm>
            <a:prstGeom prst="teardrop">
              <a:avLst/>
            </a:prstGeom>
            <a:solidFill>
              <a:srgbClr val="7030A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72" name="文字方塊 1171">
              <a:extLst>
                <a:ext uri="{FF2B5EF4-FFF2-40B4-BE49-F238E27FC236}">
                  <a16:creationId xmlns:a16="http://schemas.microsoft.com/office/drawing/2014/main" id="{AE6C8A14-E26F-E049-8AF5-99A57B294EE5}"/>
                </a:ext>
              </a:extLst>
            </p:cNvPr>
            <p:cNvSpPr txBox="1"/>
            <p:nvPr/>
          </p:nvSpPr>
          <p:spPr>
            <a:xfrm>
              <a:off x="5696494" y="4743753"/>
              <a:ext cx="66556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HBx</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1173" name="直線箭頭接點 1172">
              <a:extLst>
                <a:ext uri="{FF2B5EF4-FFF2-40B4-BE49-F238E27FC236}">
                  <a16:creationId xmlns:a16="http://schemas.microsoft.com/office/drawing/2014/main" id="{5C1CD88B-F69D-474A-B842-43C8E339AAD4}"/>
                </a:ext>
              </a:extLst>
            </p:cNvPr>
            <p:cNvCxnSpPr>
              <a:cxnSpLocks/>
            </p:cNvCxnSpPr>
            <p:nvPr/>
          </p:nvCxnSpPr>
          <p:spPr>
            <a:xfrm flipH="1" flipV="1">
              <a:off x="5990452" y="5059723"/>
              <a:ext cx="138344" cy="22970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9" name="水滴形 1178">
              <a:extLst>
                <a:ext uri="{FF2B5EF4-FFF2-40B4-BE49-F238E27FC236}">
                  <a16:creationId xmlns:a16="http://schemas.microsoft.com/office/drawing/2014/main" id="{26207694-0282-3E4D-9704-258946222143}"/>
                </a:ext>
              </a:extLst>
            </p:cNvPr>
            <p:cNvSpPr/>
            <p:nvPr/>
          </p:nvSpPr>
          <p:spPr>
            <a:xfrm>
              <a:off x="3334522" y="5615997"/>
              <a:ext cx="58150" cy="81944"/>
            </a:xfrm>
            <a:prstGeom prst="teardrop">
              <a:avLst/>
            </a:prstGeom>
            <a:solidFill>
              <a:srgbClr val="7030A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80" name="水滴形 1179">
              <a:extLst>
                <a:ext uri="{FF2B5EF4-FFF2-40B4-BE49-F238E27FC236}">
                  <a16:creationId xmlns:a16="http://schemas.microsoft.com/office/drawing/2014/main" id="{F46DE5E4-B5F9-D140-B642-6735F144F8BE}"/>
                </a:ext>
              </a:extLst>
            </p:cNvPr>
            <p:cNvSpPr/>
            <p:nvPr/>
          </p:nvSpPr>
          <p:spPr>
            <a:xfrm>
              <a:off x="3129595" y="5720400"/>
              <a:ext cx="58150" cy="81944"/>
            </a:xfrm>
            <a:prstGeom prst="teardrop">
              <a:avLst/>
            </a:prstGeom>
            <a:solidFill>
              <a:srgbClr val="7030A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81" name="水滴形 1180">
              <a:extLst>
                <a:ext uri="{FF2B5EF4-FFF2-40B4-BE49-F238E27FC236}">
                  <a16:creationId xmlns:a16="http://schemas.microsoft.com/office/drawing/2014/main" id="{758070CD-1F9A-714E-993B-09EEF1894C03}"/>
                </a:ext>
              </a:extLst>
            </p:cNvPr>
            <p:cNvSpPr/>
            <p:nvPr/>
          </p:nvSpPr>
          <p:spPr>
            <a:xfrm>
              <a:off x="2936377" y="5603995"/>
              <a:ext cx="58150" cy="81944"/>
            </a:xfrm>
            <a:prstGeom prst="teardrop">
              <a:avLst/>
            </a:prstGeom>
            <a:solidFill>
              <a:srgbClr val="7030A0"/>
            </a:solidFill>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92" name="手繪多邊形 1191">
              <a:extLst>
                <a:ext uri="{FF2B5EF4-FFF2-40B4-BE49-F238E27FC236}">
                  <a16:creationId xmlns:a16="http://schemas.microsoft.com/office/drawing/2014/main" id="{3E96C701-3E48-CF41-BE8C-771B26869E8D}"/>
                </a:ext>
              </a:extLst>
            </p:cNvPr>
            <p:cNvSpPr/>
            <p:nvPr/>
          </p:nvSpPr>
          <p:spPr>
            <a:xfrm rot="60000">
              <a:off x="7107437" y="5283054"/>
              <a:ext cx="195019" cy="233402"/>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w="34925">
              <a:solidFill>
                <a:schemeClr val="accent6">
                  <a:lumMod val="75000"/>
                  <a:alpha val="9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195" name="文字方塊 1194">
              <a:extLst>
                <a:ext uri="{FF2B5EF4-FFF2-40B4-BE49-F238E27FC236}">
                  <a16:creationId xmlns:a16="http://schemas.microsoft.com/office/drawing/2014/main" id="{95661C03-FD61-B146-870B-C1DA0225F6F8}"/>
                </a:ext>
              </a:extLst>
            </p:cNvPr>
            <p:cNvSpPr txBox="1"/>
            <p:nvPr/>
          </p:nvSpPr>
          <p:spPr>
            <a:xfrm>
              <a:off x="6793138" y="5436154"/>
              <a:ext cx="66556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HBc</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1199" name="直線箭頭接點 1198">
              <a:extLst>
                <a:ext uri="{FF2B5EF4-FFF2-40B4-BE49-F238E27FC236}">
                  <a16:creationId xmlns:a16="http://schemas.microsoft.com/office/drawing/2014/main" id="{7F6D8295-1C84-C442-93CD-C3D4E2D35957}"/>
                </a:ext>
              </a:extLst>
            </p:cNvPr>
            <p:cNvCxnSpPr>
              <a:cxnSpLocks/>
            </p:cNvCxnSpPr>
            <p:nvPr/>
          </p:nvCxnSpPr>
          <p:spPr>
            <a:xfrm>
              <a:off x="6722103" y="5413790"/>
              <a:ext cx="168271" cy="7926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01" name="文字方塊 1200">
              <a:extLst>
                <a:ext uri="{FF2B5EF4-FFF2-40B4-BE49-F238E27FC236}">
                  <a16:creationId xmlns:a16="http://schemas.microsoft.com/office/drawing/2014/main" id="{9D2847F8-A4F2-284E-B234-47DB121796F7}"/>
                </a:ext>
              </a:extLst>
            </p:cNvPr>
            <p:cNvSpPr txBox="1"/>
            <p:nvPr/>
          </p:nvSpPr>
          <p:spPr>
            <a:xfrm>
              <a:off x="8314140" y="4046815"/>
              <a:ext cx="861808"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 D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sp>
          <p:nvSpPr>
            <p:cNvPr id="1202" name="文字方塊 1201">
              <a:extLst>
                <a:ext uri="{FF2B5EF4-FFF2-40B4-BE49-F238E27FC236}">
                  <a16:creationId xmlns:a16="http://schemas.microsoft.com/office/drawing/2014/main" id="{1D77FB5E-474B-614D-8C31-C8AA6BA0F9FA}"/>
                </a:ext>
              </a:extLst>
            </p:cNvPr>
            <p:cNvSpPr txBox="1"/>
            <p:nvPr/>
          </p:nvSpPr>
          <p:spPr>
            <a:xfrm>
              <a:off x="6749488" y="3226613"/>
              <a:ext cx="776822"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rc</a:t>
              </a: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 D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sp>
          <p:nvSpPr>
            <p:cNvPr id="1203" name="文字方塊 1202">
              <a:extLst>
                <a:ext uri="{FF2B5EF4-FFF2-40B4-BE49-F238E27FC236}">
                  <a16:creationId xmlns:a16="http://schemas.microsoft.com/office/drawing/2014/main" id="{9B2168F8-A702-4E47-8A13-DFDC639985E4}"/>
                </a:ext>
              </a:extLst>
            </p:cNvPr>
            <p:cNvSpPr txBox="1"/>
            <p:nvPr/>
          </p:nvSpPr>
          <p:spPr>
            <a:xfrm>
              <a:off x="8332017" y="5746788"/>
              <a:ext cx="66556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R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1236" name="直線箭頭接點 1235">
              <a:extLst>
                <a:ext uri="{FF2B5EF4-FFF2-40B4-BE49-F238E27FC236}">
                  <a16:creationId xmlns:a16="http://schemas.microsoft.com/office/drawing/2014/main" id="{0B89D325-93E4-9746-B258-6C72A56C7034}"/>
                </a:ext>
              </a:extLst>
            </p:cNvPr>
            <p:cNvCxnSpPr>
              <a:cxnSpLocks/>
            </p:cNvCxnSpPr>
            <p:nvPr/>
          </p:nvCxnSpPr>
          <p:spPr>
            <a:xfrm flipV="1">
              <a:off x="5912024" y="1911322"/>
              <a:ext cx="10567" cy="144711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43" name="手繪多邊形 1242">
              <a:extLst>
                <a:ext uri="{FF2B5EF4-FFF2-40B4-BE49-F238E27FC236}">
                  <a16:creationId xmlns:a16="http://schemas.microsoft.com/office/drawing/2014/main" id="{7FB985FB-3863-CC4C-866D-CC099DCFF5EA}"/>
                </a:ext>
              </a:extLst>
            </p:cNvPr>
            <p:cNvSpPr/>
            <p:nvPr/>
          </p:nvSpPr>
          <p:spPr>
            <a:xfrm>
              <a:off x="5951269" y="3835635"/>
              <a:ext cx="333461" cy="1331069"/>
            </a:xfrm>
            <a:custGeom>
              <a:avLst/>
              <a:gdLst>
                <a:gd name="connsiteX0" fmla="*/ 1143000 w 1143000"/>
                <a:gd name="connsiteY0" fmla="*/ 1574800 h 1574800"/>
                <a:gd name="connsiteX1" fmla="*/ 990600 w 1143000"/>
                <a:gd name="connsiteY1" fmla="*/ 990600 h 1574800"/>
                <a:gd name="connsiteX2" fmla="*/ 685800 w 1143000"/>
                <a:gd name="connsiteY2" fmla="*/ 482600 h 1574800"/>
                <a:gd name="connsiteX3" fmla="*/ 0 w 1143000"/>
                <a:gd name="connsiteY3" fmla="*/ 0 h 1574800"/>
              </a:gdLst>
              <a:ahLst/>
              <a:cxnLst>
                <a:cxn ang="0">
                  <a:pos x="connsiteX0" y="connsiteY0"/>
                </a:cxn>
                <a:cxn ang="0">
                  <a:pos x="connsiteX1" y="connsiteY1"/>
                </a:cxn>
                <a:cxn ang="0">
                  <a:pos x="connsiteX2" y="connsiteY2"/>
                </a:cxn>
                <a:cxn ang="0">
                  <a:pos x="connsiteX3" y="connsiteY3"/>
                </a:cxn>
              </a:cxnLst>
              <a:rect l="l" t="t" r="r" b="b"/>
              <a:pathLst>
                <a:path w="1143000" h="1574800">
                  <a:moveTo>
                    <a:pt x="1143000" y="1574800"/>
                  </a:moveTo>
                  <a:cubicBezTo>
                    <a:pt x="1104900" y="1373716"/>
                    <a:pt x="1066800" y="1172633"/>
                    <a:pt x="990600" y="990600"/>
                  </a:cubicBezTo>
                  <a:cubicBezTo>
                    <a:pt x="914400" y="808567"/>
                    <a:pt x="850900" y="647700"/>
                    <a:pt x="685800" y="482600"/>
                  </a:cubicBezTo>
                  <a:cubicBezTo>
                    <a:pt x="520700" y="317500"/>
                    <a:pt x="260350" y="158750"/>
                    <a:pt x="0" y="0"/>
                  </a:cubicBezTo>
                </a:path>
              </a:pathLst>
            </a:custGeom>
            <a:noFill/>
            <a:ln w="38100">
              <a:solidFill>
                <a:schemeClr val="tx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73" name="手繪多邊形 1272">
              <a:extLst>
                <a:ext uri="{FF2B5EF4-FFF2-40B4-BE49-F238E27FC236}">
                  <a16:creationId xmlns:a16="http://schemas.microsoft.com/office/drawing/2014/main" id="{D0A2EE7D-96EC-8643-BEAF-26AE029BB253}"/>
                </a:ext>
              </a:extLst>
            </p:cNvPr>
            <p:cNvSpPr/>
            <p:nvPr/>
          </p:nvSpPr>
          <p:spPr>
            <a:xfrm rot="304876">
              <a:off x="6674747" y="1895225"/>
              <a:ext cx="94711" cy="2095826"/>
            </a:xfrm>
            <a:custGeom>
              <a:avLst/>
              <a:gdLst>
                <a:gd name="connsiteX0" fmla="*/ 0 w 966278"/>
                <a:gd name="connsiteY0" fmla="*/ 5359400 h 5359400"/>
                <a:gd name="connsiteX1" fmla="*/ 406400 w 966278"/>
                <a:gd name="connsiteY1" fmla="*/ 4622800 h 5359400"/>
                <a:gd name="connsiteX2" fmla="*/ 965200 w 966278"/>
                <a:gd name="connsiteY2" fmla="*/ 3149600 h 5359400"/>
                <a:gd name="connsiteX3" fmla="*/ 558800 w 966278"/>
                <a:gd name="connsiteY3" fmla="*/ 0 h 5359400"/>
                <a:gd name="connsiteX4" fmla="*/ 558800 w 966278"/>
                <a:gd name="connsiteY4" fmla="*/ 0 h 5359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278" h="5359400">
                  <a:moveTo>
                    <a:pt x="0" y="5359400"/>
                  </a:moveTo>
                  <a:cubicBezTo>
                    <a:pt x="122766" y="5175250"/>
                    <a:pt x="245533" y="4991100"/>
                    <a:pt x="406400" y="4622800"/>
                  </a:cubicBezTo>
                  <a:cubicBezTo>
                    <a:pt x="567267" y="4254500"/>
                    <a:pt x="939800" y="3920067"/>
                    <a:pt x="965200" y="3149600"/>
                  </a:cubicBezTo>
                  <a:cubicBezTo>
                    <a:pt x="990600" y="2379133"/>
                    <a:pt x="558800" y="0"/>
                    <a:pt x="558800" y="0"/>
                  </a:cubicBezTo>
                  <a:lnTo>
                    <a:pt x="558800" y="0"/>
                  </a:lnTo>
                </a:path>
              </a:pathLst>
            </a:custGeom>
            <a:noFill/>
            <a:ln w="31750">
              <a:solidFill>
                <a:schemeClr val="tx1">
                  <a:lumMod val="75000"/>
                  <a:lumOff val="25000"/>
                </a:schemeClr>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84" name="文字方塊 1283">
              <a:extLst>
                <a:ext uri="{FF2B5EF4-FFF2-40B4-BE49-F238E27FC236}">
                  <a16:creationId xmlns:a16="http://schemas.microsoft.com/office/drawing/2014/main" id="{63C681D6-1537-B744-830F-8315A823C04C}"/>
                </a:ext>
              </a:extLst>
            </p:cNvPr>
            <p:cNvSpPr txBox="1"/>
            <p:nvPr/>
          </p:nvSpPr>
          <p:spPr>
            <a:xfrm>
              <a:off x="7904137" y="4696680"/>
              <a:ext cx="935691" cy="365998"/>
            </a:xfrm>
            <a:prstGeom prst="rect">
              <a:avLst/>
            </a:prstGeom>
            <a:solidFill>
              <a:schemeClr val="accent2">
                <a:lumMod val="20000"/>
                <a:lumOff val="80000"/>
              </a:schemeClr>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rPr>
                <a:t>Reverse</a:t>
              </a: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rPr>
                <a:t>transcription</a:t>
              </a:r>
              <a:endParaRPr kumimoji="1" lang="zh-TW" altLang="en-US"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endParaRPr>
            </a:p>
          </p:txBody>
        </p:sp>
        <p:grpSp>
          <p:nvGrpSpPr>
            <p:cNvPr id="1287" name="群組 1286">
              <a:extLst>
                <a:ext uri="{FF2B5EF4-FFF2-40B4-BE49-F238E27FC236}">
                  <a16:creationId xmlns:a16="http://schemas.microsoft.com/office/drawing/2014/main" id="{5AED8FD8-9FF5-C44D-9665-536979C9ACAB}"/>
                </a:ext>
              </a:extLst>
            </p:cNvPr>
            <p:cNvGrpSpPr/>
            <p:nvPr/>
          </p:nvGrpSpPr>
          <p:grpSpPr>
            <a:xfrm rot="20662335">
              <a:off x="3103003" y="2877899"/>
              <a:ext cx="164226" cy="152969"/>
              <a:chOff x="18821400" y="11573124"/>
              <a:chExt cx="612000" cy="612000"/>
            </a:xfrm>
          </p:grpSpPr>
          <p:cxnSp>
            <p:nvCxnSpPr>
              <p:cNvPr id="1288" name="直線接點 1287">
                <a:extLst>
                  <a:ext uri="{FF2B5EF4-FFF2-40B4-BE49-F238E27FC236}">
                    <a16:creationId xmlns:a16="http://schemas.microsoft.com/office/drawing/2014/main" id="{14666DBA-3FC8-8940-BD96-B7D27B2F904D}"/>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9" name="直線接點 1288">
                <a:extLst>
                  <a:ext uri="{FF2B5EF4-FFF2-40B4-BE49-F238E27FC236}">
                    <a16:creationId xmlns:a16="http://schemas.microsoft.com/office/drawing/2014/main" id="{1DB302AB-26E4-794E-8032-F3A85F595318}"/>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291" name="文字方塊 1290">
              <a:extLst>
                <a:ext uri="{FF2B5EF4-FFF2-40B4-BE49-F238E27FC236}">
                  <a16:creationId xmlns:a16="http://schemas.microsoft.com/office/drawing/2014/main" id="{50E28BB4-05BA-384D-ADB4-32EAE3D43353}"/>
                </a:ext>
              </a:extLst>
            </p:cNvPr>
            <p:cNvSpPr txBox="1"/>
            <p:nvPr/>
          </p:nvSpPr>
          <p:spPr>
            <a:xfrm>
              <a:off x="7340902" y="727973"/>
              <a:ext cx="1801719"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Virion (Dane particle)</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sp>
          <p:nvSpPr>
            <p:cNvPr id="1292" name="文字方塊 1291">
              <a:extLst>
                <a:ext uri="{FF2B5EF4-FFF2-40B4-BE49-F238E27FC236}">
                  <a16:creationId xmlns:a16="http://schemas.microsoft.com/office/drawing/2014/main" id="{C53E7F1F-FEED-704A-89D9-2E1792961993}"/>
                </a:ext>
              </a:extLst>
            </p:cNvPr>
            <p:cNvSpPr txBox="1"/>
            <p:nvPr/>
          </p:nvSpPr>
          <p:spPr>
            <a:xfrm>
              <a:off x="1408972" y="1080648"/>
              <a:ext cx="1792897"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Virion (Dane particle)</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nvGrpSpPr>
            <p:cNvPr id="1293" name="群組 1292">
              <a:extLst>
                <a:ext uri="{FF2B5EF4-FFF2-40B4-BE49-F238E27FC236}">
                  <a16:creationId xmlns:a16="http://schemas.microsoft.com/office/drawing/2014/main" id="{E6FFE3D7-E292-224F-9BC1-01CC9F63A986}"/>
                </a:ext>
              </a:extLst>
            </p:cNvPr>
            <p:cNvGrpSpPr/>
            <p:nvPr/>
          </p:nvGrpSpPr>
          <p:grpSpPr>
            <a:xfrm>
              <a:off x="7735788" y="5364263"/>
              <a:ext cx="164226" cy="152969"/>
              <a:chOff x="18821400" y="11573124"/>
              <a:chExt cx="612000" cy="612000"/>
            </a:xfrm>
          </p:grpSpPr>
          <p:cxnSp>
            <p:nvCxnSpPr>
              <p:cNvPr id="1294" name="直線接點 1293">
                <a:extLst>
                  <a:ext uri="{FF2B5EF4-FFF2-40B4-BE49-F238E27FC236}">
                    <a16:creationId xmlns:a16="http://schemas.microsoft.com/office/drawing/2014/main" id="{72ED47D7-364A-084D-8719-FB65565D909D}"/>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95" name="直線接點 1294">
                <a:extLst>
                  <a:ext uri="{FF2B5EF4-FFF2-40B4-BE49-F238E27FC236}">
                    <a16:creationId xmlns:a16="http://schemas.microsoft.com/office/drawing/2014/main" id="{7E197C44-46EF-BD4F-95C1-054D5DECD837}"/>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01" name="群組 1300">
              <a:extLst>
                <a:ext uri="{FF2B5EF4-FFF2-40B4-BE49-F238E27FC236}">
                  <a16:creationId xmlns:a16="http://schemas.microsoft.com/office/drawing/2014/main" id="{B69C11EB-05BB-D74F-8E1D-9F0148F9B1F6}"/>
                </a:ext>
              </a:extLst>
            </p:cNvPr>
            <p:cNvGrpSpPr/>
            <p:nvPr/>
          </p:nvGrpSpPr>
          <p:grpSpPr>
            <a:xfrm rot="21439219">
              <a:off x="4514708" y="4667654"/>
              <a:ext cx="543250" cy="619995"/>
              <a:chOff x="18636344" y="11404498"/>
              <a:chExt cx="446505" cy="506162"/>
            </a:xfrm>
          </p:grpSpPr>
          <p:cxnSp>
            <p:nvCxnSpPr>
              <p:cNvPr id="1302" name="直線接點 1301">
                <a:extLst>
                  <a:ext uri="{FF2B5EF4-FFF2-40B4-BE49-F238E27FC236}">
                    <a16:creationId xmlns:a16="http://schemas.microsoft.com/office/drawing/2014/main" id="{EC7608EF-E8B4-9C4B-8A1C-3449B53110C0}"/>
                  </a:ext>
                </a:extLst>
              </p:cNvPr>
              <p:cNvCxnSpPr>
                <a:cxnSpLocks/>
              </p:cNvCxnSpPr>
              <p:nvPr/>
            </p:nvCxnSpPr>
            <p:spPr>
              <a:xfrm rot="160781">
                <a:off x="18636344" y="11407673"/>
                <a:ext cx="446505" cy="472254"/>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03" name="直線接點 1302">
                <a:extLst>
                  <a:ext uri="{FF2B5EF4-FFF2-40B4-BE49-F238E27FC236}">
                    <a16:creationId xmlns:a16="http://schemas.microsoft.com/office/drawing/2014/main" id="{6902E06A-E764-EB42-932E-E4A3B08381E4}"/>
                  </a:ext>
                </a:extLst>
              </p:cNvPr>
              <p:cNvCxnSpPr>
                <a:cxnSpLocks/>
              </p:cNvCxnSpPr>
              <p:nvPr/>
            </p:nvCxnSpPr>
            <p:spPr>
              <a:xfrm rot="160781" flipH="1">
                <a:off x="18650166" y="11404498"/>
                <a:ext cx="367280" cy="506162"/>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05" name="群組 1304">
              <a:extLst>
                <a:ext uri="{FF2B5EF4-FFF2-40B4-BE49-F238E27FC236}">
                  <a16:creationId xmlns:a16="http://schemas.microsoft.com/office/drawing/2014/main" id="{F474F6AE-E887-4946-90A9-D98065DBDB0E}"/>
                </a:ext>
              </a:extLst>
            </p:cNvPr>
            <p:cNvGrpSpPr/>
            <p:nvPr/>
          </p:nvGrpSpPr>
          <p:grpSpPr>
            <a:xfrm>
              <a:off x="7640851" y="2051984"/>
              <a:ext cx="164226" cy="152969"/>
              <a:chOff x="18821400" y="11573124"/>
              <a:chExt cx="612000" cy="612000"/>
            </a:xfrm>
          </p:grpSpPr>
          <p:cxnSp>
            <p:nvCxnSpPr>
              <p:cNvPr id="1306" name="直線接點 1305">
                <a:extLst>
                  <a:ext uri="{FF2B5EF4-FFF2-40B4-BE49-F238E27FC236}">
                    <a16:creationId xmlns:a16="http://schemas.microsoft.com/office/drawing/2014/main" id="{033C7395-E08B-214A-AB00-B9F07D9F0A58}"/>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07" name="直線接點 1306">
                <a:extLst>
                  <a:ext uri="{FF2B5EF4-FFF2-40B4-BE49-F238E27FC236}">
                    <a16:creationId xmlns:a16="http://schemas.microsoft.com/office/drawing/2014/main" id="{789A022C-9E60-ED4C-8C88-39E4B140D640}"/>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11" name="群組 1310">
              <a:extLst>
                <a:ext uri="{FF2B5EF4-FFF2-40B4-BE49-F238E27FC236}">
                  <a16:creationId xmlns:a16="http://schemas.microsoft.com/office/drawing/2014/main" id="{DEB7C80C-8767-AC4E-8D46-B3EE67BE6186}"/>
                </a:ext>
              </a:extLst>
            </p:cNvPr>
            <p:cNvGrpSpPr/>
            <p:nvPr/>
          </p:nvGrpSpPr>
          <p:grpSpPr>
            <a:xfrm>
              <a:off x="5832735" y="2055631"/>
              <a:ext cx="164226" cy="152969"/>
              <a:chOff x="18821400" y="11573124"/>
              <a:chExt cx="612000" cy="612000"/>
            </a:xfrm>
          </p:grpSpPr>
          <p:cxnSp>
            <p:nvCxnSpPr>
              <p:cNvPr id="1312" name="直線接點 1311">
                <a:extLst>
                  <a:ext uri="{FF2B5EF4-FFF2-40B4-BE49-F238E27FC236}">
                    <a16:creationId xmlns:a16="http://schemas.microsoft.com/office/drawing/2014/main" id="{2A60CAE3-29F4-6740-92EF-9BFE7294D9CD}"/>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3" name="直線接點 1312">
                <a:extLst>
                  <a:ext uri="{FF2B5EF4-FFF2-40B4-BE49-F238E27FC236}">
                    <a16:creationId xmlns:a16="http://schemas.microsoft.com/office/drawing/2014/main" id="{A853C41A-72C7-DA4A-9DCD-FAE679DE1AE2}"/>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315" name="群組 1314">
              <a:extLst>
                <a:ext uri="{FF2B5EF4-FFF2-40B4-BE49-F238E27FC236}">
                  <a16:creationId xmlns:a16="http://schemas.microsoft.com/office/drawing/2014/main" id="{F10CDAB4-E2FD-2D4A-9BFD-6EBD2A074687}"/>
                </a:ext>
              </a:extLst>
            </p:cNvPr>
            <p:cNvGrpSpPr/>
            <p:nvPr/>
          </p:nvGrpSpPr>
          <p:grpSpPr>
            <a:xfrm rot="21383259">
              <a:off x="2058368" y="4369698"/>
              <a:ext cx="164226" cy="152969"/>
              <a:chOff x="18821400" y="11573124"/>
              <a:chExt cx="612000" cy="612000"/>
            </a:xfrm>
          </p:grpSpPr>
          <p:cxnSp>
            <p:nvCxnSpPr>
              <p:cNvPr id="1316" name="直線接點 1315">
                <a:extLst>
                  <a:ext uri="{FF2B5EF4-FFF2-40B4-BE49-F238E27FC236}">
                    <a16:creationId xmlns:a16="http://schemas.microsoft.com/office/drawing/2014/main" id="{408C5404-969B-764E-9F72-99FE2B2FAE2C}"/>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17" name="直線接點 1316">
                <a:extLst>
                  <a:ext uri="{FF2B5EF4-FFF2-40B4-BE49-F238E27FC236}">
                    <a16:creationId xmlns:a16="http://schemas.microsoft.com/office/drawing/2014/main" id="{9D9BA56A-270A-AA43-8503-DC13CC0816C1}"/>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937" name="手繪多邊形 936">
              <a:extLst>
                <a:ext uri="{FF2B5EF4-FFF2-40B4-BE49-F238E27FC236}">
                  <a16:creationId xmlns:a16="http://schemas.microsoft.com/office/drawing/2014/main" id="{56630B64-D76B-D14F-87A9-E3F94886526B}"/>
                </a:ext>
              </a:extLst>
            </p:cNvPr>
            <p:cNvSpPr/>
            <p:nvPr/>
          </p:nvSpPr>
          <p:spPr>
            <a:xfrm rot="2740283">
              <a:off x="6867261" y="3061870"/>
              <a:ext cx="1477210" cy="407775"/>
            </a:xfrm>
            <a:custGeom>
              <a:avLst/>
              <a:gdLst>
                <a:gd name="connsiteX0" fmla="*/ 1191527 w 3858174"/>
                <a:gd name="connsiteY0" fmla="*/ 201781 h 1745902"/>
                <a:gd name="connsiteX1" fmla="*/ 1720917 w 3858174"/>
                <a:gd name="connsiteY1" fmla="*/ 9276 h 1745902"/>
                <a:gd name="connsiteX2" fmla="*/ 2089885 w 3858174"/>
                <a:gd name="connsiteY2" fmla="*/ 41360 h 1745902"/>
                <a:gd name="connsiteX3" fmla="*/ 1945506 w 3858174"/>
                <a:gd name="connsiteY3" fmla="*/ 137613 h 1745902"/>
                <a:gd name="connsiteX4" fmla="*/ 1769043 w 3858174"/>
                <a:gd name="connsiteY4" fmla="*/ 137613 h 1745902"/>
                <a:gd name="connsiteX5" fmla="*/ 1672790 w 3858174"/>
                <a:gd name="connsiteY5" fmla="*/ 169697 h 1745902"/>
                <a:gd name="connsiteX6" fmla="*/ 1897380 w 3858174"/>
                <a:gd name="connsiteY6" fmla="*/ 249908 h 1745902"/>
                <a:gd name="connsiteX7" fmla="*/ 2298432 w 3858174"/>
                <a:gd name="connsiteY7" fmla="*/ 121571 h 1745902"/>
                <a:gd name="connsiteX8" fmla="*/ 2603232 w 3858174"/>
                <a:gd name="connsiteY8" fmla="*/ 73444 h 1745902"/>
                <a:gd name="connsiteX9" fmla="*/ 2683443 w 3858174"/>
                <a:gd name="connsiteY9" fmla="*/ 217823 h 1745902"/>
                <a:gd name="connsiteX10" fmla="*/ 2426769 w 3858174"/>
                <a:gd name="connsiteY10" fmla="*/ 281992 h 1745902"/>
                <a:gd name="connsiteX11" fmla="*/ 2105927 w 3858174"/>
                <a:gd name="connsiteY11" fmla="*/ 346160 h 1745902"/>
                <a:gd name="connsiteX12" fmla="*/ 2057801 w 3858174"/>
                <a:gd name="connsiteY12" fmla="*/ 474497 h 1745902"/>
                <a:gd name="connsiteX13" fmla="*/ 2362601 w 3858174"/>
                <a:gd name="connsiteY13" fmla="*/ 426371 h 1745902"/>
                <a:gd name="connsiteX14" fmla="*/ 3020327 w 3858174"/>
                <a:gd name="connsiteY14" fmla="*/ 298034 h 1745902"/>
                <a:gd name="connsiteX15" fmla="*/ 3148664 w 3858174"/>
                <a:gd name="connsiteY15" fmla="*/ 426371 h 1745902"/>
                <a:gd name="connsiteX16" fmla="*/ 2346559 w 3858174"/>
                <a:gd name="connsiteY16" fmla="*/ 586792 h 1745902"/>
                <a:gd name="connsiteX17" fmla="*/ 2490938 w 3858174"/>
                <a:gd name="connsiteY17" fmla="*/ 699087 h 1745902"/>
                <a:gd name="connsiteX18" fmla="*/ 3373253 w 3858174"/>
                <a:gd name="connsiteY18" fmla="*/ 554708 h 1745902"/>
                <a:gd name="connsiteX19" fmla="*/ 3758264 w 3858174"/>
                <a:gd name="connsiteY19" fmla="*/ 554708 h 1745902"/>
                <a:gd name="connsiteX20" fmla="*/ 3822432 w 3858174"/>
                <a:gd name="connsiteY20" fmla="*/ 618876 h 1745902"/>
                <a:gd name="connsiteX21" fmla="*/ 3277001 w 3858174"/>
                <a:gd name="connsiteY21" fmla="*/ 747213 h 1745902"/>
                <a:gd name="connsiteX22" fmla="*/ 2699485 w 3858174"/>
                <a:gd name="connsiteY22" fmla="*/ 843465 h 1745902"/>
                <a:gd name="connsiteX23" fmla="*/ 2250306 w 3858174"/>
                <a:gd name="connsiteY23" fmla="*/ 939718 h 1745902"/>
                <a:gd name="connsiteX24" fmla="*/ 1367990 w 3858174"/>
                <a:gd name="connsiteY24" fmla="*/ 1372855 h 1745902"/>
                <a:gd name="connsiteX25" fmla="*/ 854643 w 3858174"/>
                <a:gd name="connsiteY25" fmla="*/ 1741823 h 1745902"/>
                <a:gd name="connsiteX26" fmla="*/ 870685 w 3858174"/>
                <a:gd name="connsiteY26" fmla="*/ 1549318 h 1745902"/>
                <a:gd name="connsiteX27" fmla="*/ 1351948 w 3858174"/>
                <a:gd name="connsiteY27" fmla="*/ 1228476 h 1745902"/>
                <a:gd name="connsiteX28" fmla="*/ 1063190 w 3858174"/>
                <a:gd name="connsiteY28" fmla="*/ 1260560 h 1745902"/>
                <a:gd name="connsiteX29" fmla="*/ 469632 w 3858174"/>
                <a:gd name="connsiteY29" fmla="*/ 1725781 h 1745902"/>
                <a:gd name="connsiteX30" fmla="*/ 469632 w 3858174"/>
                <a:gd name="connsiteY30" fmla="*/ 1517234 h 1745902"/>
                <a:gd name="connsiteX31" fmla="*/ 1191527 w 3858174"/>
                <a:gd name="connsiteY31" fmla="*/ 1052013 h 1745902"/>
                <a:gd name="connsiteX32" fmla="*/ 1560495 w 3858174"/>
                <a:gd name="connsiteY32" fmla="*/ 843465 h 1745902"/>
                <a:gd name="connsiteX33" fmla="*/ 1448201 w 3858174"/>
                <a:gd name="connsiteY33" fmla="*/ 731171 h 1745902"/>
                <a:gd name="connsiteX34" fmla="*/ 790474 w 3858174"/>
                <a:gd name="connsiteY34" fmla="*/ 1116181 h 1745902"/>
                <a:gd name="connsiteX35" fmla="*/ 453590 w 3858174"/>
                <a:gd name="connsiteY35" fmla="*/ 1212434 h 1745902"/>
                <a:gd name="connsiteX36" fmla="*/ 694222 w 3858174"/>
                <a:gd name="connsiteY36" fmla="*/ 1003887 h 1745902"/>
                <a:gd name="connsiteX37" fmla="*/ 1239653 w 3858174"/>
                <a:gd name="connsiteY37" fmla="*/ 715129 h 1745902"/>
                <a:gd name="connsiteX38" fmla="*/ 1191527 w 3858174"/>
                <a:gd name="connsiteY38" fmla="*/ 618876 h 1745902"/>
                <a:gd name="connsiteX39" fmla="*/ 742348 w 3858174"/>
                <a:gd name="connsiteY39" fmla="*/ 843465 h 1745902"/>
                <a:gd name="connsiteX40" fmla="*/ 646095 w 3858174"/>
                <a:gd name="connsiteY40" fmla="*/ 731171 h 1745902"/>
                <a:gd name="connsiteX41" fmla="*/ 1271738 w 3858174"/>
                <a:gd name="connsiteY41" fmla="*/ 474497 h 1745902"/>
                <a:gd name="connsiteX42" fmla="*/ 1127359 w 3858174"/>
                <a:gd name="connsiteY42" fmla="*/ 426371 h 1745902"/>
                <a:gd name="connsiteX43" fmla="*/ 164832 w 3858174"/>
                <a:gd name="connsiteY43" fmla="*/ 875550 h 1745902"/>
                <a:gd name="connsiteX44" fmla="*/ 100664 w 3858174"/>
                <a:gd name="connsiteY44" fmla="*/ 763255 h 1745902"/>
                <a:gd name="connsiteX45" fmla="*/ 1191527 w 3858174"/>
                <a:gd name="connsiteY45" fmla="*/ 201781 h 174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858174" h="1745902">
                  <a:moveTo>
                    <a:pt x="1191527" y="201781"/>
                  </a:moveTo>
                  <a:cubicBezTo>
                    <a:pt x="1461569" y="76118"/>
                    <a:pt x="1571191" y="36013"/>
                    <a:pt x="1720917" y="9276"/>
                  </a:cubicBezTo>
                  <a:cubicBezTo>
                    <a:pt x="1870643" y="-17461"/>
                    <a:pt x="2052454" y="19971"/>
                    <a:pt x="2089885" y="41360"/>
                  </a:cubicBezTo>
                  <a:cubicBezTo>
                    <a:pt x="2127316" y="62749"/>
                    <a:pt x="1998980" y="121571"/>
                    <a:pt x="1945506" y="137613"/>
                  </a:cubicBezTo>
                  <a:cubicBezTo>
                    <a:pt x="1892032" y="153655"/>
                    <a:pt x="1814496" y="132266"/>
                    <a:pt x="1769043" y="137613"/>
                  </a:cubicBezTo>
                  <a:cubicBezTo>
                    <a:pt x="1723590" y="142960"/>
                    <a:pt x="1651401" y="150981"/>
                    <a:pt x="1672790" y="169697"/>
                  </a:cubicBezTo>
                  <a:cubicBezTo>
                    <a:pt x="1694179" y="188413"/>
                    <a:pt x="1793106" y="257929"/>
                    <a:pt x="1897380" y="249908"/>
                  </a:cubicBezTo>
                  <a:cubicBezTo>
                    <a:pt x="2001654" y="241887"/>
                    <a:pt x="2180790" y="150982"/>
                    <a:pt x="2298432" y="121571"/>
                  </a:cubicBezTo>
                  <a:cubicBezTo>
                    <a:pt x="2416074" y="92160"/>
                    <a:pt x="2539064" y="57402"/>
                    <a:pt x="2603232" y="73444"/>
                  </a:cubicBezTo>
                  <a:cubicBezTo>
                    <a:pt x="2667400" y="89486"/>
                    <a:pt x="2712853" y="183065"/>
                    <a:pt x="2683443" y="217823"/>
                  </a:cubicBezTo>
                  <a:cubicBezTo>
                    <a:pt x="2654033" y="252581"/>
                    <a:pt x="2523022" y="260603"/>
                    <a:pt x="2426769" y="281992"/>
                  </a:cubicBezTo>
                  <a:cubicBezTo>
                    <a:pt x="2330516" y="303381"/>
                    <a:pt x="2167422" y="314076"/>
                    <a:pt x="2105927" y="346160"/>
                  </a:cubicBezTo>
                  <a:cubicBezTo>
                    <a:pt x="2044432" y="378244"/>
                    <a:pt x="2015022" y="461129"/>
                    <a:pt x="2057801" y="474497"/>
                  </a:cubicBezTo>
                  <a:cubicBezTo>
                    <a:pt x="2100580" y="487865"/>
                    <a:pt x="2202180" y="455781"/>
                    <a:pt x="2362601" y="426371"/>
                  </a:cubicBezTo>
                  <a:cubicBezTo>
                    <a:pt x="2523022" y="396961"/>
                    <a:pt x="2889317" y="298034"/>
                    <a:pt x="3020327" y="298034"/>
                  </a:cubicBezTo>
                  <a:cubicBezTo>
                    <a:pt x="3151337" y="298034"/>
                    <a:pt x="3260959" y="378245"/>
                    <a:pt x="3148664" y="426371"/>
                  </a:cubicBezTo>
                  <a:cubicBezTo>
                    <a:pt x="3036369" y="474497"/>
                    <a:pt x="2456180" y="541339"/>
                    <a:pt x="2346559" y="586792"/>
                  </a:cubicBezTo>
                  <a:cubicBezTo>
                    <a:pt x="2236938" y="632245"/>
                    <a:pt x="2319822" y="704434"/>
                    <a:pt x="2490938" y="699087"/>
                  </a:cubicBezTo>
                  <a:cubicBezTo>
                    <a:pt x="2662054" y="693740"/>
                    <a:pt x="3162032" y="578771"/>
                    <a:pt x="3373253" y="554708"/>
                  </a:cubicBezTo>
                  <a:cubicBezTo>
                    <a:pt x="3584474" y="530645"/>
                    <a:pt x="3683401" y="544013"/>
                    <a:pt x="3758264" y="554708"/>
                  </a:cubicBezTo>
                  <a:cubicBezTo>
                    <a:pt x="3833127" y="565403"/>
                    <a:pt x="3902642" y="586792"/>
                    <a:pt x="3822432" y="618876"/>
                  </a:cubicBezTo>
                  <a:cubicBezTo>
                    <a:pt x="3742222" y="650960"/>
                    <a:pt x="3464159" y="709782"/>
                    <a:pt x="3277001" y="747213"/>
                  </a:cubicBezTo>
                  <a:cubicBezTo>
                    <a:pt x="3089843" y="784644"/>
                    <a:pt x="2870601" y="811381"/>
                    <a:pt x="2699485" y="843465"/>
                  </a:cubicBezTo>
                  <a:cubicBezTo>
                    <a:pt x="2528369" y="875549"/>
                    <a:pt x="2472222" y="851486"/>
                    <a:pt x="2250306" y="939718"/>
                  </a:cubicBezTo>
                  <a:cubicBezTo>
                    <a:pt x="2028390" y="1027950"/>
                    <a:pt x="1600600" y="1239171"/>
                    <a:pt x="1367990" y="1372855"/>
                  </a:cubicBezTo>
                  <a:cubicBezTo>
                    <a:pt x="1135380" y="1506539"/>
                    <a:pt x="937527" y="1712413"/>
                    <a:pt x="854643" y="1741823"/>
                  </a:cubicBezTo>
                  <a:cubicBezTo>
                    <a:pt x="771759" y="1771233"/>
                    <a:pt x="787801" y="1634876"/>
                    <a:pt x="870685" y="1549318"/>
                  </a:cubicBezTo>
                  <a:cubicBezTo>
                    <a:pt x="953569" y="1463760"/>
                    <a:pt x="1319864" y="1276602"/>
                    <a:pt x="1351948" y="1228476"/>
                  </a:cubicBezTo>
                  <a:cubicBezTo>
                    <a:pt x="1384032" y="1180350"/>
                    <a:pt x="1210243" y="1177676"/>
                    <a:pt x="1063190" y="1260560"/>
                  </a:cubicBezTo>
                  <a:cubicBezTo>
                    <a:pt x="916137" y="1343444"/>
                    <a:pt x="568558" y="1683002"/>
                    <a:pt x="469632" y="1725781"/>
                  </a:cubicBezTo>
                  <a:cubicBezTo>
                    <a:pt x="370706" y="1768560"/>
                    <a:pt x="349316" y="1629529"/>
                    <a:pt x="469632" y="1517234"/>
                  </a:cubicBezTo>
                  <a:cubicBezTo>
                    <a:pt x="589948" y="1404939"/>
                    <a:pt x="1009717" y="1164308"/>
                    <a:pt x="1191527" y="1052013"/>
                  </a:cubicBezTo>
                  <a:cubicBezTo>
                    <a:pt x="1373337" y="939718"/>
                    <a:pt x="1517716" y="896939"/>
                    <a:pt x="1560495" y="843465"/>
                  </a:cubicBezTo>
                  <a:cubicBezTo>
                    <a:pt x="1603274" y="789991"/>
                    <a:pt x="1576538" y="685718"/>
                    <a:pt x="1448201" y="731171"/>
                  </a:cubicBezTo>
                  <a:cubicBezTo>
                    <a:pt x="1319864" y="776624"/>
                    <a:pt x="956242" y="1035971"/>
                    <a:pt x="790474" y="1116181"/>
                  </a:cubicBezTo>
                  <a:cubicBezTo>
                    <a:pt x="624705" y="1196392"/>
                    <a:pt x="469632" y="1231150"/>
                    <a:pt x="453590" y="1212434"/>
                  </a:cubicBezTo>
                  <a:cubicBezTo>
                    <a:pt x="437548" y="1193718"/>
                    <a:pt x="563211" y="1086771"/>
                    <a:pt x="694222" y="1003887"/>
                  </a:cubicBezTo>
                  <a:cubicBezTo>
                    <a:pt x="825233" y="921003"/>
                    <a:pt x="1156769" y="779297"/>
                    <a:pt x="1239653" y="715129"/>
                  </a:cubicBezTo>
                  <a:cubicBezTo>
                    <a:pt x="1322537" y="650961"/>
                    <a:pt x="1274411" y="597487"/>
                    <a:pt x="1191527" y="618876"/>
                  </a:cubicBezTo>
                  <a:cubicBezTo>
                    <a:pt x="1108643" y="640265"/>
                    <a:pt x="833253" y="824749"/>
                    <a:pt x="742348" y="843465"/>
                  </a:cubicBezTo>
                  <a:cubicBezTo>
                    <a:pt x="651443" y="862181"/>
                    <a:pt x="557863" y="792666"/>
                    <a:pt x="646095" y="731171"/>
                  </a:cubicBezTo>
                  <a:cubicBezTo>
                    <a:pt x="734327" y="669676"/>
                    <a:pt x="1191527" y="525297"/>
                    <a:pt x="1271738" y="474497"/>
                  </a:cubicBezTo>
                  <a:cubicBezTo>
                    <a:pt x="1351949" y="423697"/>
                    <a:pt x="1311843" y="359529"/>
                    <a:pt x="1127359" y="426371"/>
                  </a:cubicBezTo>
                  <a:cubicBezTo>
                    <a:pt x="942875" y="493213"/>
                    <a:pt x="335948" y="819403"/>
                    <a:pt x="164832" y="875550"/>
                  </a:cubicBezTo>
                  <a:cubicBezTo>
                    <a:pt x="-6284" y="931697"/>
                    <a:pt x="-70452" y="872876"/>
                    <a:pt x="100664" y="763255"/>
                  </a:cubicBezTo>
                  <a:cubicBezTo>
                    <a:pt x="271780" y="653634"/>
                    <a:pt x="921485" y="327444"/>
                    <a:pt x="1191527" y="201781"/>
                  </a:cubicBezTo>
                  <a:close/>
                </a:path>
              </a:pathLst>
            </a:custGeom>
            <a:gradFill>
              <a:gsLst>
                <a:gs pos="0">
                  <a:schemeClr val="accent4">
                    <a:lumMod val="20000"/>
                    <a:lumOff val="80000"/>
                  </a:schemeClr>
                </a:gs>
                <a:gs pos="49000">
                  <a:schemeClr val="accent2"/>
                </a:gs>
                <a:gs pos="99000">
                  <a:schemeClr val="accent4">
                    <a:lumMod val="60000"/>
                    <a:lumOff val="40000"/>
                  </a:schemeClr>
                </a:gs>
              </a:gsLst>
              <a:path path="circle">
                <a:fillToRect l="50000" t="50000" r="50000" b="50000"/>
              </a:path>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12" name="文字方塊 11">
              <a:extLst>
                <a:ext uri="{FF2B5EF4-FFF2-40B4-BE49-F238E27FC236}">
                  <a16:creationId xmlns:a16="http://schemas.microsoft.com/office/drawing/2014/main" id="{7948B568-0BAA-0140-B4A9-0888F8A93999}"/>
                </a:ext>
              </a:extLst>
            </p:cNvPr>
            <p:cNvSpPr txBox="1"/>
            <p:nvPr/>
          </p:nvSpPr>
          <p:spPr>
            <a:xfrm>
              <a:off x="7817033" y="3343069"/>
              <a:ext cx="759627"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Golgi</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cxnSp>
          <p:nvCxnSpPr>
            <p:cNvPr id="940" name="直線箭頭接點 939">
              <a:extLst>
                <a:ext uri="{FF2B5EF4-FFF2-40B4-BE49-F238E27FC236}">
                  <a16:creationId xmlns:a16="http://schemas.microsoft.com/office/drawing/2014/main" id="{3FCD10A5-C9AC-F34C-82ED-7A7812ED1959}"/>
                </a:ext>
              </a:extLst>
            </p:cNvPr>
            <p:cNvCxnSpPr>
              <a:cxnSpLocks/>
            </p:cNvCxnSpPr>
            <p:nvPr/>
          </p:nvCxnSpPr>
          <p:spPr>
            <a:xfrm flipV="1">
              <a:off x="7438142" y="3195340"/>
              <a:ext cx="307089" cy="32466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右大括弧 99">
              <a:extLst>
                <a:ext uri="{FF2B5EF4-FFF2-40B4-BE49-F238E27FC236}">
                  <a16:creationId xmlns:a16="http://schemas.microsoft.com/office/drawing/2014/main" id="{806D8EEF-9066-EC48-9BC0-E5A8595EA16B}"/>
                </a:ext>
              </a:extLst>
            </p:cNvPr>
            <p:cNvSpPr/>
            <p:nvPr/>
          </p:nvSpPr>
          <p:spPr>
            <a:xfrm rot="10800000" flipH="1">
              <a:off x="7338955" y="4778763"/>
              <a:ext cx="199351" cy="1264132"/>
            </a:xfrm>
            <a:prstGeom prst="righ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grpSp>
          <p:nvGrpSpPr>
            <p:cNvPr id="1278" name="群組 1277">
              <a:extLst>
                <a:ext uri="{FF2B5EF4-FFF2-40B4-BE49-F238E27FC236}">
                  <a16:creationId xmlns:a16="http://schemas.microsoft.com/office/drawing/2014/main" id="{DBBD921A-D106-7E4B-B35F-32AC435480B4}"/>
                </a:ext>
              </a:extLst>
            </p:cNvPr>
            <p:cNvGrpSpPr/>
            <p:nvPr/>
          </p:nvGrpSpPr>
          <p:grpSpPr>
            <a:xfrm rot="21418081">
              <a:off x="8230953" y="4484303"/>
              <a:ext cx="164226" cy="152969"/>
              <a:chOff x="18821400" y="11573124"/>
              <a:chExt cx="612000" cy="612000"/>
            </a:xfrm>
          </p:grpSpPr>
          <p:cxnSp>
            <p:nvCxnSpPr>
              <p:cNvPr id="1279" name="直線接點 1278">
                <a:extLst>
                  <a:ext uri="{FF2B5EF4-FFF2-40B4-BE49-F238E27FC236}">
                    <a16:creationId xmlns:a16="http://schemas.microsoft.com/office/drawing/2014/main" id="{E7EF653B-65B1-294F-8E64-0DECB00C2D04}"/>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280" name="直線接點 1279">
                <a:extLst>
                  <a:ext uri="{FF2B5EF4-FFF2-40B4-BE49-F238E27FC236}">
                    <a16:creationId xmlns:a16="http://schemas.microsoft.com/office/drawing/2014/main" id="{ECFF10E2-3C0A-524B-9A2B-C4A22D256637}"/>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7B162490-A387-4683-B451-F0AC36634E47}"/>
                </a:ext>
              </a:extLst>
            </p:cNvPr>
            <p:cNvCxnSpPr>
              <a:cxnSpLocks/>
            </p:cNvCxnSpPr>
            <p:nvPr/>
          </p:nvCxnSpPr>
          <p:spPr>
            <a:xfrm flipH="1">
              <a:off x="2363701" y="3721066"/>
              <a:ext cx="4516032" cy="1350483"/>
            </a:xfrm>
            <a:prstGeom prst="straightConnector1">
              <a:avLst/>
            </a:prstGeom>
            <a:ln w="571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584" name="文字方塊 583">
              <a:extLst>
                <a:ext uri="{FF2B5EF4-FFF2-40B4-BE49-F238E27FC236}">
                  <a16:creationId xmlns:a16="http://schemas.microsoft.com/office/drawing/2014/main" id="{F02660E0-EF03-4346-890E-16E190266D3D}"/>
                </a:ext>
              </a:extLst>
            </p:cNvPr>
            <p:cNvSpPr txBox="1"/>
            <p:nvPr/>
          </p:nvSpPr>
          <p:spPr>
            <a:xfrm rot="20487404">
              <a:off x="5312359" y="4018635"/>
              <a:ext cx="908093" cy="27634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zh-TW"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rPr>
                <a:t>recycling</a:t>
              </a:r>
              <a:endParaRPr kumimoji="1" lang="zh-TW" altLang="en-US" sz="889" b="1" i="1" u="none" strike="noStrike" kern="1200" cap="none" spc="0" normalizeH="0" baseline="0" noProof="0" dirty="0">
                <a:ln>
                  <a:noFill/>
                </a:ln>
                <a:solidFill>
                  <a:srgbClr val="002060"/>
                </a:solidFill>
                <a:effectLst/>
                <a:uLnTx/>
                <a:uFillTx/>
                <a:latin typeface="Arial" charset="0"/>
                <a:ea typeface="新細明體" panose="02020500000000000000" pitchFamily="18" charset="-120"/>
                <a:cs typeface="Arial" charset="0"/>
              </a:endParaRPr>
            </a:p>
          </p:txBody>
        </p:sp>
        <p:grpSp>
          <p:nvGrpSpPr>
            <p:cNvPr id="585" name="群組 584">
              <a:extLst>
                <a:ext uri="{FF2B5EF4-FFF2-40B4-BE49-F238E27FC236}">
                  <a16:creationId xmlns:a16="http://schemas.microsoft.com/office/drawing/2014/main" id="{2C2643A3-84DE-F84D-8ADC-930CC3D14FF8}"/>
                </a:ext>
              </a:extLst>
            </p:cNvPr>
            <p:cNvGrpSpPr/>
            <p:nvPr/>
          </p:nvGrpSpPr>
          <p:grpSpPr>
            <a:xfrm rot="20545823">
              <a:off x="5104784" y="4132937"/>
              <a:ext cx="164226" cy="152969"/>
              <a:chOff x="18821400" y="11573124"/>
              <a:chExt cx="612000" cy="612000"/>
            </a:xfrm>
          </p:grpSpPr>
          <p:cxnSp>
            <p:nvCxnSpPr>
              <p:cNvPr id="586" name="直線接點 585">
                <a:extLst>
                  <a:ext uri="{FF2B5EF4-FFF2-40B4-BE49-F238E27FC236}">
                    <a16:creationId xmlns:a16="http://schemas.microsoft.com/office/drawing/2014/main" id="{9923477B-F55A-914C-85C7-A14063FBB3CA}"/>
                  </a:ext>
                </a:extLst>
              </p:cNvPr>
              <p:cNvCxnSpPr>
                <a:cxnSpLocks/>
              </p:cNvCxnSpPr>
              <p:nvPr/>
            </p:nvCxnSpPr>
            <p:spPr>
              <a:xfrm>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87" name="直線接點 586">
                <a:extLst>
                  <a:ext uri="{FF2B5EF4-FFF2-40B4-BE49-F238E27FC236}">
                    <a16:creationId xmlns:a16="http://schemas.microsoft.com/office/drawing/2014/main" id="{D16B388C-E2FE-3045-BAFC-04629B167AAC}"/>
                  </a:ext>
                </a:extLst>
              </p:cNvPr>
              <p:cNvCxnSpPr>
                <a:cxnSpLocks/>
              </p:cNvCxnSpPr>
              <p:nvPr/>
            </p:nvCxnSpPr>
            <p:spPr>
              <a:xfrm flipH="1">
                <a:off x="18821400" y="11573124"/>
                <a:ext cx="612000" cy="612000"/>
              </a:xfrm>
              <a:prstGeom prst="line">
                <a:avLst/>
              </a:prstGeom>
              <a:ln w="1143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588" name="手繪多邊形 587">
              <a:extLst>
                <a:ext uri="{FF2B5EF4-FFF2-40B4-BE49-F238E27FC236}">
                  <a16:creationId xmlns:a16="http://schemas.microsoft.com/office/drawing/2014/main" id="{2C5AAAEE-C8F4-284A-9885-F6E1A8ED3ADA}"/>
                </a:ext>
              </a:extLst>
            </p:cNvPr>
            <p:cNvSpPr/>
            <p:nvPr/>
          </p:nvSpPr>
          <p:spPr>
            <a:xfrm rot="4181281">
              <a:off x="7133634" y="5505794"/>
              <a:ext cx="184777" cy="246339"/>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w="34925">
              <a:solidFill>
                <a:schemeClr val="accent6">
                  <a:lumMod val="75000"/>
                  <a:alpha val="9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89" name="手繪多邊形 588">
              <a:extLst>
                <a:ext uri="{FF2B5EF4-FFF2-40B4-BE49-F238E27FC236}">
                  <a16:creationId xmlns:a16="http://schemas.microsoft.com/office/drawing/2014/main" id="{1CC5D1F7-D8ED-A540-94A0-B3BB715257D6}"/>
                </a:ext>
              </a:extLst>
            </p:cNvPr>
            <p:cNvSpPr/>
            <p:nvPr/>
          </p:nvSpPr>
          <p:spPr>
            <a:xfrm rot="60000">
              <a:off x="6923008" y="5618864"/>
              <a:ext cx="195019" cy="233402"/>
            </a:xfrm>
            <a:custGeom>
              <a:avLst/>
              <a:gdLst>
                <a:gd name="connsiteX0" fmla="*/ 457200 w 482600"/>
                <a:gd name="connsiteY0" fmla="*/ 0 h 609600"/>
                <a:gd name="connsiteX1" fmla="*/ 0 w 482600"/>
                <a:gd name="connsiteY1" fmla="*/ 127000 h 609600"/>
                <a:gd name="connsiteX2" fmla="*/ 482600 w 482600"/>
                <a:gd name="connsiteY2" fmla="*/ 609600 h 609600"/>
                <a:gd name="connsiteX3" fmla="*/ 457200 w 482600"/>
                <a:gd name="connsiteY3" fmla="*/ 0 h 609600"/>
              </a:gdLst>
              <a:ahLst/>
              <a:cxnLst>
                <a:cxn ang="0">
                  <a:pos x="connsiteX0" y="connsiteY0"/>
                </a:cxn>
                <a:cxn ang="0">
                  <a:pos x="connsiteX1" y="connsiteY1"/>
                </a:cxn>
                <a:cxn ang="0">
                  <a:pos x="connsiteX2" y="connsiteY2"/>
                </a:cxn>
                <a:cxn ang="0">
                  <a:pos x="connsiteX3" y="connsiteY3"/>
                </a:cxn>
              </a:cxnLst>
              <a:rect l="l" t="t" r="r" b="b"/>
              <a:pathLst>
                <a:path w="482600" h="609600">
                  <a:moveTo>
                    <a:pt x="457200" y="0"/>
                  </a:moveTo>
                  <a:lnTo>
                    <a:pt x="0" y="127000"/>
                  </a:lnTo>
                  <a:lnTo>
                    <a:pt x="482600" y="609600"/>
                  </a:lnTo>
                  <a:lnTo>
                    <a:pt x="457200" y="0"/>
                  </a:lnTo>
                  <a:close/>
                </a:path>
              </a:pathLst>
            </a:custGeom>
            <a:solidFill>
              <a:schemeClr val="accent6">
                <a:lumMod val="75000"/>
                <a:alpha val="65000"/>
              </a:schemeClr>
            </a:solidFill>
            <a:ln w="34925">
              <a:solidFill>
                <a:schemeClr val="accent6">
                  <a:lumMod val="75000"/>
                  <a:alpha val="9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zh-TW" altLang="en-US" sz="197" b="1" i="0" u="none" strike="noStrike" kern="1200" cap="none" spc="0" normalizeH="0" baseline="0" noProof="0">
                <a:ln>
                  <a:noFill/>
                </a:ln>
                <a:solidFill>
                  <a:prstClr val="white"/>
                </a:solidFill>
                <a:effectLst/>
                <a:uLnTx/>
                <a:uFillTx/>
                <a:latin typeface="Calibri" panose="020F0502020204030204"/>
                <a:ea typeface="新細明體" panose="02020500000000000000" pitchFamily="18" charset="-120"/>
                <a:cs typeface="+mn-cs"/>
              </a:endParaRPr>
            </a:p>
          </p:txBody>
        </p:sp>
        <p:sp>
          <p:nvSpPr>
            <p:cNvPr id="590" name="文字方塊 445">
              <a:extLst>
                <a:ext uri="{FF2B5EF4-FFF2-40B4-BE49-F238E27FC236}">
                  <a16:creationId xmlns:a16="http://schemas.microsoft.com/office/drawing/2014/main" id="{1EBD8AE2-CA73-4F1C-9292-9E3F9CA9D996}"/>
                </a:ext>
              </a:extLst>
            </p:cNvPr>
            <p:cNvSpPr txBox="1"/>
            <p:nvPr/>
          </p:nvSpPr>
          <p:spPr>
            <a:xfrm>
              <a:off x="3585509" y="5088819"/>
              <a:ext cx="996213" cy="276348"/>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HBx</a:t>
              </a: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 mR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sp>
          <p:nvSpPr>
            <p:cNvPr id="591" name="文字方塊 446">
              <a:extLst>
                <a:ext uri="{FF2B5EF4-FFF2-40B4-BE49-F238E27FC236}">
                  <a16:creationId xmlns:a16="http://schemas.microsoft.com/office/drawing/2014/main" id="{3F6E2930-5AA6-4890-8ACC-F540DB03FC31}"/>
                </a:ext>
              </a:extLst>
            </p:cNvPr>
            <p:cNvSpPr txBox="1"/>
            <p:nvPr/>
          </p:nvSpPr>
          <p:spPr>
            <a:xfrm>
              <a:off x="3310569" y="4930998"/>
              <a:ext cx="1386571" cy="276348"/>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en-US" altLang="zh-TW" sz="889" b="1" i="0" u="none" strike="noStrike" kern="1200" cap="none" spc="0" normalizeH="0" baseline="0" noProof="0" dirty="0" err="1">
                  <a:ln>
                    <a:noFill/>
                  </a:ln>
                  <a:solidFill>
                    <a:prstClr val="black"/>
                  </a:solidFill>
                  <a:effectLst/>
                  <a:uLnTx/>
                  <a:uFillTx/>
                  <a:latin typeface="Arial" charset="0"/>
                  <a:ea typeface="新細明體" panose="02020500000000000000" pitchFamily="18" charset="-120"/>
                  <a:cs typeface="Arial" charset="0"/>
                </a:rPr>
                <a:t>preS</a:t>
              </a:r>
              <a:r>
                <a:rPr kumimoji="1" lang="en-US" altLang="zh-TW"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rPr>
                <a:t>/S mRNA</a:t>
              </a:r>
              <a:endParaRPr kumimoji="1" lang="zh-TW" altLang="en-US" sz="889" b="1" i="0" u="none" strike="noStrike" kern="1200" cap="none" spc="0" normalizeH="0" baseline="0" noProof="0" dirty="0">
                <a:ln>
                  <a:noFill/>
                </a:ln>
                <a:solidFill>
                  <a:prstClr val="black"/>
                </a:solidFill>
                <a:effectLst/>
                <a:uLnTx/>
                <a:uFillTx/>
                <a:latin typeface="Arial" charset="0"/>
                <a:ea typeface="新細明體" panose="02020500000000000000" pitchFamily="18" charset="-120"/>
                <a:cs typeface="Arial" charset="0"/>
              </a:endParaRPr>
            </a:p>
          </p:txBody>
        </p:sp>
      </p:grpSp>
      <p:sp>
        <p:nvSpPr>
          <p:cNvPr id="3" name="TextBox 2">
            <a:extLst>
              <a:ext uri="{FF2B5EF4-FFF2-40B4-BE49-F238E27FC236}">
                <a16:creationId xmlns:a16="http://schemas.microsoft.com/office/drawing/2014/main" id="{0D031EE6-E7B1-42C7-8963-DA8678D79219}"/>
              </a:ext>
            </a:extLst>
          </p:cNvPr>
          <p:cNvSpPr txBox="1"/>
          <p:nvPr/>
        </p:nvSpPr>
        <p:spPr>
          <a:xfrm>
            <a:off x="335143" y="159023"/>
            <a:ext cx="9704901" cy="46166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charset="0"/>
                <a:ea typeface="+mn-ea"/>
                <a:cs typeface="Arial" charset="0"/>
              </a:rPr>
              <a:t>HBV life cycle and sites of actions of new therapeutic approaches</a:t>
            </a:r>
            <a:endParaRPr kumimoji="0" lang="el-GR" sz="24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5" name="TextBox 4">
            <a:extLst>
              <a:ext uri="{FF2B5EF4-FFF2-40B4-BE49-F238E27FC236}">
                <a16:creationId xmlns:a16="http://schemas.microsoft.com/office/drawing/2014/main" id="{52591814-D899-4E01-A060-E26984BB8F43}"/>
              </a:ext>
            </a:extLst>
          </p:cNvPr>
          <p:cNvSpPr txBox="1"/>
          <p:nvPr/>
        </p:nvSpPr>
        <p:spPr>
          <a:xfrm>
            <a:off x="8435618" y="4523918"/>
            <a:ext cx="646331"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NAs</a:t>
            </a:r>
            <a:endParaRPr kumimoji="0" lang="el-GR" sz="18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8" name="TextBox 7">
            <a:extLst>
              <a:ext uri="{FF2B5EF4-FFF2-40B4-BE49-F238E27FC236}">
                <a16:creationId xmlns:a16="http://schemas.microsoft.com/office/drawing/2014/main" id="{420A9A66-A33E-47F6-B0CE-CAF6056B2E82}"/>
              </a:ext>
            </a:extLst>
          </p:cNvPr>
          <p:cNvSpPr txBox="1"/>
          <p:nvPr/>
        </p:nvSpPr>
        <p:spPr>
          <a:xfrm>
            <a:off x="2613628" y="1816597"/>
            <a:ext cx="1236236" cy="646331"/>
          </a:xfrm>
          <a:prstGeom prst="rect">
            <a:avLst/>
          </a:prstGeom>
          <a:noFill/>
          <a:ln w="28575">
            <a:solidFill>
              <a:srgbClr val="C00000"/>
            </a:solidFill>
          </a:ln>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Entry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inhibitors</a:t>
            </a:r>
            <a:endParaRPr kumimoji="0" lang="el-GR" sz="18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9" name="TextBox 8">
            <a:extLst>
              <a:ext uri="{FF2B5EF4-FFF2-40B4-BE49-F238E27FC236}">
                <a16:creationId xmlns:a16="http://schemas.microsoft.com/office/drawing/2014/main" id="{5DA4F85C-71D2-4DC6-AE82-E523A734F254}"/>
              </a:ext>
            </a:extLst>
          </p:cNvPr>
          <p:cNvSpPr txBox="1"/>
          <p:nvPr/>
        </p:nvSpPr>
        <p:spPr>
          <a:xfrm>
            <a:off x="0" y="5877272"/>
            <a:ext cx="1330813" cy="738664"/>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charset="0"/>
                <a:ea typeface="+mn-ea"/>
                <a:cs typeface="Arial" charset="0"/>
              </a:rPr>
              <a:t>CAMs: Capsi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charset="0"/>
                <a:ea typeface="+mn-ea"/>
                <a:cs typeface="Arial" charset="0"/>
              </a:rPr>
              <a:t>assembl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charset="0"/>
                <a:ea typeface="+mn-ea"/>
                <a:cs typeface="Arial" charset="0"/>
              </a:rPr>
              <a:t>modulators</a:t>
            </a:r>
            <a:endParaRPr kumimoji="0" lang="el-GR" sz="14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10" name="TextBox 9">
            <a:extLst>
              <a:ext uri="{FF2B5EF4-FFF2-40B4-BE49-F238E27FC236}">
                <a16:creationId xmlns:a16="http://schemas.microsoft.com/office/drawing/2014/main" id="{7D02B491-BEA5-49BB-8840-7812D15D1F75}"/>
              </a:ext>
            </a:extLst>
          </p:cNvPr>
          <p:cNvSpPr txBox="1"/>
          <p:nvPr/>
        </p:nvSpPr>
        <p:spPr>
          <a:xfrm>
            <a:off x="4149096" y="5601300"/>
            <a:ext cx="1479957" cy="646331"/>
          </a:xfrm>
          <a:prstGeom prst="rect">
            <a:avLst/>
          </a:prstGeom>
          <a:noFill/>
          <a:ln w="38100">
            <a:solidFill>
              <a:srgbClr val="C00000"/>
            </a:solidFill>
          </a:ln>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PMingLiU" panose="02020500000000000000" pitchFamily="18" charset="-120"/>
                <a:cs typeface="Arial" panose="020B0604020202020204" pitchFamily="34" charset="0"/>
              </a:rPr>
              <a:t>Translation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PMingLiU" panose="02020500000000000000" pitchFamily="18" charset="-120"/>
                <a:cs typeface="Arial" panose="020B0604020202020204" pitchFamily="34" charset="0"/>
              </a:rPr>
              <a:t>inhibitors</a:t>
            </a:r>
            <a:endParaRPr kumimoji="0" lang="el-GR" sz="2400" b="1" i="0" u="none" strike="noStrike" kern="1200" cap="none" spc="0" normalizeH="0" baseline="0" noProof="0" dirty="0">
              <a:ln>
                <a:noFill/>
              </a:ln>
              <a:solidFill>
                <a:srgbClr val="C00000"/>
              </a:solidFill>
              <a:effectLst/>
              <a:uLnTx/>
              <a:uFillTx/>
              <a:latin typeface="Arial" charset="0"/>
              <a:ea typeface="+mn-ea"/>
              <a:cs typeface="Arial" panose="020B0604020202020204" pitchFamily="34" charset="0"/>
            </a:endParaRPr>
          </a:p>
        </p:txBody>
      </p:sp>
      <p:sp>
        <p:nvSpPr>
          <p:cNvPr id="13" name="TextBox 12">
            <a:extLst>
              <a:ext uri="{FF2B5EF4-FFF2-40B4-BE49-F238E27FC236}">
                <a16:creationId xmlns:a16="http://schemas.microsoft.com/office/drawing/2014/main" id="{3FA76A23-ABD6-4303-A6A7-5CBBFD5CB403}"/>
              </a:ext>
            </a:extLst>
          </p:cNvPr>
          <p:cNvSpPr txBox="1"/>
          <p:nvPr/>
        </p:nvSpPr>
        <p:spPr>
          <a:xfrm>
            <a:off x="7564401" y="5666222"/>
            <a:ext cx="838691" cy="369332"/>
          </a:xfrm>
          <a:prstGeom prst="rect">
            <a:avLst/>
          </a:prstGeom>
          <a:noFill/>
          <a:ln w="38100">
            <a:solidFill>
              <a:srgbClr val="C00000"/>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CAMs</a:t>
            </a:r>
            <a:endParaRPr kumimoji="0" lang="el-GR" sz="18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592" name="TextBox 591">
            <a:extLst>
              <a:ext uri="{FF2B5EF4-FFF2-40B4-BE49-F238E27FC236}">
                <a16:creationId xmlns:a16="http://schemas.microsoft.com/office/drawing/2014/main" id="{339B7184-FE6A-4B39-9838-4EAF6EA14A57}"/>
              </a:ext>
            </a:extLst>
          </p:cNvPr>
          <p:cNvSpPr txBox="1"/>
          <p:nvPr/>
        </p:nvSpPr>
        <p:spPr>
          <a:xfrm>
            <a:off x="4792956" y="3859178"/>
            <a:ext cx="838691" cy="369332"/>
          </a:xfrm>
          <a:prstGeom prst="rect">
            <a:avLst/>
          </a:prstGeom>
          <a:noFill/>
          <a:ln w="38100">
            <a:solidFill>
              <a:srgbClr val="C00000"/>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CAMs</a:t>
            </a:r>
            <a:endParaRPr kumimoji="0" lang="el-GR" sz="18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593" name="TextBox 592">
            <a:extLst>
              <a:ext uri="{FF2B5EF4-FFF2-40B4-BE49-F238E27FC236}">
                <a16:creationId xmlns:a16="http://schemas.microsoft.com/office/drawing/2014/main" id="{4A3F1891-7F84-4B01-A455-4A0CB108B045}"/>
              </a:ext>
            </a:extLst>
          </p:cNvPr>
          <p:cNvSpPr txBox="1"/>
          <p:nvPr/>
        </p:nvSpPr>
        <p:spPr>
          <a:xfrm>
            <a:off x="1303598" y="4403020"/>
            <a:ext cx="838691" cy="369332"/>
          </a:xfrm>
          <a:prstGeom prst="rect">
            <a:avLst/>
          </a:prstGeom>
          <a:noFill/>
          <a:ln w="38100">
            <a:solidFill>
              <a:srgbClr val="C00000"/>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CAMs</a:t>
            </a:r>
            <a:endParaRPr kumimoji="0" lang="el-GR" sz="18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15" name="TextBox 14">
            <a:extLst>
              <a:ext uri="{FF2B5EF4-FFF2-40B4-BE49-F238E27FC236}">
                <a16:creationId xmlns:a16="http://schemas.microsoft.com/office/drawing/2014/main" id="{E276BD7B-F81B-43CD-A5C7-AD64FDFC8E5A}"/>
              </a:ext>
            </a:extLst>
          </p:cNvPr>
          <p:cNvSpPr txBox="1"/>
          <p:nvPr/>
        </p:nvSpPr>
        <p:spPr>
          <a:xfrm>
            <a:off x="8049988" y="1531212"/>
            <a:ext cx="1236236" cy="923330"/>
          </a:xfrm>
          <a:prstGeom prst="rect">
            <a:avLst/>
          </a:prstGeom>
          <a:noFill/>
          <a:ln w="38100">
            <a:solidFill>
              <a:srgbClr val="C00000"/>
            </a:solidFill>
          </a:ln>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HBsA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secre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Arial" charset="0"/>
                <a:ea typeface="+mn-ea"/>
                <a:cs typeface="Arial" charset="0"/>
              </a:rPr>
              <a:t>inhibitors</a:t>
            </a:r>
            <a:endParaRPr kumimoji="0" lang="el-GR" sz="18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16" name="TextBox 15">
            <a:extLst>
              <a:ext uri="{FF2B5EF4-FFF2-40B4-BE49-F238E27FC236}">
                <a16:creationId xmlns:a16="http://schemas.microsoft.com/office/drawing/2014/main" id="{6E7C523E-AA57-4869-B366-A8555296A938}"/>
              </a:ext>
            </a:extLst>
          </p:cNvPr>
          <p:cNvSpPr txBox="1"/>
          <p:nvPr/>
        </p:nvSpPr>
        <p:spPr>
          <a:xfrm>
            <a:off x="8955479" y="5949280"/>
            <a:ext cx="1289135" cy="738664"/>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charset="0"/>
                <a:ea typeface="+mn-ea"/>
                <a:cs typeface="Arial" charset="0"/>
              </a:rPr>
              <a:t>NA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charset="0"/>
                <a:ea typeface="+mn-ea"/>
                <a:cs typeface="Arial" charset="0"/>
              </a:rPr>
              <a:t>Nucleos(t)id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C00000"/>
                </a:solidFill>
                <a:effectLst/>
                <a:uLnTx/>
                <a:uFillTx/>
                <a:latin typeface="Arial" charset="0"/>
                <a:ea typeface="+mn-ea"/>
                <a:cs typeface="Arial" charset="0"/>
              </a:rPr>
              <a:t>analogues</a:t>
            </a:r>
            <a:endParaRPr kumimoji="0" lang="el-GR" sz="1400" b="1" i="0" u="none" strike="noStrike" kern="1200" cap="none" spc="0" normalizeH="0" baseline="0" noProof="0" dirty="0">
              <a:ln>
                <a:noFill/>
              </a:ln>
              <a:solidFill>
                <a:srgbClr val="C00000"/>
              </a:solidFill>
              <a:effectLst/>
              <a:uLnTx/>
              <a:uFillTx/>
              <a:latin typeface="Arial" charset="0"/>
              <a:ea typeface="+mn-ea"/>
              <a:cs typeface="Arial" charset="0"/>
            </a:endParaRPr>
          </a:p>
        </p:txBody>
      </p:sp>
      <p:sp>
        <p:nvSpPr>
          <p:cNvPr id="17" name="TextBox 16">
            <a:extLst>
              <a:ext uri="{FF2B5EF4-FFF2-40B4-BE49-F238E27FC236}">
                <a16:creationId xmlns:a16="http://schemas.microsoft.com/office/drawing/2014/main" id="{E1557FD0-9FB0-52F5-EA83-9007E505C857}"/>
              </a:ext>
            </a:extLst>
          </p:cNvPr>
          <p:cNvSpPr txBox="1"/>
          <p:nvPr/>
        </p:nvSpPr>
        <p:spPr>
          <a:xfrm>
            <a:off x="1903140" y="6525344"/>
            <a:ext cx="6651373"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dified from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Jeng</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J, Papatheodoridis GV, Lok ASF. Lancet 2023;401:1039-52.</a:t>
            </a:r>
            <a:endParaRPr kumimoji="0" lang="el-G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9" name="Straight Arrow Connector 18">
            <a:extLst>
              <a:ext uri="{FF2B5EF4-FFF2-40B4-BE49-F238E27FC236}">
                <a16:creationId xmlns:a16="http://schemas.microsoft.com/office/drawing/2014/main" id="{B7FB6BA7-2B5A-2FC3-AC4F-BBE7D430EDC1}"/>
              </a:ext>
            </a:extLst>
          </p:cNvPr>
          <p:cNvCxnSpPr>
            <a:cxnSpLocks/>
          </p:cNvCxnSpPr>
          <p:nvPr/>
        </p:nvCxnSpPr>
        <p:spPr>
          <a:xfrm>
            <a:off x="3241264" y="2347266"/>
            <a:ext cx="29811" cy="576304"/>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箭頭接點 456">
            <a:extLst>
              <a:ext uri="{FF2B5EF4-FFF2-40B4-BE49-F238E27FC236}">
                <a16:creationId xmlns:a16="http://schemas.microsoft.com/office/drawing/2014/main" id="{158F4B8A-95E5-C51E-3028-A8E2B3EEF904}"/>
              </a:ext>
            </a:extLst>
          </p:cNvPr>
          <p:cNvCxnSpPr>
            <a:cxnSpLocks/>
          </p:cNvCxnSpPr>
          <p:nvPr/>
        </p:nvCxnSpPr>
        <p:spPr>
          <a:xfrm flipV="1">
            <a:off x="3583912" y="5649936"/>
            <a:ext cx="719312" cy="255452"/>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65393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5 - Θέση περιεχομένου" descr="Dream future.jpg"/>
          <p:cNvPicPr>
            <a:picLocks noGrp="1" noChangeAspect="1"/>
          </p:cNvPicPr>
          <p:nvPr>
            <p:ph idx="1"/>
          </p:nvPr>
        </p:nvPicPr>
        <p:blipFill>
          <a:blip r:embed="rId2" cstate="print"/>
          <a:stretch>
            <a:fillRect/>
          </a:stretch>
        </p:blipFill>
        <p:spPr>
          <a:xfrm>
            <a:off x="2319083" y="512619"/>
            <a:ext cx="5567556" cy="5847207"/>
          </a:xfrm>
        </p:spPr>
      </p:pic>
    </p:spTree>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024442F9-BB85-4998-8CD1-D478B15A3B12}"/>
              </a:ext>
            </a:extLst>
          </p:cNvPr>
          <p:cNvSpPr>
            <a:spLocks noGrp="1" noChangeArrowheads="1"/>
          </p:cNvSpPr>
          <p:nvPr>
            <p:ph type="body" idx="1"/>
          </p:nvPr>
        </p:nvSpPr>
        <p:spPr>
          <a:xfrm>
            <a:off x="771525" y="2133600"/>
            <a:ext cx="8980488" cy="3962400"/>
          </a:xfrm>
        </p:spPr>
        <p:txBody>
          <a:bodyPr/>
          <a:lstStyle/>
          <a:p>
            <a:pPr algn="ctr">
              <a:buFontTx/>
              <a:buNone/>
            </a:pPr>
            <a:r>
              <a:rPr lang="el-GR" altLang="el-GR" sz="3600" b="1">
                <a:solidFill>
                  <a:schemeClr val="tx2"/>
                </a:solidFill>
              </a:rPr>
              <a:t>Χρόνια </a:t>
            </a:r>
            <a:r>
              <a:rPr lang="en-US" altLang="el-GR" sz="3600" b="1">
                <a:solidFill>
                  <a:schemeClr val="tx2"/>
                </a:solidFill>
              </a:rPr>
              <a:t>HBV </a:t>
            </a:r>
            <a:r>
              <a:rPr lang="el-GR" altLang="el-GR" sz="3600" b="1">
                <a:solidFill>
                  <a:schemeClr val="tx2"/>
                </a:solidFill>
              </a:rPr>
              <a:t>λοίμωξη &amp; Ανοσοκαταστολή</a:t>
            </a:r>
            <a:endParaRPr lang="en-US" altLang="el-GR" sz="3600" b="1">
              <a:solidFill>
                <a:schemeClr val="tx2"/>
              </a:solidFill>
            </a:endParaRPr>
          </a:p>
          <a:p>
            <a:pPr algn="ctr"/>
            <a:endParaRPr lang="el-GR" altLang="el-GR" sz="2400"/>
          </a:p>
        </p:txBody>
      </p:sp>
    </p:spTree>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8">
            <a:extLst>
              <a:ext uri="{FF2B5EF4-FFF2-40B4-BE49-F238E27FC236}">
                <a16:creationId xmlns:a16="http://schemas.microsoft.com/office/drawing/2014/main" id="{DF688DFB-E62A-4DC0-89FE-220DBF8759EF}"/>
              </a:ext>
            </a:extLst>
          </p:cNvPr>
          <p:cNvSpPr>
            <a:spLocks noChangeArrowheads="1"/>
          </p:cNvSpPr>
          <p:nvPr/>
        </p:nvSpPr>
        <p:spPr bwMode="auto">
          <a:xfrm>
            <a:off x="128934" y="327543"/>
            <a:ext cx="10120079" cy="2933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7153" tIns="38576" rIns="77153" bIns="38576" numCol="1" anchor="ctr" anchorCtr="0" compatLnSpc="1">
            <a:prstTxWarp prst="textNoShape">
              <a:avLst/>
            </a:prstTxWarp>
            <a:spAutoFit/>
          </a:bodyPr>
          <a:lstStyle/>
          <a:p>
            <a:pPr defTabSz="771571" eaLnBrk="0" hangingPunct="0"/>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Recommended</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Management</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in</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Patients</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who</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will</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be</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Receiving</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Immunosuppressive</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or</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Immunomodulatory</a:t>
            </a:r>
            <a:r>
              <a:rPr lang="en-US" altLang="el-GR" sz="1400" b="0" dirty="0">
                <a:solidFill>
                  <a:schemeClr val="accent1"/>
                </a:solidFill>
                <a:latin typeface="Arial" panose="020B0604020202020204" pitchFamily="34" charset="0"/>
                <a:ea typeface="Arial" panose="020B0604020202020204" pitchFamily="34" charset="0"/>
                <a:cs typeface="Arial" panose="020B0604020202020204" pitchFamily="34" charset="0"/>
              </a:rPr>
              <a:t> </a:t>
            </a:r>
            <a:r>
              <a:rPr lang="en-US" altLang="el-GR" sz="1400" dirty="0">
                <a:solidFill>
                  <a:schemeClr val="accent1"/>
                </a:solidFill>
                <a:latin typeface="Arial" panose="020B0604020202020204" pitchFamily="34" charset="0"/>
                <a:ea typeface="Arial" panose="020B0604020202020204" pitchFamily="34" charset="0"/>
                <a:cs typeface="Arial" panose="020B0604020202020204" pitchFamily="34" charset="0"/>
              </a:rPr>
              <a:t>Therapies </a:t>
            </a:r>
            <a:endParaRPr lang="en-US" altLang="el-GR" sz="1400" b="0" dirty="0">
              <a:solidFill>
                <a:schemeClr val="accent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487AB4EA-896E-4A46-B58F-4857EB4D0E96}"/>
              </a:ext>
            </a:extLst>
          </p:cNvPr>
          <p:cNvSpPr txBox="1"/>
          <p:nvPr/>
        </p:nvSpPr>
        <p:spPr>
          <a:xfrm>
            <a:off x="58447" y="5688737"/>
            <a:ext cx="10193482" cy="611962"/>
          </a:xfrm>
          <a:prstGeom prst="rect">
            <a:avLst/>
          </a:prstGeom>
          <a:noFill/>
        </p:spPr>
        <p:txBody>
          <a:bodyPr wrap="square" rtlCol="0">
            <a:spAutoFit/>
          </a:bodyPr>
          <a:lstStyle/>
          <a:p>
            <a:pPr defTabSz="771571" fontAlgn="auto">
              <a:spcBef>
                <a:spcPts val="0"/>
              </a:spcBef>
              <a:spcAft>
                <a:spcPts val="0"/>
              </a:spcAft>
            </a:pP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The risk of HBV reactivation (</a:t>
            </a:r>
            <a:r>
              <a:rPr lang="en-US" sz="844" b="0" dirty="0" err="1">
                <a:solidFill>
                  <a:prstClr val="black"/>
                </a:solidFill>
                <a:latin typeface="Arial" panose="020B0604020202020204" pitchFamily="34" charset="0"/>
                <a:ea typeface="Calibri" panose="020F0502020204030204" pitchFamily="34" charset="0"/>
                <a:cs typeface="Arial" panose="020B0604020202020204" pitchFamily="34" charset="0"/>
              </a:rPr>
              <a:t>HBVr</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was classified as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high</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intermediate</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and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low</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if the </a:t>
            </a:r>
            <a:r>
              <a:rPr lang="en-US" sz="844" b="0" dirty="0" err="1">
                <a:solidFill>
                  <a:prstClr val="black"/>
                </a:solidFill>
                <a:latin typeface="Arial" panose="020B0604020202020204" pitchFamily="34" charset="0"/>
                <a:ea typeface="Calibri" panose="020F0502020204030204" pitchFamily="34" charset="0"/>
                <a:cs typeface="Arial" panose="020B0604020202020204" pitchFamily="34" charset="0"/>
              </a:rPr>
              <a:t>HBVr</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rate in patients without nucleos(t)ide analogue (NA) prophylaxis was &gt;10%, 1-10% and &lt;1%, respectively. </a:t>
            </a:r>
          </a:p>
          <a:p>
            <a:pPr defTabSz="771571" fontAlgn="auto">
              <a:spcBef>
                <a:spcPts val="0"/>
              </a:spcBef>
              <a:spcAft>
                <a:spcPts val="0"/>
              </a:spcAft>
            </a:pP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The strength of evidence was considered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high</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H)</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if there were a) ≥3 available studies, b) a total of &gt;100 patients, and c) pooled </a:t>
            </a:r>
            <a:r>
              <a:rPr lang="en-US" sz="844" b="0" dirty="0" err="1">
                <a:solidFill>
                  <a:prstClr val="black"/>
                </a:solidFill>
                <a:latin typeface="Arial" panose="020B0604020202020204" pitchFamily="34" charset="0"/>
                <a:ea typeface="Calibri" panose="020F0502020204030204" pitchFamily="34" charset="0"/>
                <a:cs typeface="Arial" panose="020B0604020202020204" pitchFamily="34" charset="0"/>
              </a:rPr>
              <a:t>HBVr</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rate without significant heterogeneity;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moderate</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M)</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if two of the previous conditions were fulfilled;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low</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L)</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if one of the previous conditions was fulfilled; and </a:t>
            </a:r>
            <a:r>
              <a:rPr lang="en-US" sz="844" dirty="0">
                <a:solidFill>
                  <a:prstClr val="black"/>
                </a:solidFill>
                <a:latin typeface="Arial" panose="020B0604020202020204" pitchFamily="34" charset="0"/>
                <a:ea typeface="Calibri" panose="020F0502020204030204" pitchFamily="34" charset="0"/>
                <a:cs typeface="Arial" panose="020B0604020202020204" pitchFamily="34" charset="0"/>
              </a:rPr>
              <a:t>insufficient (I)</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if there were no available data. Categorization of </a:t>
            </a:r>
            <a:r>
              <a:rPr lang="en-US" sz="844" b="0" dirty="0" err="1">
                <a:solidFill>
                  <a:prstClr val="black"/>
                </a:solidFill>
                <a:latin typeface="Arial" panose="020B0604020202020204" pitchFamily="34" charset="0"/>
                <a:ea typeface="Calibri" panose="020F0502020204030204" pitchFamily="34" charset="0"/>
                <a:cs typeface="Arial" panose="020B0604020202020204" pitchFamily="34" charset="0"/>
              </a:rPr>
              <a:t>HBVr</a:t>
            </a:r>
            <a:r>
              <a:rPr lang="en-US" sz="844" b="0" dirty="0">
                <a:solidFill>
                  <a:prstClr val="black"/>
                </a:solidFill>
                <a:latin typeface="Arial" panose="020B0604020202020204" pitchFamily="34" charset="0"/>
                <a:ea typeface="Calibri" panose="020F0502020204030204" pitchFamily="34" charset="0"/>
                <a:cs typeface="Arial" panose="020B0604020202020204" pitchFamily="34" charset="0"/>
              </a:rPr>
              <a:t> risk and recommendations for drug classes with low-quality evidence should be considered provisional. *Long-term NA therapy is required in HBsAg+ patients who meet hepatitis B treatment indications.</a:t>
            </a:r>
            <a:endParaRPr lang="el-GR" sz="844" b="0"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940B4792-60F0-45A9-9F1D-C517FEF9A715}"/>
              </a:ext>
            </a:extLst>
          </p:cNvPr>
          <p:cNvSpPr txBox="1"/>
          <p:nvPr/>
        </p:nvSpPr>
        <p:spPr>
          <a:xfrm>
            <a:off x="1879229" y="893959"/>
            <a:ext cx="3283271" cy="274049"/>
          </a:xfrm>
          <a:prstGeom prst="rect">
            <a:avLst/>
          </a:prstGeom>
          <a:noFill/>
          <a:ln>
            <a:solidFill>
              <a:schemeClr val="tx1"/>
            </a:solidFill>
          </a:ln>
        </p:spPr>
        <p:txBody>
          <a:bodyPr wrap="none" rtlCol="0">
            <a:spAutoFit/>
          </a:bodyPr>
          <a:lstStyle/>
          <a:p>
            <a:pPr algn="ctr" defTabSz="771571" fontAlgn="auto">
              <a:spcBef>
                <a:spcPts val="0"/>
              </a:spcBef>
              <a:spcAft>
                <a:spcPts val="0"/>
              </a:spcAft>
            </a:pPr>
            <a:r>
              <a:rPr lang="en-US" sz="1181" dirty="0">
                <a:solidFill>
                  <a:srgbClr val="000000"/>
                </a:solidFill>
                <a:latin typeface="Arial" panose="020B0604020202020204" pitchFamily="34" charset="0"/>
                <a:ea typeface="Arial" panose="020B0604020202020204" pitchFamily="34" charset="0"/>
                <a:cs typeface="+mn-cs"/>
              </a:rPr>
              <a:t>Screen for HBsAg and anti-HBc</a:t>
            </a:r>
            <a:r>
              <a:rPr lang="en-US" sz="1181" spc="-4" dirty="0">
                <a:solidFill>
                  <a:srgbClr val="000000"/>
                </a:solidFill>
                <a:latin typeface="Arial" panose="020B0604020202020204" pitchFamily="34" charset="0"/>
                <a:ea typeface="Arial" panose="020B0604020202020204" pitchFamily="34" charset="0"/>
                <a:cs typeface="+mn-cs"/>
              </a:rPr>
              <a:t> </a:t>
            </a:r>
            <a:r>
              <a:rPr lang="en-US" sz="1181" dirty="0">
                <a:solidFill>
                  <a:srgbClr val="000000"/>
                </a:solidFill>
                <a:latin typeface="Arial" panose="020B0604020202020204" pitchFamily="34" charset="0"/>
                <a:ea typeface="Arial" panose="020B0604020202020204" pitchFamily="34" charset="0"/>
                <a:cs typeface="+mn-cs"/>
              </a:rPr>
              <a:t>± anti-HBs</a:t>
            </a:r>
            <a:r>
              <a:rPr lang="en-US" sz="1181" spc="-46" dirty="0">
                <a:solidFill>
                  <a:srgbClr val="000000"/>
                </a:solidFill>
                <a:latin typeface="Arial" panose="020B0604020202020204" pitchFamily="34" charset="0"/>
                <a:ea typeface="Arial" panose="020B0604020202020204" pitchFamily="34" charset="0"/>
                <a:cs typeface="+mn-cs"/>
              </a:rPr>
              <a:t> </a:t>
            </a:r>
            <a:endParaRPr lang="el-GR" sz="1181" dirty="0">
              <a:solidFill>
                <a:prstClr val="black"/>
              </a:solidFill>
              <a:latin typeface="Calibri" panose="020F0502020204030204"/>
              <a:cs typeface="+mn-cs"/>
            </a:endParaRPr>
          </a:p>
        </p:txBody>
      </p:sp>
      <p:sp>
        <p:nvSpPr>
          <p:cNvPr id="16" name="TextBox 15">
            <a:extLst>
              <a:ext uri="{FF2B5EF4-FFF2-40B4-BE49-F238E27FC236}">
                <a16:creationId xmlns:a16="http://schemas.microsoft.com/office/drawing/2014/main" id="{BD66018A-274A-40DD-A4EB-C35E1269C1AA}"/>
              </a:ext>
            </a:extLst>
          </p:cNvPr>
          <p:cNvSpPr txBox="1"/>
          <p:nvPr/>
        </p:nvSpPr>
        <p:spPr>
          <a:xfrm>
            <a:off x="7615888" y="884957"/>
            <a:ext cx="2504481" cy="27404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181" dirty="0">
                <a:solidFill>
                  <a:srgbClr val="000000"/>
                </a:solidFill>
                <a:latin typeface="Arial" panose="020B0604020202020204" pitchFamily="34" charset="0"/>
                <a:ea typeface="Arial" panose="020B0604020202020204" pitchFamily="34" charset="0"/>
                <a:cs typeface="Times New Roman" panose="02020603050405020304" pitchFamily="18" charset="0"/>
              </a:rPr>
              <a:t>Risk of </a:t>
            </a:r>
            <a:r>
              <a:rPr lang="en-US" sz="1181" dirty="0" err="1">
                <a:solidFill>
                  <a:srgbClr val="000000"/>
                </a:solidFill>
                <a:latin typeface="Arial" panose="020B0604020202020204" pitchFamily="34" charset="0"/>
                <a:ea typeface="Arial" panose="020B0604020202020204" pitchFamily="34" charset="0"/>
                <a:cs typeface="Times New Roman" panose="02020603050405020304" pitchFamily="18" charset="0"/>
              </a:rPr>
              <a:t>HBVr</a:t>
            </a:r>
            <a:r>
              <a:rPr lang="en-US" sz="1181" dirty="0">
                <a:solidFill>
                  <a:srgbClr val="000000"/>
                </a:solidFill>
                <a:latin typeface="Arial" panose="020B0604020202020204" pitchFamily="34" charset="0"/>
                <a:ea typeface="Arial" panose="020B0604020202020204" pitchFamily="34" charset="0"/>
                <a:cs typeface="Times New Roman" panose="02020603050405020304" pitchFamily="18" charset="0"/>
              </a:rPr>
              <a:t> / NA</a:t>
            </a:r>
            <a:r>
              <a:rPr lang="en-US" sz="1181" spc="-4" dirty="0">
                <a:solidFill>
                  <a:srgbClr val="000000"/>
                </a:solidFill>
                <a:latin typeface="Arial" panose="020B0604020202020204" pitchFamily="34" charset="0"/>
                <a:ea typeface="Arial" panose="020B0604020202020204" pitchFamily="34" charset="0"/>
                <a:cs typeface="Times New Roman" panose="02020603050405020304" pitchFamily="18" charset="0"/>
              </a:rPr>
              <a:t> </a:t>
            </a:r>
            <a:r>
              <a:rPr lang="en-US" sz="1181" dirty="0">
                <a:solidFill>
                  <a:srgbClr val="000000"/>
                </a:solidFill>
                <a:latin typeface="Arial" panose="020B0604020202020204" pitchFamily="34" charset="0"/>
                <a:ea typeface="Arial" panose="020B0604020202020204" pitchFamily="34" charset="0"/>
                <a:cs typeface="Times New Roman" panose="02020603050405020304" pitchFamily="18" charset="0"/>
              </a:rPr>
              <a:t>prophylaxis*</a:t>
            </a:r>
            <a:endParaRPr lang="el-GR" sz="1181"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17" name="TextBox 16">
            <a:extLst>
              <a:ext uri="{FF2B5EF4-FFF2-40B4-BE49-F238E27FC236}">
                <a16:creationId xmlns:a16="http://schemas.microsoft.com/office/drawing/2014/main" id="{ACA7F6DD-DEA3-44F6-A972-8DA963BF9CCE}"/>
              </a:ext>
            </a:extLst>
          </p:cNvPr>
          <p:cNvSpPr txBox="1"/>
          <p:nvPr/>
        </p:nvSpPr>
        <p:spPr>
          <a:xfrm>
            <a:off x="93518" y="1302747"/>
            <a:ext cx="3574879" cy="24820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dirty="0">
                <a:solidFill>
                  <a:srgbClr val="000000"/>
                </a:solidFill>
                <a:latin typeface="Arial" panose="020B0604020202020204" pitchFamily="34" charset="0"/>
                <a:ea typeface="Arial" panose="020B0604020202020204" pitchFamily="34" charset="0"/>
                <a:cs typeface="Times New Roman" panose="02020603050405020304" pitchFamily="18" charset="0"/>
              </a:rPr>
              <a:t>HBsAg+</a:t>
            </a:r>
            <a:endParaRPr lang="el-GR" sz="1013" b="0"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18" name="TextBox 17">
            <a:extLst>
              <a:ext uri="{FF2B5EF4-FFF2-40B4-BE49-F238E27FC236}">
                <a16:creationId xmlns:a16="http://schemas.microsoft.com/office/drawing/2014/main" id="{F18AEB5D-FFFA-4107-A995-63AC6C3054BA}"/>
              </a:ext>
            </a:extLst>
          </p:cNvPr>
          <p:cNvSpPr txBox="1"/>
          <p:nvPr/>
        </p:nvSpPr>
        <p:spPr>
          <a:xfrm>
            <a:off x="3814518" y="1301315"/>
            <a:ext cx="3620380" cy="24820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dirty="0">
                <a:solidFill>
                  <a:srgbClr val="000000"/>
                </a:solidFill>
                <a:latin typeface="Arial" panose="020B0604020202020204" pitchFamily="34" charset="0"/>
                <a:ea typeface="Arial" panose="020B0604020202020204" pitchFamily="34" charset="0"/>
                <a:cs typeface="Times New Roman" panose="02020603050405020304" pitchFamily="18" charset="0"/>
              </a:rPr>
              <a:t>HBsAg-/anti-HBc+</a:t>
            </a:r>
            <a:r>
              <a:rPr lang="en-US" sz="1013" b="0" dirty="0">
                <a:solidFill>
                  <a:srgbClr val="000000"/>
                </a:solidFill>
                <a:latin typeface="Arial" panose="020B0604020202020204" pitchFamily="34" charset="0"/>
                <a:ea typeface="Arial" panose="020B0604020202020204" pitchFamily="34" charset="0"/>
                <a:cs typeface="Times New Roman" panose="02020603050405020304" pitchFamily="18" charset="0"/>
              </a:rPr>
              <a:t> </a:t>
            </a:r>
            <a:r>
              <a:rPr lang="en-US" sz="1013" spc="-25" dirty="0">
                <a:solidFill>
                  <a:srgbClr val="000000"/>
                </a:solidFill>
                <a:latin typeface="Arial" panose="020B0604020202020204" pitchFamily="34" charset="0"/>
                <a:ea typeface="Arial" panose="020B0604020202020204" pitchFamily="34" charset="0"/>
                <a:cs typeface="Times New Roman" panose="02020603050405020304" pitchFamily="18" charset="0"/>
              </a:rPr>
              <a:t>(</a:t>
            </a:r>
            <a:r>
              <a:rPr lang="en-US" sz="1013" dirty="0">
                <a:solidFill>
                  <a:srgbClr val="000000"/>
                </a:solidFill>
                <a:latin typeface="Arial" panose="020B0604020202020204" pitchFamily="34" charset="0"/>
                <a:ea typeface="Arial" panose="020B0604020202020204" pitchFamily="34" charset="0"/>
                <a:cs typeface="Times New Roman" panose="02020603050405020304" pitchFamily="18" charset="0"/>
              </a:rPr>
              <a:t>anti-HBs+/-)</a:t>
            </a:r>
            <a:endParaRPr lang="el-GR" sz="1013" b="0" dirty="0">
              <a:solidFill>
                <a:prstClr val="black"/>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19" name="TextBox 18">
            <a:extLst>
              <a:ext uri="{FF2B5EF4-FFF2-40B4-BE49-F238E27FC236}">
                <a16:creationId xmlns:a16="http://schemas.microsoft.com/office/drawing/2014/main" id="{C5ECBCD9-C3CF-4051-A752-8DE1A786217E}"/>
              </a:ext>
            </a:extLst>
          </p:cNvPr>
          <p:cNvSpPr txBox="1"/>
          <p:nvPr/>
        </p:nvSpPr>
        <p:spPr>
          <a:xfrm>
            <a:off x="110790" y="1637255"/>
            <a:ext cx="3574879" cy="1651093"/>
          </a:xfrm>
          <a:prstGeom prst="rect">
            <a:avLst/>
          </a:prstGeom>
          <a:noFill/>
          <a:ln>
            <a:solidFill>
              <a:schemeClr val="tx1"/>
            </a:solidFill>
          </a:ln>
        </p:spPr>
        <p:txBody>
          <a:bodyPr wrap="square" rtlCol="0">
            <a:spAutoFit/>
          </a:bodyPr>
          <a:lstStyle/>
          <a:p>
            <a:pPr marR="56260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Immune check point inhibitors (M) </a:t>
            </a:r>
          </a:p>
          <a:p>
            <a:pPr marR="56260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Tyrosine kinase inhibitors (H) </a:t>
            </a:r>
          </a:p>
          <a:p>
            <a:pPr marR="56260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Cytokine inhibitors (M)</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algn="ctr" defTabSz="771571" fontAlgn="auto">
              <a:spcBef>
                <a:spcPts val="0"/>
              </a:spcBef>
              <a:spcAft>
                <a:spcPts val="0"/>
              </a:spcAft>
            </a:pPr>
            <a:r>
              <a:rPr lang="en-US" sz="1013" b="0" dirty="0">
                <a:solidFill>
                  <a:srgbClr val="202124"/>
                </a:solidFill>
                <a:latin typeface="Arial" panose="020B0604020202020204" pitchFamily="34" charset="0"/>
                <a:ea typeface="Arial" panose="020B0604020202020204" pitchFamily="34" charset="0"/>
                <a:cs typeface="Arial" panose="020B0604020202020204" pitchFamily="34" charset="0"/>
              </a:rPr>
              <a:t>CAR</a:t>
            </a:r>
            <a:r>
              <a:rPr lang="en-US" sz="1013" b="0" spc="-8" dirty="0">
                <a:solidFill>
                  <a:srgbClr val="202124"/>
                </a:solidFill>
                <a:latin typeface="Arial" panose="020B0604020202020204" pitchFamily="34" charset="0"/>
                <a:ea typeface="Arial" panose="020B0604020202020204" pitchFamily="34" charset="0"/>
                <a:cs typeface="Arial" panose="020B0604020202020204" pitchFamily="34" charset="0"/>
              </a:rPr>
              <a:t> </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T-cell immunotherapy (M</a:t>
            </a:r>
            <a:r>
              <a:rPr lang="en-US" sz="1013" b="0" spc="-34" dirty="0">
                <a:solidFill>
                  <a:srgbClr val="000000"/>
                </a:solidFill>
                <a:latin typeface="Arial" panose="020B0604020202020204" pitchFamily="34" charset="0"/>
                <a:ea typeface="Arial" panose="020B0604020202020204" pitchFamily="34" charset="0"/>
                <a:cs typeface="Arial" panose="020B0604020202020204" pitchFamily="34" charset="0"/>
              </a:rPr>
              <a:t>)</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Corticosteroids (dependent on dose &amp; duration)</a:t>
            </a:r>
            <a:r>
              <a:rPr lang="en-US" sz="1013" b="0" spc="-4"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M)</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marR="76728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Alkylating agents (L) </a:t>
            </a:r>
          </a:p>
          <a:p>
            <a:pPr marR="76728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Anti-proliferative agents (L)</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marR="23361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Calcineurin inhibitors (L) </a:t>
            </a:r>
          </a:p>
          <a:p>
            <a:pPr marR="233614"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Mammalian target of rapamycin</a:t>
            </a:r>
            <a:r>
              <a:rPr lang="en-US" sz="1013" b="0" spc="-4"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inhibitors (L)</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Janus kinase inhibitors (I</a:t>
            </a:r>
            <a:r>
              <a:rPr lang="en-US" sz="1013" b="0" spc="30" dirty="0">
                <a:solidFill>
                  <a:srgbClr val="000000"/>
                </a:solidFill>
                <a:latin typeface="Arial" panose="020B0604020202020204" pitchFamily="34" charset="0"/>
                <a:ea typeface="Arial" panose="020B0604020202020204" pitchFamily="34" charset="0"/>
                <a:cs typeface="Arial" panose="020B0604020202020204" pitchFamily="34" charset="0"/>
              </a:rPr>
              <a:t>)</a:t>
            </a:r>
            <a:endParaRPr lang="el-GR" sz="1013" b="0" dirty="0">
              <a:solidFill>
                <a:prstClr val="black"/>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4710A15D-C2CC-4541-BE02-0A7D2E9C89AE}"/>
              </a:ext>
            </a:extLst>
          </p:cNvPr>
          <p:cNvSpPr txBox="1"/>
          <p:nvPr/>
        </p:nvSpPr>
        <p:spPr>
          <a:xfrm>
            <a:off x="110791" y="3644047"/>
            <a:ext cx="3574879" cy="24820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T-cell depleting agents (L)</a:t>
            </a:r>
            <a:endParaRPr lang="el-GR" sz="1013" b="0" dirty="0">
              <a:solidFill>
                <a:prstClr val="black"/>
              </a:solidFill>
              <a:latin typeface="Calibri" panose="020F0502020204030204"/>
              <a:cs typeface="+mn-cs"/>
            </a:endParaRPr>
          </a:p>
        </p:txBody>
      </p:sp>
      <p:sp>
        <p:nvSpPr>
          <p:cNvPr id="26" name="TextBox 25">
            <a:extLst>
              <a:ext uri="{FF2B5EF4-FFF2-40B4-BE49-F238E27FC236}">
                <a16:creationId xmlns:a16="http://schemas.microsoft.com/office/drawing/2014/main" id="{D970DA82-2393-46E6-8462-0B4F1843DCAE}"/>
              </a:ext>
            </a:extLst>
          </p:cNvPr>
          <p:cNvSpPr txBox="1"/>
          <p:nvPr/>
        </p:nvSpPr>
        <p:spPr>
          <a:xfrm>
            <a:off x="3814515" y="2267109"/>
            <a:ext cx="3620379" cy="24820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Janus kinase inhibitors (L)</a:t>
            </a:r>
            <a:endParaRPr lang="el-GR" sz="1013" b="0" dirty="0">
              <a:solidFill>
                <a:prstClr val="black"/>
              </a:solidFill>
              <a:latin typeface="Calibri" panose="020F0502020204030204"/>
              <a:cs typeface="+mn-cs"/>
            </a:endParaRPr>
          </a:p>
        </p:txBody>
      </p:sp>
      <p:sp>
        <p:nvSpPr>
          <p:cNvPr id="32" name="TextBox 31">
            <a:extLst>
              <a:ext uri="{FF2B5EF4-FFF2-40B4-BE49-F238E27FC236}">
                <a16:creationId xmlns:a16="http://schemas.microsoft.com/office/drawing/2014/main" id="{428113F2-E0E3-41A1-9939-F60E230A9418}"/>
              </a:ext>
            </a:extLst>
          </p:cNvPr>
          <p:cNvSpPr txBox="1"/>
          <p:nvPr/>
        </p:nvSpPr>
        <p:spPr>
          <a:xfrm>
            <a:off x="3814514" y="3453932"/>
            <a:ext cx="3620380" cy="715837"/>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Cytokine inhibitors (M)</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algn="ctr" defTabSz="771571" fontAlgn="auto">
              <a:spcBef>
                <a:spcPts val="0"/>
              </a:spcBef>
              <a:spcAft>
                <a:spcPts val="0"/>
              </a:spcAft>
            </a:pPr>
            <a:r>
              <a:rPr lang="en-US" sz="1013" b="0" dirty="0">
                <a:solidFill>
                  <a:srgbClr val="202124"/>
                </a:solidFill>
                <a:latin typeface="Arial" panose="020B0604020202020204" pitchFamily="34" charset="0"/>
                <a:ea typeface="Arial" panose="020B0604020202020204" pitchFamily="34" charset="0"/>
                <a:cs typeface="Arial" panose="020B0604020202020204" pitchFamily="34" charset="0"/>
              </a:rPr>
              <a:t>Chimeric antigen receptor </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T-cell immunotherapy (M)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Corticosteroids (dependent on dose &amp; du</a:t>
            </a:r>
            <a:r>
              <a:rPr lang="en-US" sz="1013" b="0" spc="-4" dirty="0">
                <a:solidFill>
                  <a:srgbClr val="000000"/>
                </a:solidFill>
                <a:latin typeface="Arial" panose="020B0604020202020204" pitchFamily="34" charset="0"/>
                <a:ea typeface="Arial" panose="020B0604020202020204" pitchFamily="34" charset="0"/>
                <a:cs typeface="Arial" panose="020B0604020202020204" pitchFamily="34" charset="0"/>
              </a:rPr>
              <a:t>r</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ation) (M)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Calcineurin inhibitors (L)</a:t>
            </a:r>
            <a:endParaRPr lang="el-GR" sz="1013" b="0" dirty="0">
              <a:solidFill>
                <a:prstClr val="black"/>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55E7B788-1003-4DA1-8C5D-AC3654C6D368}"/>
              </a:ext>
            </a:extLst>
          </p:cNvPr>
          <p:cNvSpPr txBox="1"/>
          <p:nvPr/>
        </p:nvSpPr>
        <p:spPr>
          <a:xfrm>
            <a:off x="3814513" y="4334357"/>
            <a:ext cx="3620380" cy="102758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Anti-TNF agents (H</a:t>
            </a:r>
            <a:r>
              <a:rPr lang="en-US" sz="1013" b="0" spc="13" dirty="0">
                <a:solidFill>
                  <a:srgbClr val="000000"/>
                </a:solidFill>
                <a:latin typeface="Arial" panose="020B0604020202020204" pitchFamily="34" charset="0"/>
                <a:ea typeface="Arial" panose="020B0604020202020204" pitchFamily="34" charset="0"/>
                <a:cs typeface="+mn-cs"/>
              </a:rPr>
              <a:t>)</a:t>
            </a:r>
            <a:r>
              <a:rPr lang="en-US" sz="1013" b="0" dirty="0">
                <a:solidFill>
                  <a:srgbClr val="000000"/>
                </a:solidFill>
                <a:latin typeface="Arial" panose="020B0604020202020204" pitchFamily="34" charset="0"/>
                <a:ea typeface="Arial" panose="020B0604020202020204" pitchFamily="34" charset="0"/>
                <a:cs typeface="+mn-cs"/>
              </a:rPr>
              <a:t>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Immune check point inhibitors (H)</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Tyrosine kinase inhibitors (L)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T-cell depleting agents (L)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Anti-proliferative agents (L)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Alkylating agents (L</a:t>
            </a:r>
            <a:endParaRPr lang="el-GR" sz="1013" b="0" dirty="0">
              <a:solidFill>
                <a:prstClr val="black"/>
              </a:solidFill>
              <a:latin typeface="Calibri" panose="020F0502020204030204"/>
              <a:cs typeface="+mn-cs"/>
            </a:endParaRPr>
          </a:p>
        </p:txBody>
      </p:sp>
      <p:sp>
        <p:nvSpPr>
          <p:cNvPr id="39" name="TextBox 38">
            <a:extLst>
              <a:ext uri="{FF2B5EF4-FFF2-40B4-BE49-F238E27FC236}">
                <a16:creationId xmlns:a16="http://schemas.microsoft.com/office/drawing/2014/main" id="{9C27BCAB-1B8D-4867-BE02-1A1AB0E93AC7}"/>
              </a:ext>
            </a:extLst>
          </p:cNvPr>
          <p:cNvSpPr txBox="1"/>
          <p:nvPr/>
        </p:nvSpPr>
        <p:spPr>
          <a:xfrm>
            <a:off x="3814514" y="5431064"/>
            <a:ext cx="3620379" cy="248209"/>
          </a:xfrm>
          <a:prstGeom prst="rect">
            <a:avLst/>
          </a:prstGeom>
          <a:noFill/>
          <a:ln>
            <a:solidFill>
              <a:schemeClr val="tx1"/>
            </a:solidFill>
          </a:ln>
        </p:spPr>
        <p:txBody>
          <a:bodyPr wrap="square" rtlCol="0">
            <a:spAutoFit/>
          </a:bodyPr>
          <a:lstStyle/>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Mammalian target of rapamycin</a:t>
            </a:r>
            <a:r>
              <a:rPr lang="en-US" sz="1013" b="0" spc="-4" dirty="0">
                <a:solidFill>
                  <a:srgbClr val="000000"/>
                </a:solidFill>
                <a:latin typeface="Arial" panose="020B0604020202020204" pitchFamily="34" charset="0"/>
                <a:ea typeface="Arial" panose="020B0604020202020204" pitchFamily="34" charset="0"/>
                <a:cs typeface="+mn-cs"/>
              </a:rPr>
              <a:t> </a:t>
            </a:r>
            <a:r>
              <a:rPr lang="en-US" sz="1013" b="0" dirty="0">
                <a:solidFill>
                  <a:srgbClr val="000000"/>
                </a:solidFill>
                <a:latin typeface="Arial" panose="020B0604020202020204" pitchFamily="34" charset="0"/>
                <a:ea typeface="Arial" panose="020B0604020202020204" pitchFamily="34" charset="0"/>
                <a:cs typeface="+mn-cs"/>
              </a:rPr>
              <a:t>inhibitors</a:t>
            </a:r>
            <a:endParaRPr lang="el-GR" sz="1013" b="0" dirty="0">
              <a:solidFill>
                <a:prstClr val="black"/>
              </a:solidFill>
              <a:latin typeface="Calibri" panose="020F0502020204030204"/>
              <a:cs typeface="+mn-cs"/>
            </a:endParaRPr>
          </a:p>
        </p:txBody>
      </p:sp>
      <p:sp>
        <p:nvSpPr>
          <p:cNvPr id="40" name="TextBox 39">
            <a:extLst>
              <a:ext uri="{FF2B5EF4-FFF2-40B4-BE49-F238E27FC236}">
                <a16:creationId xmlns:a16="http://schemas.microsoft.com/office/drawing/2014/main" id="{57AED7B0-9AD4-4EF7-B441-025F4D57A566}"/>
              </a:ext>
            </a:extLst>
          </p:cNvPr>
          <p:cNvSpPr txBox="1"/>
          <p:nvPr/>
        </p:nvSpPr>
        <p:spPr>
          <a:xfrm>
            <a:off x="7615888" y="2160299"/>
            <a:ext cx="2504481" cy="404085"/>
          </a:xfrm>
          <a:prstGeom prst="rect">
            <a:avLst/>
          </a:prstGeom>
          <a:solidFill>
            <a:schemeClr val="accent4"/>
          </a:solidFill>
        </p:spPr>
        <p:txBody>
          <a:bodyPr wrap="square" rtlCol="0">
            <a:spAutoFit/>
          </a:bodyPr>
          <a:lstStyle/>
          <a:p>
            <a:pPr algn="ctr" defTabSz="771571" fontAlgn="auto">
              <a:spcBef>
                <a:spcPts val="0"/>
              </a:spcBef>
              <a:spcAft>
                <a:spcPts val="0"/>
              </a:spcAft>
            </a:pPr>
            <a:r>
              <a:rPr lang="en-US" sz="1013" u="sng" dirty="0">
                <a:solidFill>
                  <a:srgbClr val="000000"/>
                </a:solidFill>
                <a:latin typeface="Arial" panose="020B0604020202020204" pitchFamily="34" charset="0"/>
                <a:ea typeface="Arial" panose="020B0604020202020204" pitchFamily="34" charset="0"/>
                <a:cs typeface="+mn-cs"/>
              </a:rPr>
              <a:t>High risk of </a:t>
            </a:r>
            <a:r>
              <a:rPr lang="en-US" sz="1013" u="sng" dirty="0" err="1">
                <a:solidFill>
                  <a:srgbClr val="000000"/>
                </a:solidFill>
                <a:latin typeface="Arial" panose="020B0604020202020204" pitchFamily="34" charset="0"/>
                <a:ea typeface="Arial" panose="020B0604020202020204" pitchFamily="34" charset="0"/>
                <a:cs typeface="+mn-cs"/>
              </a:rPr>
              <a:t>HBVr</a:t>
            </a:r>
            <a:r>
              <a:rPr lang="en-US" sz="1013" b="0" dirty="0">
                <a:solidFill>
                  <a:srgbClr val="000000"/>
                </a:solidFill>
                <a:latin typeface="Arial" panose="020B0604020202020204" pitchFamily="34" charset="0"/>
                <a:ea typeface="Arial" panose="020B0604020202020204" pitchFamily="34" charset="0"/>
                <a:cs typeface="+mn-cs"/>
              </a:rPr>
              <a:t>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NA prophylaxis</a:t>
            </a:r>
            <a:endParaRPr lang="el-GR" sz="1013" b="0" dirty="0">
              <a:solidFill>
                <a:prstClr val="black"/>
              </a:solidFill>
              <a:latin typeface="Calibri" panose="020F0502020204030204"/>
              <a:cs typeface="+mn-cs"/>
            </a:endParaRPr>
          </a:p>
        </p:txBody>
      </p:sp>
      <p:sp>
        <p:nvSpPr>
          <p:cNvPr id="41" name="TextBox 40">
            <a:extLst>
              <a:ext uri="{FF2B5EF4-FFF2-40B4-BE49-F238E27FC236}">
                <a16:creationId xmlns:a16="http://schemas.microsoft.com/office/drawing/2014/main" id="{EECC48E8-EEBC-4B55-8D36-5197B2456040}"/>
              </a:ext>
            </a:extLst>
          </p:cNvPr>
          <p:cNvSpPr txBox="1"/>
          <p:nvPr/>
        </p:nvSpPr>
        <p:spPr>
          <a:xfrm>
            <a:off x="7615888" y="3368590"/>
            <a:ext cx="2504481" cy="871713"/>
          </a:xfrm>
          <a:prstGeom prst="rect">
            <a:avLst/>
          </a:prstGeom>
          <a:solidFill>
            <a:srgbClr val="FFFF00"/>
          </a:solidFill>
          <a:ln>
            <a:solidFill>
              <a:schemeClr val="tx1"/>
            </a:solidFill>
          </a:ln>
        </p:spPr>
        <p:txBody>
          <a:bodyPr wrap="square" rtlCol="0">
            <a:spAutoFit/>
          </a:bodyPr>
          <a:lstStyle/>
          <a:p>
            <a:pPr marL="234686" marR="298448" algn="ctr" defTabSz="771571" fontAlgn="auto">
              <a:spcBef>
                <a:spcPts val="0"/>
              </a:spcBef>
              <a:spcAft>
                <a:spcPts val="0"/>
              </a:spcAft>
            </a:pPr>
            <a:r>
              <a:rPr lang="en-US" sz="1013" u="sng" dirty="0">
                <a:solidFill>
                  <a:srgbClr val="000000"/>
                </a:solidFill>
                <a:latin typeface="Arial" panose="020B0604020202020204" pitchFamily="34" charset="0"/>
                <a:ea typeface="Arial" panose="020B0604020202020204" pitchFamily="34" charset="0"/>
                <a:cs typeface="Arial" panose="020B0604020202020204" pitchFamily="34" charset="0"/>
              </a:rPr>
              <a:t>Intermediate risk of </a:t>
            </a:r>
            <a:r>
              <a:rPr lang="en-US" sz="1013" u="sng" dirty="0" err="1">
                <a:solidFill>
                  <a:srgbClr val="000000"/>
                </a:solidFill>
                <a:latin typeface="Arial" panose="020B0604020202020204" pitchFamily="34" charset="0"/>
                <a:ea typeface="Arial" panose="020B0604020202020204" pitchFamily="34" charset="0"/>
                <a:cs typeface="Arial" panose="020B0604020202020204" pitchFamily="34" charset="0"/>
              </a:rPr>
              <a:t>HBVr</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 </a:t>
            </a:r>
          </a:p>
          <a:p>
            <a:pPr marL="234686" marR="298448"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NA prophylaxis or</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marR="77693"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Monitoring of ALT ± HBV DNA</a:t>
            </a:r>
            <a:r>
              <a:rPr lang="en-US" sz="1013" b="0" spc="-4"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and/or HBsAg (for HBsAg- patients) and</a:t>
            </a:r>
            <a:r>
              <a:rPr lang="en-US" sz="1013" b="0" spc="907" dirty="0">
                <a:solidFill>
                  <a:srgbClr val="000000"/>
                </a:solidFill>
                <a:latin typeface="Arial" panose="020B0604020202020204" pitchFamily="34" charset="0"/>
                <a:ea typeface="Arial" panose="020B0604020202020204" pitchFamily="34" charset="0"/>
                <a:cs typeface="Arial" panose="020B0604020202020204" pitchFamily="34" charset="0"/>
              </a:rPr>
              <a:t>  </a:t>
            </a:r>
            <a:r>
              <a:rPr lang="en-US" sz="1013" b="0" dirty="0">
                <a:solidFill>
                  <a:srgbClr val="000000"/>
                </a:solidFill>
                <a:latin typeface="Arial" panose="020B0604020202020204" pitchFamily="34" charset="0"/>
                <a:ea typeface="Arial" panose="020B0604020202020204" pitchFamily="34" charset="0"/>
                <a:cs typeface="Arial" panose="020B0604020202020204" pitchFamily="34" charset="0"/>
              </a:rPr>
              <a:t>on-demand NA upon </a:t>
            </a:r>
            <a:r>
              <a:rPr lang="en-US" sz="1013" b="0" dirty="0" err="1">
                <a:solidFill>
                  <a:srgbClr val="000000"/>
                </a:solidFill>
                <a:latin typeface="Arial" panose="020B0604020202020204" pitchFamily="34" charset="0"/>
                <a:ea typeface="Arial" panose="020B0604020202020204" pitchFamily="34" charset="0"/>
                <a:cs typeface="Arial" panose="020B0604020202020204" pitchFamily="34" charset="0"/>
              </a:rPr>
              <a:t>HBVr</a:t>
            </a:r>
            <a:endParaRPr lang="el-GR" sz="1013" b="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p:txBody>
      </p:sp>
      <p:cxnSp>
        <p:nvCxnSpPr>
          <p:cNvPr id="43" name="Straight Connector 42">
            <a:extLst>
              <a:ext uri="{FF2B5EF4-FFF2-40B4-BE49-F238E27FC236}">
                <a16:creationId xmlns:a16="http://schemas.microsoft.com/office/drawing/2014/main" id="{877FBD23-185F-4C5F-B591-40C95B5FB23F}"/>
              </a:ext>
            </a:extLst>
          </p:cNvPr>
          <p:cNvCxnSpPr/>
          <p:nvPr/>
        </p:nvCxnSpPr>
        <p:spPr>
          <a:xfrm flipV="1">
            <a:off x="0" y="3316349"/>
            <a:ext cx="10287000" cy="451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F3AD595-7CF9-4D10-99EF-2A8B828F88D5}"/>
              </a:ext>
            </a:extLst>
          </p:cNvPr>
          <p:cNvCxnSpPr/>
          <p:nvPr/>
        </p:nvCxnSpPr>
        <p:spPr>
          <a:xfrm flipV="1">
            <a:off x="20153" y="4260798"/>
            <a:ext cx="10287000" cy="451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A19DB3F-9403-4F72-9ECC-EDB8D349474E}"/>
              </a:ext>
            </a:extLst>
          </p:cNvPr>
          <p:cNvCxnSpPr/>
          <p:nvPr/>
        </p:nvCxnSpPr>
        <p:spPr>
          <a:xfrm flipV="1">
            <a:off x="-3227" y="5369315"/>
            <a:ext cx="10287000" cy="4515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EB71685-9D24-4650-A320-71B8EC5C61D1}"/>
              </a:ext>
            </a:extLst>
          </p:cNvPr>
          <p:cNvSpPr txBox="1"/>
          <p:nvPr/>
        </p:nvSpPr>
        <p:spPr>
          <a:xfrm>
            <a:off x="7610773" y="4495766"/>
            <a:ext cx="2509597" cy="871713"/>
          </a:xfrm>
          <a:prstGeom prst="rect">
            <a:avLst/>
          </a:prstGeom>
          <a:solidFill>
            <a:schemeClr val="accent6">
              <a:lumMod val="60000"/>
              <a:lumOff val="40000"/>
            </a:schemeClr>
          </a:solidFill>
          <a:ln>
            <a:solidFill>
              <a:schemeClr val="tx1"/>
            </a:solidFill>
          </a:ln>
        </p:spPr>
        <p:txBody>
          <a:bodyPr wrap="square" rtlCol="0">
            <a:spAutoFit/>
          </a:bodyPr>
          <a:lstStyle/>
          <a:p>
            <a:pPr algn="ctr" defTabSz="771571" fontAlgn="auto">
              <a:spcBef>
                <a:spcPts val="0"/>
              </a:spcBef>
              <a:spcAft>
                <a:spcPts val="0"/>
              </a:spcAft>
            </a:pPr>
            <a:r>
              <a:rPr lang="en-US" sz="1013" u="sng" dirty="0">
                <a:solidFill>
                  <a:srgbClr val="000000"/>
                </a:solidFill>
                <a:latin typeface="Arial" panose="020B0604020202020204" pitchFamily="34" charset="0"/>
                <a:ea typeface="Arial" panose="020B0604020202020204" pitchFamily="34" charset="0"/>
                <a:cs typeface="+mn-cs"/>
              </a:rPr>
              <a:t>Low risk of </a:t>
            </a:r>
            <a:r>
              <a:rPr lang="en-US" sz="1013" u="sng" dirty="0" err="1">
                <a:solidFill>
                  <a:srgbClr val="000000"/>
                </a:solidFill>
                <a:latin typeface="Arial" panose="020B0604020202020204" pitchFamily="34" charset="0"/>
                <a:ea typeface="Arial" panose="020B0604020202020204" pitchFamily="34" charset="0"/>
                <a:cs typeface="+mn-cs"/>
              </a:rPr>
              <a:t>HBVr</a:t>
            </a:r>
            <a:r>
              <a:rPr lang="en-US" sz="1013" b="0" dirty="0">
                <a:solidFill>
                  <a:srgbClr val="000000"/>
                </a:solidFill>
                <a:latin typeface="Arial" panose="020B0604020202020204" pitchFamily="34" charset="0"/>
                <a:ea typeface="Arial" panose="020B0604020202020204" pitchFamily="34" charset="0"/>
                <a:cs typeface="+mn-cs"/>
              </a:rPr>
              <a:t> </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Monitoring of ALT every 1-3 months</a:t>
            </a:r>
          </a:p>
          <a:p>
            <a:pPr algn="ctr" defTabSz="771571" fontAlgn="auto">
              <a:spcBef>
                <a:spcPts val="0"/>
              </a:spcBef>
              <a:spcAft>
                <a:spcPts val="0"/>
              </a:spcAft>
            </a:pPr>
            <a:r>
              <a:rPr lang="en-US" sz="1013" b="0" dirty="0">
                <a:solidFill>
                  <a:srgbClr val="000000"/>
                </a:solidFill>
                <a:latin typeface="Arial" panose="020B0604020202020204" pitchFamily="34" charset="0"/>
                <a:ea typeface="Arial" panose="020B0604020202020204" pitchFamily="34" charset="0"/>
                <a:cs typeface="+mn-cs"/>
              </a:rPr>
              <a:t>(HBV DNA and/or HBsAg testing if</a:t>
            </a:r>
            <a:r>
              <a:rPr lang="en-US" sz="1013" b="0" spc="-4" dirty="0">
                <a:solidFill>
                  <a:srgbClr val="000000"/>
                </a:solidFill>
                <a:latin typeface="Arial" panose="020B0604020202020204" pitchFamily="34" charset="0"/>
                <a:ea typeface="Arial" panose="020B0604020202020204" pitchFamily="34" charset="0"/>
                <a:cs typeface="+mn-cs"/>
              </a:rPr>
              <a:t> </a:t>
            </a:r>
            <a:r>
              <a:rPr lang="en-US" sz="1013" b="0" dirty="0">
                <a:solidFill>
                  <a:srgbClr val="000000"/>
                </a:solidFill>
                <a:latin typeface="Arial" panose="020B0604020202020204" pitchFamily="34" charset="0"/>
                <a:ea typeface="Arial" panose="020B0604020202020204" pitchFamily="34" charset="0"/>
                <a:cs typeface="+mn-cs"/>
              </a:rPr>
              <a:t>ALT elevated) and on-demand NA upon </a:t>
            </a:r>
            <a:r>
              <a:rPr lang="en-US" sz="1013" b="0" dirty="0" err="1">
                <a:solidFill>
                  <a:srgbClr val="000000"/>
                </a:solidFill>
                <a:latin typeface="Arial" panose="020B0604020202020204" pitchFamily="34" charset="0"/>
                <a:ea typeface="Arial" panose="020B0604020202020204" pitchFamily="34" charset="0"/>
                <a:cs typeface="+mn-cs"/>
              </a:rPr>
              <a:t>HBVr</a:t>
            </a:r>
            <a:endParaRPr lang="el-GR" sz="1013" b="0" dirty="0">
              <a:solidFill>
                <a:prstClr val="black"/>
              </a:solidFill>
              <a:latin typeface="Calibri" panose="020F0502020204030204"/>
              <a:cs typeface="+mn-cs"/>
            </a:endParaRPr>
          </a:p>
        </p:txBody>
      </p:sp>
      <p:sp>
        <p:nvSpPr>
          <p:cNvPr id="47" name="TextBox 46">
            <a:extLst>
              <a:ext uri="{FF2B5EF4-FFF2-40B4-BE49-F238E27FC236}">
                <a16:creationId xmlns:a16="http://schemas.microsoft.com/office/drawing/2014/main" id="{3CA0A912-A244-4908-B3E7-371B605019AD}"/>
              </a:ext>
            </a:extLst>
          </p:cNvPr>
          <p:cNvSpPr txBox="1"/>
          <p:nvPr/>
        </p:nvSpPr>
        <p:spPr>
          <a:xfrm>
            <a:off x="7615889" y="5423342"/>
            <a:ext cx="2504480" cy="248209"/>
          </a:xfrm>
          <a:prstGeom prst="rect">
            <a:avLst/>
          </a:prstGeom>
          <a:solidFill>
            <a:schemeClr val="bg1">
              <a:lumMod val="75000"/>
            </a:schemeClr>
          </a:solidFill>
          <a:ln>
            <a:solidFill>
              <a:schemeClr val="tx1"/>
            </a:solidFill>
          </a:ln>
        </p:spPr>
        <p:txBody>
          <a:bodyPr wrap="square" rtlCol="0">
            <a:spAutoFit/>
          </a:bodyPr>
          <a:lstStyle/>
          <a:p>
            <a:pPr algn="ctr" defTabSz="771571" fontAlgn="auto">
              <a:spcBef>
                <a:spcPts val="0"/>
              </a:spcBef>
              <a:spcAft>
                <a:spcPts val="0"/>
              </a:spcAft>
            </a:pPr>
            <a:r>
              <a:rPr lang="en-US" sz="1013" u="sng" dirty="0">
                <a:solidFill>
                  <a:srgbClr val="000000"/>
                </a:solidFill>
                <a:latin typeface="Arial" panose="020B0604020202020204" pitchFamily="34" charset="0"/>
                <a:ea typeface="Arial" panose="020B0604020202020204" pitchFamily="34" charset="0"/>
                <a:cs typeface="+mn-cs"/>
              </a:rPr>
              <a:t>Unknown risk of </a:t>
            </a:r>
            <a:r>
              <a:rPr lang="en-US" sz="1013" u="sng" dirty="0" err="1">
                <a:solidFill>
                  <a:srgbClr val="000000"/>
                </a:solidFill>
                <a:latin typeface="Arial" panose="020B0604020202020204" pitchFamily="34" charset="0"/>
                <a:ea typeface="Arial" panose="020B0604020202020204" pitchFamily="34" charset="0"/>
                <a:cs typeface="+mn-cs"/>
              </a:rPr>
              <a:t>HBVr</a:t>
            </a:r>
            <a:r>
              <a:rPr lang="en-US" sz="1013" b="0" dirty="0">
                <a:solidFill>
                  <a:srgbClr val="000000"/>
                </a:solidFill>
                <a:latin typeface="Arial" panose="020B0604020202020204" pitchFamily="34" charset="0"/>
                <a:ea typeface="Arial" panose="020B0604020202020204" pitchFamily="34" charset="0"/>
                <a:cs typeface="+mn-cs"/>
              </a:rPr>
              <a:t> </a:t>
            </a:r>
            <a:endParaRPr lang="el-GR" sz="1013" b="0" dirty="0">
              <a:solidFill>
                <a:prstClr val="black"/>
              </a:solidFill>
              <a:latin typeface="Calibri" panose="020F0502020204030204"/>
              <a:cs typeface="+mn-cs"/>
            </a:endParaRPr>
          </a:p>
        </p:txBody>
      </p:sp>
      <p:cxnSp>
        <p:nvCxnSpPr>
          <p:cNvPr id="49" name="Straight Arrow Connector 48">
            <a:extLst>
              <a:ext uri="{FF2B5EF4-FFF2-40B4-BE49-F238E27FC236}">
                <a16:creationId xmlns:a16="http://schemas.microsoft.com/office/drawing/2014/main" id="{C04828B7-134F-497D-94D7-4FEE83943EAB}"/>
              </a:ext>
            </a:extLst>
          </p:cNvPr>
          <p:cNvCxnSpPr>
            <a:endCxn id="17" idx="0"/>
          </p:cNvCxnSpPr>
          <p:nvPr/>
        </p:nvCxnSpPr>
        <p:spPr>
          <a:xfrm flipH="1">
            <a:off x="1880958" y="1153646"/>
            <a:ext cx="1158384" cy="14910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84940419-D06E-488E-A350-0FA9168015C5}"/>
              </a:ext>
            </a:extLst>
          </p:cNvPr>
          <p:cNvCxnSpPr>
            <a:cxnSpLocks/>
          </p:cNvCxnSpPr>
          <p:nvPr/>
        </p:nvCxnSpPr>
        <p:spPr>
          <a:xfrm>
            <a:off x="3814513" y="1153646"/>
            <a:ext cx="1224510" cy="1310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3EC182A-3A31-CF15-9850-CF603355898B}"/>
              </a:ext>
            </a:extLst>
          </p:cNvPr>
          <p:cNvSpPr txBox="1"/>
          <p:nvPr/>
        </p:nvSpPr>
        <p:spPr>
          <a:xfrm>
            <a:off x="1814876" y="6430768"/>
            <a:ext cx="6748194" cy="307777"/>
          </a:xfrm>
          <a:prstGeom prst="rect">
            <a:avLst/>
          </a:prstGeom>
          <a:noFill/>
        </p:spPr>
        <p:txBody>
          <a:bodyPr wrap="none" rtlCol="0">
            <a:spAutoFit/>
          </a:bodyPr>
          <a:lstStyle/>
          <a:p>
            <a:r>
              <a:rPr lang="en-US" sz="1400" b="0" dirty="0">
                <a:latin typeface="Arial" panose="020B0604020202020204" pitchFamily="34" charset="0"/>
                <a:cs typeface="Arial" panose="020B0604020202020204" pitchFamily="34" charset="0"/>
              </a:rPr>
              <a:t>Papatheodoridis, </a:t>
            </a:r>
            <a:r>
              <a:rPr lang="en-US" sz="1400" b="0" dirty="0" err="1">
                <a:latin typeface="Arial" panose="020B0604020202020204" pitchFamily="34" charset="0"/>
                <a:cs typeface="Arial" panose="020B0604020202020204" pitchFamily="34" charset="0"/>
              </a:rPr>
              <a:t>Lekakis</a:t>
            </a:r>
            <a:r>
              <a:rPr lang="en-US" sz="1400" b="0" dirty="0">
                <a:latin typeface="Arial" panose="020B0604020202020204" pitchFamily="34" charset="0"/>
                <a:cs typeface="Arial" panose="020B0604020202020204" pitchFamily="34" charset="0"/>
              </a:rPr>
              <a:t>, Voulgaris,…, Lok, Reddy. J Hepatol 2022;7</a:t>
            </a:r>
            <a:r>
              <a:rPr lang="el-GR" sz="1400" b="0" i="0" dirty="0">
                <a:effectLst/>
                <a:latin typeface="Arial" panose="020B0604020202020204" pitchFamily="34" charset="0"/>
                <a:cs typeface="Arial" panose="020B0604020202020204" pitchFamily="34" charset="0"/>
              </a:rPr>
              <a:t>7:1670-89.</a:t>
            </a:r>
            <a:endParaRPr lang="el-GR" sz="14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73005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0D782-3549-4739-BD13-29D807704A2F}"/>
              </a:ext>
            </a:extLst>
          </p:cNvPr>
          <p:cNvSpPr>
            <a:spLocks noGrp="1"/>
          </p:cNvSpPr>
          <p:nvPr>
            <p:ph type="title"/>
          </p:nvPr>
        </p:nvSpPr>
        <p:spPr>
          <a:xfrm>
            <a:off x="533260" y="481087"/>
            <a:ext cx="9217695" cy="594111"/>
          </a:xfrm>
        </p:spPr>
        <p:txBody>
          <a:bodyPr>
            <a:noAutofit/>
          </a:bodyPr>
          <a:lstStyle/>
          <a:p>
            <a:pPr algn="ct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X</a:t>
            </a:r>
            <a: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ρόνια </a:t>
            </a: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HBV </a:t>
            </a:r>
            <a: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λοίμωξη</a:t>
            </a: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 </a:t>
            </a:r>
            <a:b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br>
            <a:r>
              <a:rPr lang="el-GR"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Πολύ χαμηλή θεραπευτική κάλυψη</a:t>
            </a:r>
            <a:r>
              <a:rPr lang="en-US" altLang="ko-KR"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rPr>
              <a:t>!</a:t>
            </a:r>
            <a:endParaRPr lang="en-US" sz="2800" b="1" dirty="0">
              <a:effectLst>
                <a:outerShdw blurRad="38100" dist="38100" dir="2700000" algn="tl">
                  <a:srgbClr val="000000">
                    <a:alpha val="43137"/>
                  </a:srgbClr>
                </a:outerShdw>
              </a:effectLst>
              <a:latin typeface="Arial" panose="020B0604020202020204" pitchFamily="34" charset="0"/>
              <a:ea typeface="Tahoma" panose="020B0604030504040204" pitchFamily="34" charset="0"/>
              <a:cs typeface="Arial" panose="020B0604020202020204" pitchFamily="34" charset="0"/>
            </a:endParaRPr>
          </a:p>
        </p:txBody>
      </p:sp>
      <p:sp>
        <p:nvSpPr>
          <p:cNvPr id="8" name="TextBox 7">
            <a:extLst>
              <a:ext uri="{FF2B5EF4-FFF2-40B4-BE49-F238E27FC236}">
                <a16:creationId xmlns:a16="http://schemas.microsoft.com/office/drawing/2014/main" id="{F81DFF82-BF99-B5BE-A69E-643EDE403173}"/>
              </a:ext>
            </a:extLst>
          </p:cNvPr>
          <p:cNvSpPr txBox="1"/>
          <p:nvPr/>
        </p:nvSpPr>
        <p:spPr>
          <a:xfrm>
            <a:off x="2054716" y="1626363"/>
            <a:ext cx="1786066" cy="369332"/>
          </a:xfrm>
          <a:prstGeom prst="rect">
            <a:avLst/>
          </a:prstGeom>
          <a:noFill/>
        </p:spPr>
        <p:txBody>
          <a:bodyPr wrap="non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Global</a:t>
            </a:r>
            <a:r>
              <a:rPr kumimoji="0" lang="ko-KR" altLang="en-US"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altLang="ko-KR" sz="1800" b="1"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2019)</a:t>
            </a:r>
            <a:endParaRPr kumimoji="0" lang="ko-KR" altLang="en-US" sz="1800" b="1" i="0" u="none" strike="noStrike" kern="1200" cap="none" spc="0" normalizeH="0" baseline="0" noProof="0" dirty="0">
              <a:ln>
                <a:noFill/>
              </a:ln>
              <a:solidFill>
                <a:srgbClr val="FFFFFF"/>
              </a:solidFill>
              <a:effectLst/>
              <a:uLnTx/>
              <a:uFillTx/>
              <a:latin typeface="Tahoma" panose="020B0604030504040204" pitchFamily="34" charset="0"/>
              <a:ea typeface="굴림" panose="020B0600000101010101" pitchFamily="50" charset="-127"/>
              <a:cs typeface="Tahoma" panose="020B0604030504040204" pitchFamily="34" charset="0"/>
            </a:endParaRPr>
          </a:p>
        </p:txBody>
      </p:sp>
      <p:graphicFrame>
        <p:nvGraphicFramePr>
          <p:cNvPr id="3" name="차트 2">
            <a:extLst>
              <a:ext uri="{FF2B5EF4-FFF2-40B4-BE49-F238E27FC236}">
                <a16:creationId xmlns:a16="http://schemas.microsoft.com/office/drawing/2014/main" id="{4CEBAA29-4EA1-4439-8B05-5BBCFCCAFA67}"/>
              </a:ext>
            </a:extLst>
          </p:cNvPr>
          <p:cNvGraphicFramePr>
            <a:graphicFrameLocks/>
          </p:cNvGraphicFramePr>
          <p:nvPr>
            <p:extLst>
              <p:ext uri="{D42A27DB-BD31-4B8C-83A1-F6EECF244321}">
                <p14:modId xmlns:p14="http://schemas.microsoft.com/office/powerpoint/2010/main" val="3330692345"/>
              </p:ext>
            </p:extLst>
          </p:nvPr>
        </p:nvGraphicFramePr>
        <p:xfrm>
          <a:off x="686224" y="1953249"/>
          <a:ext cx="4252500" cy="3635991"/>
        </p:xfrm>
        <a:graphic>
          <a:graphicData uri="http://schemas.openxmlformats.org/drawingml/2006/chart">
            <c:chart xmlns:c="http://schemas.openxmlformats.org/drawingml/2006/chart" xmlns:r="http://schemas.openxmlformats.org/officeDocument/2006/relationships" r:id="rId3"/>
          </a:graphicData>
        </a:graphic>
      </p:graphicFrame>
      <p:cxnSp>
        <p:nvCxnSpPr>
          <p:cNvPr id="21" name="연결선: 꺾임 20">
            <a:extLst>
              <a:ext uri="{FF2B5EF4-FFF2-40B4-BE49-F238E27FC236}">
                <a16:creationId xmlns:a16="http://schemas.microsoft.com/office/drawing/2014/main" id="{E31FD69B-2B6C-2A52-14A1-0D83C3078611}"/>
              </a:ext>
            </a:extLst>
          </p:cNvPr>
          <p:cNvCxnSpPr>
            <a:cxnSpLocks/>
          </p:cNvCxnSpPr>
          <p:nvPr/>
        </p:nvCxnSpPr>
        <p:spPr>
          <a:xfrm rot="16200000" flipH="1">
            <a:off x="1507606" y="3150785"/>
            <a:ext cx="2133747" cy="895350"/>
          </a:xfrm>
          <a:prstGeom prst="bentConnector3">
            <a:avLst>
              <a:gd name="adj1" fmla="val 768"/>
            </a:avLst>
          </a:prstGeom>
          <a:ln w="38100">
            <a:solidFill>
              <a:schemeClr val="tx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E38DFC3-EBFE-345A-380B-0BD69D76390D}"/>
              </a:ext>
            </a:extLst>
          </p:cNvPr>
          <p:cNvSpPr txBox="1"/>
          <p:nvPr/>
        </p:nvSpPr>
        <p:spPr>
          <a:xfrm>
            <a:off x="2675745" y="3535876"/>
            <a:ext cx="692818" cy="276787"/>
          </a:xfrm>
          <a:prstGeom prst="rect">
            <a:avLst/>
          </a:prstGeom>
          <a:solidFill>
            <a:srgbClr val="C00000"/>
          </a:solidFill>
          <a:ln>
            <a:solidFill>
              <a:schemeClr val="tx2"/>
            </a:solidFill>
          </a:ln>
        </p:spPr>
        <p:txBody>
          <a:bodyPr wrap="none" tIns="30375" bIns="30375"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FFFFFF"/>
                </a:solidFill>
                <a:effectLst/>
                <a:uLnTx/>
                <a:uFillTx/>
                <a:latin typeface="Arial" panose="020B0604020202020204"/>
                <a:ea typeface="굴림" panose="020B0600000101010101" pitchFamily="50" charset="-127"/>
                <a:cs typeface="Arial" charset="0"/>
              </a:rPr>
              <a:t>10.5%</a:t>
            </a:r>
            <a:endParaRPr kumimoji="0" lang="ko-KR" altLang="en-US" sz="1400" b="1" i="0" u="none" strike="noStrike" kern="1200" cap="none" spc="0" normalizeH="0" baseline="0" noProof="0" dirty="0">
              <a:ln>
                <a:noFill/>
              </a:ln>
              <a:solidFill>
                <a:srgbClr val="FFFFFF"/>
              </a:solidFill>
              <a:effectLst/>
              <a:uLnTx/>
              <a:uFillTx/>
              <a:latin typeface="Arial" panose="020B0604020202020204"/>
              <a:ea typeface="굴림" panose="020B0600000101010101" pitchFamily="50" charset="-127"/>
              <a:cs typeface="Arial" charset="0"/>
            </a:endParaRPr>
          </a:p>
        </p:txBody>
      </p:sp>
      <p:cxnSp>
        <p:nvCxnSpPr>
          <p:cNvPr id="23" name="연결선: 꺾임 22">
            <a:extLst>
              <a:ext uri="{FF2B5EF4-FFF2-40B4-BE49-F238E27FC236}">
                <a16:creationId xmlns:a16="http://schemas.microsoft.com/office/drawing/2014/main" id="{3BA35C67-8036-3F11-3C05-00906847C3D3}"/>
              </a:ext>
            </a:extLst>
          </p:cNvPr>
          <p:cNvCxnSpPr>
            <a:cxnSpLocks/>
          </p:cNvCxnSpPr>
          <p:nvPr/>
        </p:nvCxnSpPr>
        <p:spPr>
          <a:xfrm rot="16200000" flipH="1">
            <a:off x="2639832" y="3234693"/>
            <a:ext cx="2305924" cy="895355"/>
          </a:xfrm>
          <a:prstGeom prst="bentConnector3">
            <a:avLst>
              <a:gd name="adj1" fmla="val 663"/>
            </a:avLst>
          </a:prstGeom>
          <a:ln w="38100">
            <a:solidFill>
              <a:schemeClr val="tx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4CA72241-B63D-D18E-0F1E-86B6D6D580CA}"/>
              </a:ext>
            </a:extLst>
          </p:cNvPr>
          <p:cNvSpPr txBox="1"/>
          <p:nvPr/>
        </p:nvSpPr>
        <p:spPr>
          <a:xfrm>
            <a:off x="3917031" y="3744787"/>
            <a:ext cx="593432" cy="276787"/>
          </a:xfrm>
          <a:prstGeom prst="rect">
            <a:avLst/>
          </a:prstGeom>
          <a:solidFill>
            <a:srgbClr val="C00000"/>
          </a:solidFill>
          <a:ln>
            <a:solidFill>
              <a:schemeClr val="tx1">
                <a:lumMod val="60000"/>
                <a:lumOff val="40000"/>
              </a:schemeClr>
            </a:solidFill>
          </a:ln>
        </p:spPr>
        <p:txBody>
          <a:bodyPr wrap="none" tIns="30375" bIns="30375"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FFFFFF"/>
                </a:solidFill>
                <a:effectLst/>
                <a:uLnTx/>
                <a:uFillTx/>
                <a:latin typeface="Arial" panose="020B0604020202020204"/>
                <a:ea typeface="굴림" panose="020B0600000101010101" pitchFamily="50" charset="-127"/>
                <a:cs typeface="Arial" charset="0"/>
              </a:rPr>
              <a:t>2.2%</a:t>
            </a:r>
            <a:endParaRPr kumimoji="0" lang="ko-KR" altLang="en-US" sz="1400" b="1" i="0" u="none" strike="noStrike" kern="1200" cap="none" spc="0" normalizeH="0" baseline="0" noProof="0" dirty="0">
              <a:ln>
                <a:noFill/>
              </a:ln>
              <a:solidFill>
                <a:srgbClr val="FFFFFF"/>
              </a:solidFill>
              <a:effectLst/>
              <a:uLnTx/>
              <a:uFillTx/>
              <a:latin typeface="Arial" panose="020B0604020202020204"/>
              <a:ea typeface="굴림" panose="020B0600000101010101" pitchFamily="50" charset="-127"/>
              <a:cs typeface="Arial" charset="0"/>
            </a:endParaRPr>
          </a:p>
        </p:txBody>
      </p:sp>
      <p:sp>
        <p:nvSpPr>
          <p:cNvPr id="4" name="TextBox 3">
            <a:extLst>
              <a:ext uri="{FF2B5EF4-FFF2-40B4-BE49-F238E27FC236}">
                <a16:creationId xmlns:a16="http://schemas.microsoft.com/office/drawing/2014/main" id="{F3374D80-132C-7C37-5134-791407856F91}"/>
              </a:ext>
            </a:extLst>
          </p:cNvPr>
          <p:cNvSpPr txBox="1"/>
          <p:nvPr/>
        </p:nvSpPr>
        <p:spPr>
          <a:xfrm>
            <a:off x="422899" y="6139656"/>
            <a:ext cx="5007960" cy="307777"/>
          </a:xfrm>
          <a:prstGeom prst="rect">
            <a:avLst/>
          </a:prstGeom>
          <a:noFill/>
        </p:spPr>
        <p:txBody>
          <a:bodyPr wrap="square" rtlCol="0">
            <a:spAutoFit/>
          </a:bodyPr>
          <a:lstStyle/>
          <a:p>
            <a:pPr marL="0" marR="0" lvl="0" indent="0" algn="ctr" defTabSz="771571" rtl="0" eaLnBrk="1" fontAlgn="auto" latinLnBrk="1"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srgbClr val="FFFFFF"/>
                </a:solidFill>
                <a:effectLst/>
                <a:uLnTx/>
                <a:uFillTx/>
                <a:latin typeface="Arial" panose="020B0604020202020204" pitchFamily="34" charset="0"/>
                <a:ea typeface="굴림" panose="020B0600000101010101" pitchFamily="50" charset="-127"/>
                <a:cs typeface="Arial" panose="020B0604020202020204" pitchFamily="34" charset="0"/>
              </a:rPr>
              <a:t>Cui F et al. Lancet Gastroenterol Hepatol 2023;8:332-42.</a:t>
            </a:r>
          </a:p>
        </p:txBody>
      </p:sp>
      <p:cxnSp>
        <p:nvCxnSpPr>
          <p:cNvPr id="27" name="연결선: 꺾임 22">
            <a:extLst>
              <a:ext uri="{FF2B5EF4-FFF2-40B4-BE49-F238E27FC236}">
                <a16:creationId xmlns:a16="http://schemas.microsoft.com/office/drawing/2014/main" id="{5EFD265C-505C-A957-EDE4-5BBD37DF8077}"/>
              </a:ext>
            </a:extLst>
          </p:cNvPr>
          <p:cNvCxnSpPr>
            <a:cxnSpLocks/>
          </p:cNvCxnSpPr>
          <p:nvPr/>
        </p:nvCxnSpPr>
        <p:spPr>
          <a:xfrm>
            <a:off x="3314437" y="4769504"/>
            <a:ext cx="534357" cy="276396"/>
          </a:xfrm>
          <a:prstGeom prst="bentConnector3">
            <a:avLst>
              <a:gd name="adj1" fmla="val 50000"/>
            </a:avLst>
          </a:prstGeom>
          <a:ln w="38100">
            <a:solidFill>
              <a:schemeClr val="tx2"/>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28" name="TextBox 1027">
            <a:extLst>
              <a:ext uri="{FF2B5EF4-FFF2-40B4-BE49-F238E27FC236}">
                <a16:creationId xmlns:a16="http://schemas.microsoft.com/office/drawing/2014/main" id="{793CD554-A4B5-AD98-B6D9-559E7C30448F}"/>
              </a:ext>
            </a:extLst>
          </p:cNvPr>
          <p:cNvSpPr txBox="1"/>
          <p:nvPr/>
        </p:nvSpPr>
        <p:spPr>
          <a:xfrm>
            <a:off x="3368563" y="4545632"/>
            <a:ext cx="692818" cy="276787"/>
          </a:xfrm>
          <a:prstGeom prst="rect">
            <a:avLst/>
          </a:prstGeom>
          <a:solidFill>
            <a:srgbClr val="C00000"/>
          </a:solidFill>
          <a:ln>
            <a:solidFill>
              <a:schemeClr val="tx1">
                <a:lumMod val="60000"/>
                <a:lumOff val="40000"/>
              </a:schemeClr>
            </a:solidFill>
          </a:ln>
        </p:spPr>
        <p:txBody>
          <a:bodyPr wrap="none" tIns="30375" bIns="30375"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altLang="ko-KR" sz="1400" b="1" i="0" u="none" strike="noStrike" kern="1200" cap="none" spc="0" normalizeH="0" baseline="0" noProof="0" dirty="0">
                <a:ln>
                  <a:noFill/>
                </a:ln>
                <a:solidFill>
                  <a:srgbClr val="FFFFFF"/>
                </a:solidFill>
                <a:effectLst/>
                <a:uLnTx/>
                <a:uFillTx/>
                <a:latin typeface="Arial" panose="020B0604020202020204"/>
                <a:ea typeface="굴림" panose="020B0600000101010101" pitchFamily="50" charset="-127"/>
                <a:cs typeface="Arial" charset="0"/>
              </a:rPr>
              <a:t>21.7%</a:t>
            </a:r>
            <a:endParaRPr kumimoji="0" lang="ko-KR" altLang="en-US" sz="1400" b="1" i="0" u="none" strike="noStrike" kern="1200" cap="none" spc="0" normalizeH="0" baseline="0" noProof="0" dirty="0">
              <a:ln>
                <a:noFill/>
              </a:ln>
              <a:solidFill>
                <a:srgbClr val="FFFFFF"/>
              </a:solidFill>
              <a:effectLst/>
              <a:uLnTx/>
              <a:uFillTx/>
              <a:latin typeface="Arial" panose="020B0604020202020204"/>
              <a:ea typeface="굴림" panose="020B0600000101010101" pitchFamily="50" charset="-127"/>
              <a:cs typeface="Arial" charset="0"/>
            </a:endParaRPr>
          </a:p>
        </p:txBody>
      </p:sp>
      <p:sp>
        <p:nvSpPr>
          <p:cNvPr id="5" name="TextBox 4">
            <a:extLst>
              <a:ext uri="{FF2B5EF4-FFF2-40B4-BE49-F238E27FC236}">
                <a16:creationId xmlns:a16="http://schemas.microsoft.com/office/drawing/2014/main" id="{B59D8567-C259-2E3C-BF14-8EE10E403386}"/>
              </a:ext>
            </a:extLst>
          </p:cNvPr>
          <p:cNvSpPr txBox="1"/>
          <p:nvPr/>
        </p:nvSpPr>
        <p:spPr>
          <a:xfrm rot="16200000">
            <a:off x="-64828" y="3323168"/>
            <a:ext cx="962123" cy="33855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mn-ea"/>
                <a:cs typeface="Arial" charset="0"/>
              </a:rPr>
              <a:t>millions</a:t>
            </a:r>
            <a:endParaRPr kumimoji="0" lang="el-GR" sz="1600" b="1" i="0" u="none" strike="noStrike" kern="1200" cap="none" spc="0" normalizeH="0" baseline="0" noProof="0" dirty="0">
              <a:ln>
                <a:noFill/>
              </a:ln>
              <a:solidFill>
                <a:srgbClr val="FFFFFF"/>
              </a:solidFill>
              <a:effectLst/>
              <a:uLnTx/>
              <a:uFillTx/>
              <a:latin typeface="Arial" charset="0"/>
              <a:ea typeface="+mn-ea"/>
              <a:cs typeface="Arial" charset="0"/>
            </a:endParaRPr>
          </a:p>
        </p:txBody>
      </p:sp>
      <p:graphicFrame>
        <p:nvGraphicFramePr>
          <p:cNvPr id="6" name="Content Placeholder 5">
            <a:extLst>
              <a:ext uri="{FF2B5EF4-FFF2-40B4-BE49-F238E27FC236}">
                <a16:creationId xmlns:a16="http://schemas.microsoft.com/office/drawing/2014/main" id="{9497ACD1-46C9-4EF7-1056-957882E77149}"/>
              </a:ext>
            </a:extLst>
          </p:cNvPr>
          <p:cNvGraphicFramePr>
            <a:graphicFrameLocks/>
          </p:cNvGraphicFramePr>
          <p:nvPr>
            <p:extLst>
              <p:ext uri="{D42A27DB-BD31-4B8C-83A1-F6EECF244321}">
                <p14:modId xmlns:p14="http://schemas.microsoft.com/office/powerpoint/2010/main" val="2539201466"/>
              </p:ext>
            </p:extLst>
          </p:nvPr>
        </p:nvGraphicFramePr>
        <p:xfrm>
          <a:off x="4969402" y="2182013"/>
          <a:ext cx="5317597" cy="3582988"/>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a:extLst>
              <a:ext uri="{FF2B5EF4-FFF2-40B4-BE49-F238E27FC236}">
                <a16:creationId xmlns:a16="http://schemas.microsoft.com/office/drawing/2014/main" id="{B982C335-3696-FD74-6AA1-D0088C746C00}"/>
              </a:ext>
            </a:extLst>
          </p:cNvPr>
          <p:cNvCxnSpPr/>
          <p:nvPr/>
        </p:nvCxnSpPr>
        <p:spPr>
          <a:xfrm>
            <a:off x="8299152" y="2923327"/>
            <a:ext cx="12700" cy="106362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3809BC1C-6620-CBA1-446E-337464EB47DB}"/>
              </a:ext>
            </a:extLst>
          </p:cNvPr>
          <p:cNvCxnSpPr>
            <a:cxnSpLocks/>
          </p:cNvCxnSpPr>
          <p:nvPr/>
        </p:nvCxnSpPr>
        <p:spPr>
          <a:xfrm>
            <a:off x="9391972" y="2952457"/>
            <a:ext cx="0" cy="181704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0" name="TextBox 15">
            <a:extLst>
              <a:ext uri="{FF2B5EF4-FFF2-40B4-BE49-F238E27FC236}">
                <a16:creationId xmlns:a16="http://schemas.microsoft.com/office/drawing/2014/main" id="{D2249786-0CC2-95DB-D6D3-9BD67881C47F}"/>
              </a:ext>
            </a:extLst>
          </p:cNvPr>
          <p:cNvSpPr txBox="1">
            <a:spLocks noChangeArrowheads="1"/>
          </p:cNvSpPr>
          <p:nvPr/>
        </p:nvSpPr>
        <p:spPr bwMode="auto">
          <a:xfrm>
            <a:off x="8263292" y="3166332"/>
            <a:ext cx="127269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l-GR" sz="1800" dirty="0"/>
              <a:t>50.3%                 </a:t>
            </a:r>
          </a:p>
          <a:p>
            <a:pPr eaLnBrk="1" hangingPunct="1">
              <a:spcBef>
                <a:spcPct val="0"/>
              </a:spcBef>
              <a:buFontTx/>
              <a:buNone/>
            </a:pPr>
            <a:r>
              <a:rPr lang="en-US" altLang="el-GR" sz="1800" dirty="0"/>
              <a:t>           17%</a:t>
            </a:r>
          </a:p>
        </p:txBody>
      </p:sp>
      <p:sp>
        <p:nvSpPr>
          <p:cNvPr id="14" name="TextBox 17">
            <a:extLst>
              <a:ext uri="{FF2B5EF4-FFF2-40B4-BE49-F238E27FC236}">
                <a16:creationId xmlns:a16="http://schemas.microsoft.com/office/drawing/2014/main" id="{E4EC65AB-921A-E12C-DBBF-4DFAE51B97D0}"/>
              </a:ext>
            </a:extLst>
          </p:cNvPr>
          <p:cNvSpPr txBox="1">
            <a:spLocks noChangeArrowheads="1"/>
          </p:cNvSpPr>
          <p:nvPr/>
        </p:nvSpPr>
        <p:spPr bwMode="auto">
          <a:xfrm>
            <a:off x="5791572" y="1398469"/>
            <a:ext cx="42271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l-GR" sz="2000" dirty="0"/>
              <a:t>Greece (201</a:t>
            </a:r>
            <a:r>
              <a:rPr lang="el-GR" altLang="el-GR" sz="2000"/>
              <a:t>4</a:t>
            </a:r>
            <a:r>
              <a:rPr lang="en-US" altLang="el-GR" sz="2000"/>
              <a:t>) </a:t>
            </a:r>
            <a:endParaRPr lang="en-US" altLang="el-GR" sz="2000" dirty="0"/>
          </a:p>
          <a:p>
            <a:pPr algn="ctr" eaLnBrk="1" hangingPunct="1">
              <a:spcBef>
                <a:spcPct val="0"/>
              </a:spcBef>
              <a:buFontTx/>
              <a:buNone/>
            </a:pPr>
            <a:r>
              <a:rPr lang="en-US" altLang="el-GR" sz="2000" dirty="0"/>
              <a:t>Telephone survey, 9974 participants</a:t>
            </a:r>
          </a:p>
        </p:txBody>
      </p:sp>
      <p:sp>
        <p:nvSpPr>
          <p:cNvPr id="15" name="TextBox 16">
            <a:extLst>
              <a:ext uri="{FF2B5EF4-FFF2-40B4-BE49-F238E27FC236}">
                <a16:creationId xmlns:a16="http://schemas.microsoft.com/office/drawing/2014/main" id="{F3BBD08F-9347-FCC0-A925-62BA617E3B9D}"/>
              </a:ext>
            </a:extLst>
          </p:cNvPr>
          <p:cNvSpPr txBox="1">
            <a:spLocks noChangeArrowheads="1"/>
          </p:cNvSpPr>
          <p:nvPr/>
        </p:nvSpPr>
        <p:spPr bwMode="auto">
          <a:xfrm>
            <a:off x="5640752" y="6139655"/>
            <a:ext cx="45287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l-GR" sz="1400" b="0" dirty="0">
                <a:latin typeface="Arial" panose="020B0604020202020204" pitchFamily="34" charset="0"/>
                <a:cs typeface="Arial" panose="020B0604020202020204" pitchFamily="34" charset="0"/>
              </a:rPr>
              <a:t>G </a:t>
            </a:r>
            <a:r>
              <a:rPr lang="en-US" altLang="el-GR" sz="1400" b="0" dirty="0" err="1">
                <a:latin typeface="Arial" panose="020B0604020202020204" pitchFamily="34" charset="0"/>
                <a:cs typeface="Arial" panose="020B0604020202020204" pitchFamily="34" charset="0"/>
              </a:rPr>
              <a:t>Papatheodoridis</a:t>
            </a:r>
            <a:r>
              <a:rPr lang="en-US" altLang="el-GR" sz="1400" b="0" dirty="0">
                <a:latin typeface="Arial" panose="020B0604020202020204" pitchFamily="34" charset="0"/>
                <a:cs typeface="Arial" panose="020B0604020202020204" pitchFamily="34" charset="0"/>
              </a:rPr>
              <a:t> et al. </a:t>
            </a:r>
            <a:r>
              <a:rPr lang="nb-NO" sz="1400" b="0" dirty="0">
                <a:latin typeface="Arial" panose="020B0604020202020204" pitchFamily="34" charset="0"/>
                <a:cs typeface="Arial" panose="020B0604020202020204" pitchFamily="34" charset="0"/>
              </a:rPr>
              <a:t>J Viral Hepat 2015;22:409-15.</a:t>
            </a:r>
            <a:endParaRPr lang="en-US" altLang="el-GR" sz="14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3958954"/>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a:extLst>
              <a:ext uri="{FF2B5EF4-FFF2-40B4-BE49-F238E27FC236}">
                <a16:creationId xmlns:a16="http://schemas.microsoft.com/office/drawing/2014/main" id="{92F60001-8E32-41CF-B046-116B711DC507}"/>
              </a:ext>
            </a:extLst>
          </p:cNvPr>
          <p:cNvSpPr>
            <a:spLocks noGrp="1" noChangeArrowheads="1"/>
          </p:cNvSpPr>
          <p:nvPr>
            <p:ph type="title"/>
          </p:nvPr>
        </p:nvSpPr>
        <p:spPr>
          <a:xfrm>
            <a:off x="0" y="332656"/>
            <a:ext cx="10287000" cy="693737"/>
          </a:xfrm>
          <a:gradFill rotWithShape="1">
            <a:gsLst>
              <a:gs pos="0">
                <a:srgbClr val="0000FF"/>
              </a:gs>
              <a:gs pos="50000">
                <a:srgbClr val="0000FF">
                  <a:gamma/>
                  <a:shade val="46275"/>
                  <a:invGamma/>
                </a:srgbClr>
              </a:gs>
              <a:gs pos="100000">
                <a:srgbClr val="0000FF"/>
              </a:gs>
            </a:gsLst>
            <a:lin ang="5400000" scaled="1"/>
          </a:gradFill>
        </p:spPr>
        <p:txBody>
          <a:bodyPr/>
          <a:lstStyle/>
          <a:p>
            <a:r>
              <a:rPr lang="el-GR" altLang="el-GR" sz="2800" b="1" dirty="0"/>
              <a:t>ΗΠΑΤΙΤΙΔΑ Β &amp; ΠΡΟΒΛΗΜΑΤΑ ΤΟ 20</a:t>
            </a:r>
            <a:r>
              <a:rPr lang="en-US" altLang="el-GR" sz="2800" b="1" dirty="0"/>
              <a:t>23 </a:t>
            </a:r>
            <a:r>
              <a:rPr lang="el-GR" altLang="el-GR" sz="2800" b="1" dirty="0"/>
              <a:t>ΣΤΗΝ ΕΛΛΑΔΑ </a:t>
            </a:r>
          </a:p>
        </p:txBody>
      </p:sp>
      <p:sp>
        <p:nvSpPr>
          <p:cNvPr id="194563" name="Rectangle 3">
            <a:extLst>
              <a:ext uri="{FF2B5EF4-FFF2-40B4-BE49-F238E27FC236}">
                <a16:creationId xmlns:a16="http://schemas.microsoft.com/office/drawing/2014/main" id="{408A7D72-97E2-4E82-867A-3A515C7EF7E7}"/>
              </a:ext>
            </a:extLst>
          </p:cNvPr>
          <p:cNvSpPr>
            <a:spLocks noGrp="1" noChangeArrowheads="1"/>
          </p:cNvSpPr>
          <p:nvPr>
            <p:ph type="body" idx="1"/>
          </p:nvPr>
        </p:nvSpPr>
        <p:spPr>
          <a:xfrm>
            <a:off x="606424" y="1196752"/>
            <a:ext cx="9721651" cy="2881312"/>
          </a:xfrm>
        </p:spPr>
        <p:txBody>
          <a:bodyPr/>
          <a:lstStyle/>
          <a:p>
            <a:pPr>
              <a:lnSpc>
                <a:spcPct val="110000"/>
              </a:lnSpc>
            </a:pPr>
            <a:r>
              <a:rPr lang="el-GR" altLang="el-GR" sz="2400" b="1" dirty="0">
                <a:solidFill>
                  <a:schemeClr val="tx2"/>
                </a:solidFill>
              </a:rPr>
              <a:t>Πολλοί ασθενείς με </a:t>
            </a:r>
            <a:r>
              <a:rPr lang="en-US" altLang="el-GR" sz="2400" b="1" dirty="0">
                <a:solidFill>
                  <a:schemeClr val="tx2"/>
                </a:solidFill>
              </a:rPr>
              <a:t>XH</a:t>
            </a:r>
            <a:r>
              <a:rPr lang="el-GR" altLang="el-GR" sz="2400" b="1" dirty="0">
                <a:solidFill>
                  <a:schemeClr val="tx2"/>
                </a:solidFill>
              </a:rPr>
              <a:t>Β παραμένουν αδιάγνωστοι</a:t>
            </a:r>
          </a:p>
          <a:p>
            <a:pPr>
              <a:lnSpc>
                <a:spcPct val="90000"/>
              </a:lnSpc>
              <a:spcBef>
                <a:spcPct val="70000"/>
              </a:spcBef>
            </a:pPr>
            <a:r>
              <a:rPr lang="el-GR" altLang="el-GR" sz="2400" b="1" dirty="0">
                <a:solidFill>
                  <a:schemeClr val="tx2"/>
                </a:solidFill>
              </a:rPr>
              <a:t>Αρκετοί διαγνωσμένοι ασθενείς με </a:t>
            </a:r>
            <a:r>
              <a:rPr lang="en-US" altLang="el-GR" sz="2400" b="1" dirty="0">
                <a:solidFill>
                  <a:schemeClr val="tx2"/>
                </a:solidFill>
              </a:rPr>
              <a:t>XH</a:t>
            </a:r>
            <a:r>
              <a:rPr lang="el-GR" altLang="el-GR" sz="2400" b="1" dirty="0">
                <a:solidFill>
                  <a:schemeClr val="tx2"/>
                </a:solidFill>
              </a:rPr>
              <a:t>Β δεν λαμβάνουν την απαραίτητη θεραπεία</a:t>
            </a:r>
            <a:r>
              <a:rPr lang="el-GR" altLang="el-GR" sz="2800" b="1" dirty="0"/>
              <a:t> </a:t>
            </a:r>
          </a:p>
          <a:p>
            <a:pPr lvl="1">
              <a:lnSpc>
                <a:spcPct val="140000"/>
              </a:lnSpc>
            </a:pPr>
            <a:r>
              <a:rPr lang="el-GR" altLang="el-GR" sz="2000" b="1" dirty="0"/>
              <a:t>Κίνδυνος εξέλιξης της νόσου και ανάπτυξης κίρρωσης &amp; καρκίνου</a:t>
            </a:r>
          </a:p>
          <a:p>
            <a:pPr lvl="1">
              <a:lnSpc>
                <a:spcPct val="140000"/>
              </a:lnSpc>
            </a:pPr>
            <a:r>
              <a:rPr lang="el-GR" altLang="el-GR" sz="2000" b="1" dirty="0"/>
              <a:t>Κίνδυνος μετάδοσης του ιού στην κοινότητα</a:t>
            </a:r>
          </a:p>
        </p:txBody>
      </p:sp>
      <p:sp>
        <p:nvSpPr>
          <p:cNvPr id="194564" name="Rectangle 4">
            <a:extLst>
              <a:ext uri="{FF2B5EF4-FFF2-40B4-BE49-F238E27FC236}">
                <a16:creationId xmlns:a16="http://schemas.microsoft.com/office/drawing/2014/main" id="{2D1291FB-F642-446C-A6E4-F86F5F881389}"/>
              </a:ext>
            </a:extLst>
          </p:cNvPr>
          <p:cNvSpPr>
            <a:spLocks noChangeArrowheads="1"/>
          </p:cNvSpPr>
          <p:nvPr/>
        </p:nvSpPr>
        <p:spPr bwMode="auto">
          <a:xfrm>
            <a:off x="606425" y="3897772"/>
            <a:ext cx="9145588" cy="256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342900" indent="-342900" defTabSz="762000">
              <a:spcBef>
                <a:spcPct val="20000"/>
              </a:spcBef>
              <a:buChar char="•"/>
              <a:defRPr sz="3200">
                <a:solidFill>
                  <a:schemeClr val="tx1"/>
                </a:solidFill>
                <a:latin typeface="Arial" panose="020B0604020202020204" pitchFamily="34" charset="0"/>
              </a:defRPr>
            </a:lvl1pPr>
            <a:lvl2pPr marL="742950" indent="-285750" defTabSz="762000">
              <a:spcBef>
                <a:spcPct val="20000"/>
              </a:spcBef>
              <a:buChar char="–"/>
              <a:defRPr sz="2800">
                <a:solidFill>
                  <a:schemeClr val="tx1"/>
                </a:solidFill>
                <a:latin typeface="Arial" panose="020B0604020202020204" pitchFamily="34" charset="0"/>
              </a:defRPr>
            </a:lvl2pPr>
            <a:lvl3pPr marL="1143000" indent="-228600" defTabSz="762000">
              <a:spcBef>
                <a:spcPct val="20000"/>
              </a:spcBef>
              <a:buChar char="•"/>
              <a:defRPr sz="2400">
                <a:solidFill>
                  <a:schemeClr val="tx1"/>
                </a:solidFill>
                <a:latin typeface="Arial" panose="020B0604020202020204" pitchFamily="34" charset="0"/>
              </a:defRPr>
            </a:lvl3pPr>
            <a:lvl4pPr marL="1600200" indent="-228600" defTabSz="762000">
              <a:spcBef>
                <a:spcPct val="20000"/>
              </a:spcBef>
              <a:buChar char="–"/>
              <a:defRPr sz="2000">
                <a:solidFill>
                  <a:schemeClr val="tx1"/>
                </a:solidFill>
                <a:latin typeface="Arial" panose="020B0604020202020204" pitchFamily="34" charset="0"/>
              </a:defRPr>
            </a:lvl4pPr>
            <a:lvl5pPr marL="2057400" indent="-228600" defTabSz="76200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42900" marR="0" lvl="0" indent="-342900" algn="l" defTabSz="762000" rtl="0" eaLnBrk="0" fontAlgn="base" latinLnBrk="0" hangingPunct="0">
              <a:lnSpc>
                <a:spcPct val="110000"/>
              </a:lnSpc>
              <a:spcBef>
                <a:spcPct val="20000"/>
              </a:spcBef>
              <a:spcAft>
                <a:spcPct val="0"/>
              </a:spcAft>
              <a:buClrTx/>
              <a:buSzTx/>
              <a:buFontTx/>
              <a:buChar char="•"/>
              <a:tabLst/>
              <a:defRPr/>
            </a:pPr>
            <a:r>
              <a:rPr kumimoji="0" lang="el-GR" altLang="el-GR" sz="2400" b="1" i="0" u="none" strike="noStrike" kern="1200" cap="none" spc="0" normalizeH="0" baseline="0" noProof="0" dirty="0">
                <a:ln>
                  <a:noFill/>
                </a:ln>
                <a:solidFill>
                  <a:srgbClr val="FF9900"/>
                </a:solidFill>
                <a:effectLst/>
                <a:uLnTx/>
                <a:uFillTx/>
                <a:latin typeface="Arial" panose="020B0604020202020204" pitchFamily="34" charset="0"/>
                <a:ea typeface="+mn-ea"/>
                <a:cs typeface="+mn-cs"/>
              </a:rPr>
              <a:t>&lt;75% εμβολιαστική κάλυψη νεογνών-βρεφών</a:t>
            </a:r>
          </a:p>
          <a:p>
            <a:pPr marL="342900" marR="0" lvl="0" indent="-342900" algn="l" defTabSz="762000" rtl="0" eaLnBrk="0" fontAlgn="base" latinLnBrk="0" hangingPunct="0">
              <a:lnSpc>
                <a:spcPct val="110000"/>
              </a:lnSpc>
              <a:spcBef>
                <a:spcPct val="20000"/>
              </a:spcBef>
              <a:spcAft>
                <a:spcPct val="0"/>
              </a:spcAft>
              <a:buClrTx/>
              <a:buSzTx/>
              <a:buFontTx/>
              <a:buChar char="•"/>
              <a:tabLst/>
              <a:defRPr/>
            </a:pPr>
            <a:r>
              <a:rPr kumimoji="0" lang="el-GR" altLang="el-GR" sz="2400" b="1" i="0" u="none" strike="noStrike" kern="1200" cap="none" spc="0" normalizeH="0" baseline="0" noProof="0" dirty="0">
                <a:ln>
                  <a:noFill/>
                </a:ln>
                <a:solidFill>
                  <a:srgbClr val="FF9900"/>
                </a:solidFill>
                <a:effectLst/>
                <a:uLnTx/>
                <a:uFillTx/>
                <a:latin typeface="Arial" panose="020B0604020202020204" pitchFamily="34" charset="0"/>
                <a:ea typeface="+mn-ea"/>
                <a:cs typeface="+mn-cs"/>
              </a:rPr>
              <a:t>&lt;20% εμβολιαστική κάλυψη ενηλίκων ομάδων υψηλού κινδύνου</a:t>
            </a:r>
            <a:r>
              <a:rPr kumimoji="0" lang="el-GR" altLang="el-GR"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p>
          <a:p>
            <a:pPr marL="742950" marR="0" lvl="1" indent="-285750" algn="l" defTabSz="762000" rtl="0" eaLnBrk="0" fontAlgn="base" latinLnBrk="0" hangingPunct="0">
              <a:lnSpc>
                <a:spcPct val="140000"/>
              </a:lnSpc>
              <a:spcBef>
                <a:spcPct val="20000"/>
              </a:spcBef>
              <a:spcAft>
                <a:spcPct val="0"/>
              </a:spcAft>
              <a:buClrTx/>
              <a:buSzTx/>
              <a:buFontTx/>
              <a:buChar char="–"/>
              <a:tabLst/>
              <a:defRPr/>
            </a:pPr>
            <a:r>
              <a:rPr kumimoji="0" lang="el-GR" altLang="el-GR" sz="20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Αδυναμία εξάλειψης ενός νοσήματος που θα μπορούσε δυνητικά να εκλείψει τις επόμενες δεκαετίες</a:t>
            </a:r>
          </a:p>
        </p:txBody>
      </p:sp>
      <p:sp>
        <p:nvSpPr>
          <p:cNvPr id="2" name="TextBox 1">
            <a:extLst>
              <a:ext uri="{FF2B5EF4-FFF2-40B4-BE49-F238E27FC236}">
                <a16:creationId xmlns:a16="http://schemas.microsoft.com/office/drawing/2014/main" id="{BE0AFBC5-999A-20CF-5DE4-DEE7C3D0CC93}"/>
              </a:ext>
            </a:extLst>
          </p:cNvPr>
          <p:cNvSpPr txBox="1"/>
          <p:nvPr/>
        </p:nvSpPr>
        <p:spPr>
          <a:xfrm rot="19952723">
            <a:off x="1445397" y="3295463"/>
            <a:ext cx="7070846" cy="646331"/>
          </a:xfrm>
          <a:prstGeom prst="rect">
            <a:avLst/>
          </a:prstGeom>
          <a:solidFill>
            <a:schemeClr val="accent1"/>
          </a:solidFill>
        </p:spPr>
        <p:txBody>
          <a:bodyPr wrap="none" rtlCol="0">
            <a:spAutoFit/>
          </a:bodyPr>
          <a:lstStyle/>
          <a:p>
            <a:r>
              <a:rPr lang="el-GR" sz="3600" dirty="0"/>
              <a:t>ΕΛΛΕΙΨΗ ΕΘΝΙΚΟΥ ΣΧΕΔΙΟΥ!!!</a:t>
            </a: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94564"/>
                                        </p:tgtEl>
                                        <p:attrNameLst>
                                          <p:attrName>style.visibility</p:attrName>
                                        </p:attrNameLst>
                                      </p:cBhvr>
                                      <p:to>
                                        <p:strVal val="visible"/>
                                      </p:to>
                                    </p:set>
                                    <p:animEffect transition="in" filter="checkerboard(across)">
                                      <p:cBhvr>
                                        <p:cTn id="7" dur="500"/>
                                        <p:tgtEl>
                                          <p:spTgt spid="19456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64" grpId="0"/>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8BB4396D-D210-45A2-8CAD-03CA0916904F}"/>
              </a:ext>
            </a:extLst>
          </p:cNvPr>
          <p:cNvSpPr>
            <a:spLocks noGrp="1" noChangeArrowheads="1"/>
          </p:cNvSpPr>
          <p:nvPr>
            <p:ph type="title"/>
          </p:nvPr>
        </p:nvSpPr>
        <p:spPr>
          <a:xfrm>
            <a:off x="0" y="558800"/>
            <a:ext cx="10287000" cy="1019200"/>
          </a:xfrm>
          <a:gradFill rotWithShape="0">
            <a:gsLst>
              <a:gs pos="0">
                <a:schemeClr val="bg1"/>
              </a:gs>
              <a:gs pos="50000">
                <a:schemeClr val="bg1">
                  <a:gamma/>
                  <a:shade val="46275"/>
                  <a:invGamma/>
                </a:schemeClr>
              </a:gs>
              <a:gs pos="100000">
                <a:schemeClr val="bg1"/>
              </a:gs>
            </a:gsLst>
            <a:lin ang="5400000" scaled="1"/>
          </a:gradFill>
          <a:ln/>
          <a:extLst>
            <a:ext uri="{91240B29-F687-4F45-9708-019B960494DF}">
              <a14:hiddenLine xmlns:a14="http://schemas.microsoft.com/office/drawing/2010/main" w="9525">
                <a:solidFill>
                  <a:schemeClr val="accent1"/>
                </a:solidFill>
                <a:miter lim="800000"/>
                <a:headEnd/>
                <a:tailEnd/>
              </a14:hiddenLine>
            </a:ext>
          </a:extLst>
        </p:spPr>
        <p:txBody>
          <a:bodyPr/>
          <a:lstStyle/>
          <a:p>
            <a:r>
              <a:rPr lang="el-GR" altLang="el-GR" b="1" dirty="0"/>
              <a:t>IOΙ ΗΠΑΤΙΤΙΔΑΣ</a:t>
            </a:r>
            <a:endParaRPr lang="el-GR" altLang="el-GR" dirty="0"/>
          </a:p>
        </p:txBody>
      </p:sp>
      <p:sp>
        <p:nvSpPr>
          <p:cNvPr id="61443" name="Rectangle 3">
            <a:extLst>
              <a:ext uri="{FF2B5EF4-FFF2-40B4-BE49-F238E27FC236}">
                <a16:creationId xmlns:a16="http://schemas.microsoft.com/office/drawing/2014/main" id="{46B55456-D081-4109-8E98-388122126CCB}"/>
              </a:ext>
            </a:extLst>
          </p:cNvPr>
          <p:cNvSpPr>
            <a:spLocks noGrp="1" noChangeArrowheads="1"/>
          </p:cNvSpPr>
          <p:nvPr>
            <p:ph type="body" sz="half" idx="1"/>
          </p:nvPr>
        </p:nvSpPr>
        <p:spPr>
          <a:xfrm>
            <a:off x="606425" y="1916113"/>
            <a:ext cx="4295775" cy="4114800"/>
          </a:xfrm>
        </p:spPr>
        <p:txBody>
          <a:bodyPr/>
          <a:lstStyle/>
          <a:p>
            <a:r>
              <a:rPr lang="el-GR" altLang="el-GR" sz="2400" b="1">
                <a:solidFill>
                  <a:schemeClr val="accent2"/>
                </a:solidFill>
              </a:rPr>
              <a:t>Κοπρανοστοματική μετάδοση</a:t>
            </a:r>
            <a:r>
              <a:rPr lang="el-GR" altLang="el-GR" sz="2400" b="1"/>
              <a:t> </a:t>
            </a:r>
          </a:p>
          <a:p>
            <a:pPr>
              <a:lnSpc>
                <a:spcPct val="320000"/>
              </a:lnSpc>
            </a:pPr>
            <a:r>
              <a:rPr lang="en-US" altLang="el-GR" sz="2400" b="1">
                <a:solidFill>
                  <a:schemeClr val="tx2"/>
                </a:solidFill>
              </a:rPr>
              <a:t>HAV, HEV</a:t>
            </a:r>
            <a:endParaRPr lang="en-US" altLang="el-GR" sz="2400" b="1"/>
          </a:p>
          <a:p>
            <a:pPr>
              <a:lnSpc>
                <a:spcPct val="120000"/>
              </a:lnSpc>
              <a:buFontTx/>
              <a:buNone/>
            </a:pPr>
            <a:endParaRPr lang="el-GR" altLang="el-GR" sz="2400" b="1"/>
          </a:p>
          <a:p>
            <a:pPr>
              <a:lnSpc>
                <a:spcPct val="280000"/>
              </a:lnSpc>
            </a:pPr>
            <a:r>
              <a:rPr lang="el-GR" altLang="el-GR" sz="2400" b="1"/>
              <a:t>Mόνον οξεία ηπατίτιδα</a:t>
            </a:r>
            <a:endParaRPr lang="el-GR" altLang="el-GR" sz="2800"/>
          </a:p>
        </p:txBody>
      </p:sp>
      <p:sp>
        <p:nvSpPr>
          <p:cNvPr id="61444" name="Rectangle 4">
            <a:extLst>
              <a:ext uri="{FF2B5EF4-FFF2-40B4-BE49-F238E27FC236}">
                <a16:creationId xmlns:a16="http://schemas.microsoft.com/office/drawing/2014/main" id="{01C1E103-BC0E-441B-BD5A-0BAF8D87F42D}"/>
              </a:ext>
            </a:extLst>
          </p:cNvPr>
          <p:cNvSpPr>
            <a:spLocks noChangeArrowheads="1"/>
          </p:cNvSpPr>
          <p:nvPr/>
        </p:nvSpPr>
        <p:spPr bwMode="auto">
          <a:xfrm>
            <a:off x="6153150" y="1970088"/>
            <a:ext cx="3598863" cy="426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342900" indent="-342900" defTabSz="762000">
              <a:spcBef>
                <a:spcPct val="20000"/>
              </a:spcBef>
              <a:buChar char="•"/>
              <a:defRPr sz="3200">
                <a:solidFill>
                  <a:schemeClr val="tx1"/>
                </a:solidFill>
                <a:latin typeface="Arial" panose="020B0604020202020204" pitchFamily="34" charset="0"/>
              </a:defRPr>
            </a:lvl1pPr>
            <a:lvl2pPr marL="742950" indent="-285750" defTabSz="762000">
              <a:spcBef>
                <a:spcPct val="20000"/>
              </a:spcBef>
              <a:buChar char="–"/>
              <a:defRPr sz="2800">
                <a:solidFill>
                  <a:schemeClr val="tx1"/>
                </a:solidFill>
                <a:latin typeface="Arial" panose="020B0604020202020204" pitchFamily="34" charset="0"/>
              </a:defRPr>
            </a:lvl2pPr>
            <a:lvl3pPr marL="1143000" indent="-228600" defTabSz="762000">
              <a:spcBef>
                <a:spcPct val="20000"/>
              </a:spcBef>
              <a:buChar char="•"/>
              <a:defRPr sz="2400">
                <a:solidFill>
                  <a:schemeClr val="tx1"/>
                </a:solidFill>
                <a:latin typeface="Arial" panose="020B0604020202020204" pitchFamily="34" charset="0"/>
              </a:defRPr>
            </a:lvl3pPr>
            <a:lvl4pPr marL="1600200" indent="-228600" defTabSz="762000">
              <a:spcBef>
                <a:spcPct val="20000"/>
              </a:spcBef>
              <a:buChar char="–"/>
              <a:defRPr sz="2000">
                <a:solidFill>
                  <a:schemeClr val="tx1"/>
                </a:solidFill>
                <a:latin typeface="Arial" panose="020B0604020202020204" pitchFamily="34" charset="0"/>
              </a:defRPr>
            </a:lvl4pPr>
            <a:lvl5pPr marL="2057400" indent="-228600" defTabSz="76200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l-GR" altLang="el-GR" sz="2400" b="1">
                <a:solidFill>
                  <a:schemeClr val="accent2"/>
                </a:solidFill>
              </a:rPr>
              <a:t>Παρεντερική μετάδοση </a:t>
            </a:r>
          </a:p>
          <a:p>
            <a:pPr>
              <a:lnSpc>
                <a:spcPct val="340000"/>
              </a:lnSpc>
            </a:pPr>
            <a:r>
              <a:rPr lang="en-US" altLang="el-GR" sz="2400" b="1">
                <a:solidFill>
                  <a:schemeClr val="tx2"/>
                </a:solidFill>
              </a:rPr>
              <a:t>HΒV </a:t>
            </a:r>
            <a:r>
              <a:rPr lang="el-GR" altLang="el-GR" sz="2400" b="1">
                <a:solidFill>
                  <a:schemeClr val="tx2"/>
                </a:solidFill>
              </a:rPr>
              <a:t>(</a:t>
            </a:r>
            <a:r>
              <a:rPr lang="en-US" altLang="el-GR" sz="2400" b="1">
                <a:solidFill>
                  <a:schemeClr val="tx2"/>
                </a:solidFill>
              </a:rPr>
              <a:t>HDV</a:t>
            </a:r>
            <a:r>
              <a:rPr lang="el-GR" altLang="el-GR" sz="2400" b="1">
                <a:solidFill>
                  <a:schemeClr val="tx2"/>
                </a:solidFill>
              </a:rPr>
              <a:t>)</a:t>
            </a:r>
            <a:r>
              <a:rPr lang="en-US" altLang="el-GR" sz="2400" b="1">
                <a:solidFill>
                  <a:schemeClr val="tx2"/>
                </a:solidFill>
              </a:rPr>
              <a:t>, HCV</a:t>
            </a:r>
          </a:p>
          <a:p>
            <a:pPr>
              <a:lnSpc>
                <a:spcPct val="240000"/>
              </a:lnSpc>
              <a:buFontTx/>
              <a:buNone/>
            </a:pPr>
            <a:endParaRPr lang="el-GR" altLang="el-GR" sz="2400" b="1"/>
          </a:p>
          <a:p>
            <a:r>
              <a:rPr lang="el-GR" altLang="el-GR" sz="2400" b="1"/>
              <a:t>Oξεία &amp; </a:t>
            </a:r>
          </a:p>
          <a:p>
            <a:pPr>
              <a:buFontTx/>
              <a:buNone/>
            </a:pPr>
            <a:r>
              <a:rPr lang="el-GR" altLang="el-GR" sz="2400" b="1"/>
              <a:t>    Χρόνια ηπατίτιδα</a:t>
            </a:r>
            <a:endParaRPr lang="el-GR" altLang="el-GR" sz="2400"/>
          </a:p>
        </p:txBody>
      </p:sp>
      <p:pic>
        <p:nvPicPr>
          <p:cNvPr id="61445" name="Picture 5" descr="small Drawn Liver">
            <a:extLst>
              <a:ext uri="{FF2B5EF4-FFF2-40B4-BE49-F238E27FC236}">
                <a16:creationId xmlns:a16="http://schemas.microsoft.com/office/drawing/2014/main" id="{D8CA27A7-C4E1-46CA-8456-D14A40F337FE}"/>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3270250" y="2565400"/>
            <a:ext cx="2736850" cy="2108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2A7927D0-DF2F-467A-BAF3-ED69F6F5B2C2}"/>
              </a:ext>
            </a:extLst>
          </p:cNvPr>
          <p:cNvSpPr>
            <a:spLocks noGrp="1" noChangeArrowheads="1"/>
          </p:cNvSpPr>
          <p:nvPr>
            <p:ph type="title"/>
          </p:nvPr>
        </p:nvSpPr>
        <p:spPr>
          <a:xfrm>
            <a:off x="895028" y="764704"/>
            <a:ext cx="8743950" cy="1143000"/>
          </a:xfrm>
        </p:spPr>
        <p:txBody>
          <a:bodyPr/>
          <a:lstStyle/>
          <a:p>
            <a:r>
              <a:rPr lang="el-GR" altLang="el-GR" b="1" dirty="0"/>
              <a:t>ΧΡΟΝΙΑ ΗΠΑΤΙΤΙΔΑ </a:t>
            </a:r>
            <a:r>
              <a:rPr lang="en-US" altLang="el-GR" b="1" dirty="0"/>
              <a:t>D</a:t>
            </a:r>
            <a:r>
              <a:rPr lang="el-GR" altLang="el-GR" b="1" dirty="0"/>
              <a:t> (Β+</a:t>
            </a:r>
            <a:r>
              <a:rPr lang="en-US" altLang="el-GR" b="1" dirty="0"/>
              <a:t>D</a:t>
            </a:r>
            <a:r>
              <a:rPr lang="el-GR" altLang="el-GR" b="1" dirty="0"/>
              <a:t>)</a:t>
            </a:r>
          </a:p>
        </p:txBody>
      </p:sp>
      <p:pic>
        <p:nvPicPr>
          <p:cNvPr id="2" name="Picture 3">
            <a:extLst>
              <a:ext uri="{FF2B5EF4-FFF2-40B4-BE49-F238E27FC236}">
                <a16:creationId xmlns:a16="http://schemas.microsoft.com/office/drawing/2014/main" id="{2789555C-761D-168A-FA11-F85CEB344235}"/>
              </a:ext>
            </a:extLst>
          </p:cNvPr>
          <p:cNvPicPr>
            <a:picLocks noChangeAspect="1" noChangeArrowheads="1"/>
          </p:cNvPicPr>
          <p:nvPr/>
        </p:nvPicPr>
        <p:blipFill>
          <a:blip r:embed="rId2"/>
          <a:srcRect/>
          <a:stretch>
            <a:fillRect/>
          </a:stretch>
        </p:blipFill>
        <p:spPr bwMode="auto">
          <a:xfrm>
            <a:off x="2803240" y="2159860"/>
            <a:ext cx="4680520" cy="3978442"/>
          </a:xfrm>
          <a:prstGeom prst="rect">
            <a:avLst/>
          </a:prstGeom>
          <a:noFill/>
          <a:ln w="9525">
            <a:noFill/>
            <a:miter lim="800000"/>
            <a:headEnd/>
            <a:tailEnd/>
          </a:ln>
          <a:effectLst/>
        </p:spPr>
      </p:pic>
      <p:sp>
        <p:nvSpPr>
          <p:cNvPr id="3" name="Rectangle 2">
            <a:extLst>
              <a:ext uri="{FF2B5EF4-FFF2-40B4-BE49-F238E27FC236}">
                <a16:creationId xmlns:a16="http://schemas.microsoft.com/office/drawing/2014/main" id="{6696131F-3B82-3E60-2FE4-14AA3EB0C868}"/>
              </a:ext>
            </a:extLst>
          </p:cNvPr>
          <p:cNvSpPr/>
          <p:nvPr/>
        </p:nvSpPr>
        <p:spPr bwMode="auto">
          <a:xfrm>
            <a:off x="2839244" y="2132856"/>
            <a:ext cx="360040" cy="288032"/>
          </a:xfrm>
          <a:prstGeom prst="rect">
            <a:avLst/>
          </a:prstGeom>
          <a:solidFill>
            <a:schemeClr val="tx1"/>
          </a:solidFill>
          <a:ln w="12700" cap="flat" cmpd="sng" algn="ctr">
            <a:solidFill>
              <a:schemeClr val="tx1"/>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l-GR" sz="2400" b="1" i="0" u="none" strike="noStrike" kern="1200" cap="none" spc="0" normalizeH="0" baseline="0" noProof="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1205853091"/>
      </p:ext>
    </p:extLst>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615281" y="1978288"/>
            <a:ext cx="7584006" cy="4503466"/>
          </a:xfrm>
          <a:prstGeom prst="rect">
            <a:avLst/>
          </a:prstGeom>
        </p:spPr>
      </p:pic>
      <p:sp>
        <p:nvSpPr>
          <p:cNvPr id="8" name="Text Placeholder 4">
            <a:extLst>
              <a:ext uri="{FF2B5EF4-FFF2-40B4-BE49-F238E27FC236}">
                <a16:creationId xmlns:a16="http://schemas.microsoft.com/office/drawing/2014/main" id="{27971678-0E64-4A1C-88B1-33E1758C8917}"/>
              </a:ext>
            </a:extLst>
          </p:cNvPr>
          <p:cNvSpPr txBox="1">
            <a:spLocks/>
          </p:cNvSpPr>
          <p:nvPr/>
        </p:nvSpPr>
        <p:spPr>
          <a:xfrm>
            <a:off x="3343300" y="6386548"/>
            <a:ext cx="4318289" cy="231196"/>
          </a:xfrm>
          <a:prstGeom prst="rect">
            <a:avLst/>
          </a:prstGeom>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nesis</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 et al, J Hepatol 2013;</a:t>
            </a:r>
            <a:r>
              <a:rPr kumimoji="0" lang="el-G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59:949-56</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el-GR"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303EF775-198E-4765-AE22-C83C5F1E3445}"/>
              </a:ext>
            </a:extLst>
          </p:cNvPr>
          <p:cNvSpPr txBox="1"/>
          <p:nvPr/>
        </p:nvSpPr>
        <p:spPr>
          <a:xfrm>
            <a:off x="679349" y="3935040"/>
            <a:ext cx="1088760" cy="646331"/>
          </a:xfrm>
          <a:prstGeom prst="rect">
            <a:avLst/>
          </a:prstGeom>
          <a:noFill/>
        </p:spPr>
        <p:txBody>
          <a:bodyPr wrap="non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rPr>
              <a:t>HBsA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rPr>
              <a:t>patients</a:t>
            </a:r>
            <a:endParaRPr kumimoji="0" lang="el-GR"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endParaRPr>
          </a:p>
        </p:txBody>
      </p:sp>
      <p:sp>
        <p:nvSpPr>
          <p:cNvPr id="4" name="Title 3">
            <a:extLst>
              <a:ext uri="{FF2B5EF4-FFF2-40B4-BE49-F238E27FC236}">
                <a16:creationId xmlns:a16="http://schemas.microsoft.com/office/drawing/2014/main" id="{B636D9B2-5B82-87B2-9F8A-910B33518684}"/>
              </a:ext>
            </a:extLst>
          </p:cNvPr>
          <p:cNvSpPr>
            <a:spLocks noGrp="1"/>
          </p:cNvSpPr>
          <p:nvPr>
            <p:ph type="title"/>
          </p:nvPr>
        </p:nvSpPr>
        <p:spPr>
          <a:xfrm>
            <a:off x="970221" y="240256"/>
            <a:ext cx="8874125" cy="1109663"/>
          </a:xfrm>
        </p:spPr>
        <p:txBody>
          <a:bodyPr/>
          <a:lstStyle/>
          <a:p>
            <a:pPr algn="ctr">
              <a:lnSpc>
                <a:spcPct val="150000"/>
              </a:lnSpc>
            </a:pPr>
            <a:r>
              <a:rPr lang="en-US" sz="2400" dirty="0">
                <a:solidFill>
                  <a:srgbClr val="C00000"/>
                </a:solidFill>
                <a:latin typeface="Arial" panose="020B0604020202020204" pitchFamily="34" charset="0"/>
                <a:cs typeface="Arial" panose="020B0604020202020204" pitchFamily="34" charset="0"/>
              </a:rPr>
              <a:t>12-70 millions </a:t>
            </a:r>
            <a:r>
              <a:rPr lang="en-US" sz="2400" dirty="0">
                <a:latin typeface="Arial" panose="020B0604020202020204" pitchFamily="34" charset="0"/>
                <a:cs typeface="Arial" panose="020B0604020202020204" pitchFamily="34" charset="0"/>
              </a:rPr>
              <a:t>of anti-HDV positive cases globally </a:t>
            </a:r>
            <a:br>
              <a:rPr lang="en-US" dirty="0">
                <a:latin typeface="Arial" panose="020B0604020202020204" pitchFamily="34" charset="0"/>
                <a:cs typeface="Arial" panose="020B0604020202020204" pitchFamily="34" charset="0"/>
              </a:rPr>
            </a:br>
            <a:r>
              <a:rPr lang="en-US" sz="1400" b="0" dirty="0">
                <a:solidFill>
                  <a:schemeClr val="tx1"/>
                </a:solidFill>
                <a:latin typeface="Arial" panose="020B0604020202020204" pitchFamily="34" charset="0"/>
                <a:cs typeface="Arial" panose="020B0604020202020204" pitchFamily="34" charset="0"/>
              </a:rPr>
              <a:t>Papatheodoridi M &amp; Papatheodoridis GV. </a:t>
            </a:r>
            <a:r>
              <a:rPr lang="en-US" sz="1400" b="0" i="0" dirty="0">
                <a:solidFill>
                  <a:schemeClr val="tx1"/>
                </a:solidFill>
                <a:effectLst/>
                <a:latin typeface="Arial" panose="020B0604020202020204" pitchFamily="34" charset="0"/>
                <a:cs typeface="Arial" panose="020B0604020202020204" pitchFamily="34" charset="0"/>
              </a:rPr>
              <a:t>Liver Int 2021;41(Suppl.1):38-44.</a:t>
            </a:r>
            <a:endParaRPr lang="el-GR" sz="1400" b="0" dirty="0">
              <a:solidFill>
                <a:schemeClr val="tx1"/>
              </a:solidFill>
              <a:latin typeface="Arial" panose="020B0604020202020204" pitchFamily="34" charset="0"/>
              <a:cs typeface="Arial" panose="020B0604020202020204" pitchFamily="34" charset="0"/>
            </a:endParaRPr>
          </a:p>
        </p:txBody>
      </p:sp>
      <p:sp>
        <p:nvSpPr>
          <p:cNvPr id="7" name="Title 2">
            <a:extLst>
              <a:ext uri="{FF2B5EF4-FFF2-40B4-BE49-F238E27FC236}">
                <a16:creationId xmlns:a16="http://schemas.microsoft.com/office/drawing/2014/main" id="{3F613FB3-8223-8074-8A36-D13F93A606B2}"/>
              </a:ext>
            </a:extLst>
          </p:cNvPr>
          <p:cNvSpPr txBox="1">
            <a:spLocks/>
          </p:cNvSpPr>
          <p:nvPr/>
        </p:nvSpPr>
        <p:spPr bwMode="auto">
          <a:xfrm>
            <a:off x="679349" y="1595517"/>
            <a:ext cx="9072663" cy="534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defTabSz="771525" rtl="0" eaLnBrk="0" fontAlgn="base" hangingPunct="0">
              <a:lnSpc>
                <a:spcPct val="90000"/>
              </a:lnSpc>
              <a:spcBef>
                <a:spcPct val="0"/>
              </a:spcBef>
              <a:spcAft>
                <a:spcPct val="0"/>
              </a:spcAft>
              <a:defRPr sz="2300" b="1" kern="1200">
                <a:solidFill>
                  <a:schemeClr val="accent1">
                    <a:lumMod val="75000"/>
                  </a:schemeClr>
                </a:solidFill>
                <a:latin typeface="+mn-lt"/>
                <a:ea typeface="+mj-ea"/>
                <a:cs typeface="+mj-cs"/>
              </a:defRPr>
            </a:lvl1pPr>
            <a:lvl2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2pPr>
            <a:lvl3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3pPr>
            <a:lvl4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4pPr>
            <a:lvl5pPr algn="l" defTabSz="771525" rtl="0" eaLnBrk="0" fontAlgn="base" hangingPunct="0">
              <a:lnSpc>
                <a:spcPct val="90000"/>
              </a:lnSpc>
              <a:spcBef>
                <a:spcPct val="0"/>
              </a:spcBef>
              <a:spcAft>
                <a:spcPct val="0"/>
              </a:spcAft>
              <a:defRPr sz="2300" b="1">
                <a:solidFill>
                  <a:srgbClr val="002060"/>
                </a:solidFill>
                <a:latin typeface="Calibri" panose="020F0502020204030204" pitchFamily="34" charset="0"/>
              </a:defRPr>
            </a:lvl5pPr>
            <a:lvl6pPr marL="457200" algn="l" defTabSz="771525" rtl="0" fontAlgn="base">
              <a:lnSpc>
                <a:spcPct val="90000"/>
              </a:lnSpc>
              <a:spcBef>
                <a:spcPct val="0"/>
              </a:spcBef>
              <a:spcAft>
                <a:spcPct val="0"/>
              </a:spcAft>
              <a:defRPr sz="2300" b="1">
                <a:solidFill>
                  <a:srgbClr val="002060"/>
                </a:solidFill>
                <a:latin typeface="Calibri" panose="020F0502020204030204" pitchFamily="34" charset="0"/>
              </a:defRPr>
            </a:lvl6pPr>
            <a:lvl7pPr marL="914400" algn="l" defTabSz="771525" rtl="0" fontAlgn="base">
              <a:lnSpc>
                <a:spcPct val="90000"/>
              </a:lnSpc>
              <a:spcBef>
                <a:spcPct val="0"/>
              </a:spcBef>
              <a:spcAft>
                <a:spcPct val="0"/>
              </a:spcAft>
              <a:defRPr sz="2300" b="1">
                <a:solidFill>
                  <a:srgbClr val="002060"/>
                </a:solidFill>
                <a:latin typeface="Calibri" panose="020F0502020204030204" pitchFamily="34" charset="0"/>
              </a:defRPr>
            </a:lvl7pPr>
            <a:lvl8pPr marL="1371600" algn="l" defTabSz="771525" rtl="0" fontAlgn="base">
              <a:lnSpc>
                <a:spcPct val="90000"/>
              </a:lnSpc>
              <a:spcBef>
                <a:spcPct val="0"/>
              </a:spcBef>
              <a:spcAft>
                <a:spcPct val="0"/>
              </a:spcAft>
              <a:defRPr sz="2300" b="1">
                <a:solidFill>
                  <a:srgbClr val="002060"/>
                </a:solidFill>
                <a:latin typeface="Calibri" panose="020F0502020204030204" pitchFamily="34" charset="0"/>
              </a:defRPr>
            </a:lvl8pPr>
            <a:lvl9pPr marL="1828800" algn="l" defTabSz="771525" rtl="0" fontAlgn="base">
              <a:lnSpc>
                <a:spcPct val="90000"/>
              </a:lnSpc>
              <a:spcBef>
                <a:spcPct val="0"/>
              </a:spcBef>
              <a:spcAft>
                <a:spcPct val="0"/>
              </a:spcAft>
              <a:defRPr sz="2300" b="1">
                <a:solidFill>
                  <a:srgbClr val="002060"/>
                </a:solidFill>
                <a:latin typeface="Calibri" panose="020F0502020204030204" pitchFamily="34" charset="0"/>
              </a:defRPr>
            </a:lvl9pPr>
          </a:lstStyle>
          <a:p>
            <a:pPr algn="ctr"/>
            <a:r>
              <a:rPr lang="en-US" sz="2800" dirty="0">
                <a:solidFill>
                  <a:srgbClr val="C00000"/>
                </a:solidFill>
                <a:latin typeface="Arial" panose="020B0604020202020204" pitchFamily="34" charset="0"/>
                <a:cs typeface="Arial" panose="020B0604020202020204" pitchFamily="34" charset="0"/>
              </a:rPr>
              <a:t>To find hepatitis D, you have to remember it!</a:t>
            </a:r>
          </a:p>
        </p:txBody>
      </p:sp>
    </p:spTree>
    <p:extLst>
      <p:ext uri="{BB962C8B-B14F-4D97-AF65-F5344CB8AC3E}">
        <p14:creationId xmlns:p14="http://schemas.microsoft.com/office/powerpoint/2010/main" val="3519676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 grpId="0"/>
      <p:bldP spid="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11D33-02AD-FD04-375C-898E589F3F31}"/>
              </a:ext>
            </a:extLst>
          </p:cNvPr>
          <p:cNvSpPr>
            <a:spLocks noGrp="1"/>
          </p:cNvSpPr>
          <p:nvPr>
            <p:ph type="title"/>
          </p:nvPr>
        </p:nvSpPr>
        <p:spPr/>
        <p:txBody>
          <a:bodyPr/>
          <a:lstStyle/>
          <a:p>
            <a:pPr algn="ctr"/>
            <a:r>
              <a:rPr lang="en-US" dirty="0"/>
              <a:t>Anti-HDV screening rates at tertiary centers throughout Greece</a:t>
            </a:r>
            <a:endParaRPr lang="el-GR" dirty="0"/>
          </a:p>
        </p:txBody>
      </p:sp>
      <p:grpSp>
        <p:nvGrpSpPr>
          <p:cNvPr id="6" name="Group 5">
            <a:extLst>
              <a:ext uri="{FF2B5EF4-FFF2-40B4-BE49-F238E27FC236}">
                <a16:creationId xmlns:a16="http://schemas.microsoft.com/office/drawing/2014/main" id="{074E1481-8C7D-FC44-2AB2-0FA55CD26828}"/>
              </a:ext>
            </a:extLst>
          </p:cNvPr>
          <p:cNvGrpSpPr/>
          <p:nvPr/>
        </p:nvGrpSpPr>
        <p:grpSpPr>
          <a:xfrm>
            <a:off x="1039044" y="1268760"/>
            <a:ext cx="8784976" cy="4786672"/>
            <a:chOff x="-91790" y="620634"/>
            <a:chExt cx="12422933" cy="5796214"/>
          </a:xfrm>
        </p:grpSpPr>
        <p:graphicFrame>
          <p:nvGraphicFramePr>
            <p:cNvPr id="7" name="Chart 6">
              <a:extLst>
                <a:ext uri="{FF2B5EF4-FFF2-40B4-BE49-F238E27FC236}">
                  <a16:creationId xmlns:a16="http://schemas.microsoft.com/office/drawing/2014/main" id="{8DB9DC2F-6B9F-F08D-64B4-246A101CD1B4}"/>
                </a:ext>
              </a:extLst>
            </p:cNvPr>
            <p:cNvGraphicFramePr/>
            <p:nvPr/>
          </p:nvGraphicFramePr>
          <p:xfrm>
            <a:off x="627357" y="620634"/>
            <a:ext cx="11363748" cy="5544639"/>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38D5C9DA-CD2D-11A4-9831-A5C5E4E24DE5}"/>
                </a:ext>
              </a:extLst>
            </p:cNvPr>
            <p:cNvSpPr txBox="1"/>
            <p:nvPr/>
          </p:nvSpPr>
          <p:spPr>
            <a:xfrm rot="16200000">
              <a:off x="-762713" y="2704196"/>
              <a:ext cx="2780141" cy="412211"/>
            </a:xfrm>
            <a:prstGeom prst="rect">
              <a:avLst/>
            </a:prstGeom>
            <a:noFill/>
          </p:spPr>
          <p:txBody>
            <a:bodyPr wrap="none" rtlCol="0">
              <a:spAutoFit/>
            </a:bodyPr>
            <a:lstStyle/>
            <a:p>
              <a:pPr defTabSz="771571" fontAlgn="auto">
                <a:spcBef>
                  <a:spcPts val="0"/>
                </a:spcBef>
                <a:spcAft>
                  <a:spcPts val="0"/>
                </a:spcAft>
              </a:pPr>
              <a:r>
                <a:rPr lang="en-US" sz="1181" b="0" dirty="0">
                  <a:solidFill>
                    <a:prstClr val="black"/>
                  </a:solidFill>
                  <a:latin typeface="Arial" panose="020B0604020202020204" pitchFamily="34" charset="0"/>
                  <a:cs typeface="Arial" panose="020B0604020202020204" pitchFamily="34" charset="0"/>
                </a:rPr>
                <a:t>Anti-HDV screening rates, %</a:t>
              </a:r>
              <a:endParaRPr lang="el-GR" sz="1181" b="0" dirty="0">
                <a:solidFill>
                  <a:prstClr val="black"/>
                </a:solidFill>
                <a:latin typeface="Arial" panose="020B0604020202020204" pitchFamily="34" charset="0"/>
                <a:cs typeface="Arial" panose="020B0604020202020204" pitchFamily="34" charset="0"/>
              </a:endParaRPr>
            </a:p>
          </p:txBody>
        </p:sp>
        <p:sp>
          <p:nvSpPr>
            <p:cNvPr id="9" name="TextBox 17">
              <a:extLst>
                <a:ext uri="{FF2B5EF4-FFF2-40B4-BE49-F238E27FC236}">
                  <a16:creationId xmlns:a16="http://schemas.microsoft.com/office/drawing/2014/main" id="{5B1B9843-2BB1-5CA9-1A5D-E8A988A3C01F}"/>
                </a:ext>
              </a:extLst>
            </p:cNvPr>
            <p:cNvSpPr txBox="1"/>
            <p:nvPr/>
          </p:nvSpPr>
          <p:spPr>
            <a:xfrm>
              <a:off x="-91790" y="5670608"/>
              <a:ext cx="12422933" cy="746240"/>
            </a:xfrm>
            <a:prstGeom prst="rect">
              <a:avLst/>
            </a:prstGeom>
            <a:noFill/>
          </p:spPr>
          <p:txBody>
            <a:bodyPr wrap="square" rtlCol="0">
              <a:spAutoFit/>
            </a:bodyPr>
            <a:lstStyle/>
            <a:p>
              <a:pPr defTabSz="771571" fontAlgn="auto">
                <a:lnSpc>
                  <a:spcPct val="115000"/>
                </a:lnSpc>
                <a:spcBef>
                  <a:spcPts val="0"/>
                </a:spcBef>
                <a:spcAft>
                  <a:spcPts val="0"/>
                </a:spcAft>
              </a:pPr>
              <a:r>
                <a:rPr lang="en-US" sz="1400" b="0" u="sng" dirty="0">
                  <a:solidFill>
                    <a:srgbClr val="000000"/>
                  </a:solidFill>
                  <a:latin typeface="Arial" panose="020B0604020202020204" pitchFamily="34" charset="0"/>
                  <a:ea typeface="Calibri" panose="020F0502020204030204" pitchFamily="34" charset="0"/>
                  <a:cs typeface="Arial" panose="020B0604020202020204" pitchFamily="34" charset="0"/>
                </a:rPr>
                <a:t>HBsAg-positive</a:t>
              </a:r>
              <a:endParaRPr lang="en-US" sz="1400" b="0" u="sng"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defTabSz="771571" fontAlgn="auto">
                <a:lnSpc>
                  <a:spcPct val="115000"/>
                </a:lnSpc>
                <a:spcBef>
                  <a:spcPts val="0"/>
                </a:spcBef>
                <a:spcAft>
                  <a:spcPts val="0"/>
                </a:spcAft>
              </a:pPr>
              <a:r>
                <a:rPr lang="en-US" sz="1400" b="0" u="sng" dirty="0">
                  <a:solidFill>
                    <a:srgbClr val="000000"/>
                  </a:solidFill>
                  <a:latin typeface="Arial" panose="020B0604020202020204" pitchFamily="34" charset="0"/>
                  <a:ea typeface="Calibri" panose="020F0502020204030204" pitchFamily="34" charset="0"/>
                  <a:cs typeface="Arial" panose="020B0604020202020204" pitchFamily="34" charset="0"/>
                </a:rPr>
                <a:t>patients, n</a:t>
              </a:r>
              <a:r>
                <a:rPr lang="en-US" sz="1400" b="0" dirty="0">
                  <a:solidFill>
                    <a:srgbClr val="000000"/>
                  </a:solidFill>
                  <a:latin typeface="Arial" panose="020B0604020202020204" pitchFamily="34" charset="0"/>
                  <a:ea typeface="Calibri" panose="020F0502020204030204" pitchFamily="34" charset="0"/>
                  <a:cs typeface="Arial" panose="020B0604020202020204" pitchFamily="34" charset="0"/>
                </a:rPr>
                <a:t>   1130     619     510    236      48     102     100     256     750     420     148     375     118     267    </a:t>
              </a:r>
              <a:endParaRPr lang="el-GR" sz="1400" b="0"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grpSp>
      <p:sp>
        <p:nvSpPr>
          <p:cNvPr id="10" name="Text Placeholder 3">
            <a:extLst>
              <a:ext uri="{FF2B5EF4-FFF2-40B4-BE49-F238E27FC236}">
                <a16:creationId xmlns:a16="http://schemas.microsoft.com/office/drawing/2014/main" id="{B2A76456-7E30-AB86-85F3-7757284735E8}"/>
              </a:ext>
            </a:extLst>
          </p:cNvPr>
          <p:cNvSpPr>
            <a:spLocks noGrp="1"/>
          </p:cNvSpPr>
          <p:nvPr>
            <p:ph type="body" sz="quarter" idx="10"/>
          </p:nvPr>
        </p:nvSpPr>
        <p:spPr>
          <a:xfrm>
            <a:off x="2695228" y="6227192"/>
            <a:ext cx="5041702" cy="381745"/>
          </a:xfrm>
        </p:spPr>
        <p:txBody>
          <a:bodyPr/>
          <a:lstStyle/>
          <a:p>
            <a:pPr algn="ctr"/>
            <a:r>
              <a:rPr lang="en-GB" sz="1400" dirty="0"/>
              <a:t>Papatheodoridis G et al. </a:t>
            </a:r>
            <a:r>
              <a:rPr lang="en-US" sz="1400" b="0" i="0" dirty="0">
                <a:effectLst/>
              </a:rPr>
              <a:t>Liver Int 2023;43:1879-89. </a:t>
            </a:r>
            <a:endParaRPr lang="en-GB" sz="1400" dirty="0"/>
          </a:p>
        </p:txBody>
      </p:sp>
    </p:spTree>
    <p:extLst>
      <p:ext uri="{BB962C8B-B14F-4D97-AF65-F5344CB8AC3E}">
        <p14:creationId xmlns:p14="http://schemas.microsoft.com/office/powerpoint/2010/main" val="29606071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972812" y="980728"/>
            <a:ext cx="5923215" cy="4604375"/>
          </a:xfrm>
          <a:prstGeom prst="rect">
            <a:avLst/>
          </a:prstGeom>
        </p:spPr>
      </p:pic>
      <p:cxnSp>
        <p:nvCxnSpPr>
          <p:cNvPr id="6" name="Straight Arrow Connector 5"/>
          <p:cNvCxnSpPr>
            <a:cxnSpLocks/>
          </p:cNvCxnSpPr>
          <p:nvPr/>
        </p:nvCxnSpPr>
        <p:spPr>
          <a:xfrm>
            <a:off x="2976085" y="2554897"/>
            <a:ext cx="1103392" cy="1329756"/>
          </a:xfrm>
          <a:prstGeom prst="straightConnector1">
            <a:avLst/>
          </a:prstGeom>
          <a:ln w="381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a:cxnSpLocks/>
          </p:cNvCxnSpPr>
          <p:nvPr/>
        </p:nvCxnSpPr>
        <p:spPr>
          <a:xfrm flipV="1">
            <a:off x="4514537" y="4462278"/>
            <a:ext cx="945967" cy="483188"/>
          </a:xfrm>
          <a:prstGeom prst="straightConnector1">
            <a:avLst/>
          </a:prstGeom>
          <a:ln w="381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5143500" y="5632100"/>
            <a:ext cx="4752527" cy="784830"/>
          </a:xfrm>
          <a:prstGeom prst="rect">
            <a:avLst/>
          </a:prstGeom>
        </p:spPr>
        <p:txBody>
          <a:bodyPr wrap="square">
            <a:spAutoFit/>
          </a:bodyPr>
          <a:lstStyle/>
          <a:p>
            <a:pPr marL="285736" marR="0" lvl="0" indent="-285736" algn="l" defTabSz="914400" rtl="0" eaLnBrk="0" fontAlgn="base" latinLnBrk="0" hangingPunct="0">
              <a:lnSpc>
                <a:spcPct val="100000"/>
              </a:lnSpc>
              <a:spcBef>
                <a:spcPct val="0"/>
              </a:spcBef>
              <a:spcAft>
                <a:spcPct val="0"/>
              </a:spcAft>
              <a:buClrTx/>
              <a:buSzTx/>
              <a:buFont typeface="Wingdings" charset="2"/>
              <a:buChar char="u"/>
              <a:tabLst/>
              <a:defRPr/>
            </a:pPr>
            <a:r>
              <a:rPr kumimoji="0" lang="en-US" sz="2250" b="0"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rPr>
              <a:t>Nucleic acid polymers (NAP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50" b="0"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rPr>
              <a:t>   (REP 2139)</a:t>
            </a:r>
          </a:p>
        </p:txBody>
      </p:sp>
      <p:cxnSp>
        <p:nvCxnSpPr>
          <p:cNvPr id="15" name="Straight Arrow Connector 14"/>
          <p:cNvCxnSpPr/>
          <p:nvPr/>
        </p:nvCxnSpPr>
        <p:spPr>
          <a:xfrm flipV="1">
            <a:off x="7454659" y="4462278"/>
            <a:ext cx="201261" cy="1237517"/>
          </a:xfrm>
          <a:prstGeom prst="straightConnector1">
            <a:avLst/>
          </a:prstGeom>
          <a:ln w="38100" cmpd="sng">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1184610" y="4872870"/>
            <a:ext cx="3723806" cy="784830"/>
          </a:xfrm>
          <a:prstGeom prst="rect">
            <a:avLst/>
          </a:prstGeom>
        </p:spPr>
        <p:txBody>
          <a:bodyPr wrap="square">
            <a:spAutoFit/>
          </a:bodyPr>
          <a:lstStyle/>
          <a:p>
            <a:pPr marL="285736" marR="0" lvl="0" indent="-285736" algn="l" defTabSz="914400" rtl="0" eaLnBrk="0" fontAlgn="base" latinLnBrk="0" hangingPunct="0">
              <a:lnSpc>
                <a:spcPct val="100000"/>
              </a:lnSpc>
              <a:spcBef>
                <a:spcPct val="0"/>
              </a:spcBef>
              <a:spcAft>
                <a:spcPct val="0"/>
              </a:spcAft>
              <a:buClrTx/>
              <a:buSzTx/>
              <a:buFont typeface="Wingdings" charset="2"/>
              <a:buChar char="u"/>
              <a:tabLst/>
              <a:defRPr/>
            </a:pPr>
            <a:r>
              <a:rPr kumimoji="0" lang="en-US" sz="2250" b="0"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rPr>
              <a:t>Prenylation inhibitors (Lonafarnib)</a:t>
            </a:r>
            <a:endParaRPr kumimoji="0" lang="el-GR" sz="1687" b="0" i="0" u="none" strike="noStrike" kern="1200" cap="none" spc="0" normalizeH="0" baseline="0" noProof="0" dirty="0">
              <a:ln>
                <a:noFill/>
              </a:ln>
              <a:solidFill>
                <a:prstClr val="black"/>
              </a:solidFill>
              <a:effectLst/>
              <a:uLnTx/>
              <a:uFillTx/>
              <a:latin typeface="Arial" panose="020B0604020202020204" pitchFamily="34" charset="0"/>
              <a:ea typeface="+mn-ea"/>
              <a:cs typeface="Arial" charset="0"/>
            </a:endParaRPr>
          </a:p>
        </p:txBody>
      </p:sp>
      <p:sp>
        <p:nvSpPr>
          <p:cNvPr id="18" name="Title 2">
            <a:extLst>
              <a:ext uri="{FF2B5EF4-FFF2-40B4-BE49-F238E27FC236}">
                <a16:creationId xmlns:a16="http://schemas.microsoft.com/office/drawing/2014/main" id="{77BD4A53-5851-40F4-92C8-7AB589340518}"/>
              </a:ext>
            </a:extLst>
          </p:cNvPr>
          <p:cNvSpPr txBox="1">
            <a:spLocks/>
          </p:cNvSpPr>
          <p:nvPr/>
        </p:nvSpPr>
        <p:spPr>
          <a:xfrm>
            <a:off x="1399084" y="113556"/>
            <a:ext cx="7886700" cy="1034720"/>
          </a:xfrm>
          <a:prstGeom prst="rect">
            <a:avLst/>
          </a:prstGeom>
          <a:ln>
            <a:solidFill>
              <a:schemeClr val="bg1"/>
            </a:solidFill>
          </a:ln>
        </p:spPr>
        <p:txBody>
          <a:bodyPr vert="horz" lIns="64294" tIns="32147" rIns="64294" bIns="32147" rtlCol="0" anchor="ctr">
            <a:normAutofit/>
          </a:bodyPr>
          <a:lstStyle>
            <a:lvl1pPr algn="r" defTabSz="1300460" rtl="0" eaLnBrk="1" latinLnBrk="0" hangingPunct="1">
              <a:lnSpc>
                <a:spcPct val="90000"/>
              </a:lnSpc>
              <a:spcBef>
                <a:spcPct val="0"/>
              </a:spcBef>
              <a:buNone/>
              <a:defRPr sz="3982" b="1" kern="1200">
                <a:solidFill>
                  <a:schemeClr val="tx1"/>
                </a:solidFill>
                <a:latin typeface="+mj-lt"/>
                <a:ea typeface="+mj-ea"/>
                <a:cs typeface="+mj-cs"/>
              </a:defRPr>
            </a:lvl1pPr>
          </a:lstStyle>
          <a:p>
            <a:pPr marL="0" marR="0" lvl="0" indent="0" algn="ctr" defTabSz="1300460"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rPr>
              <a:t>HDV: New and potential therapies</a:t>
            </a:r>
            <a:r>
              <a:rPr kumimoji="0" lang="mr-IN" sz="3600" b="1" i="0" u="none" strike="noStrike" kern="1200" cap="none" spc="0" normalizeH="0" baseline="0" noProof="0" dirty="0">
                <a:ln>
                  <a:noFill/>
                </a:ln>
                <a:solidFill>
                  <a:srgbClr val="C00000"/>
                </a:solidFill>
                <a:effectLst/>
                <a:uLnTx/>
                <a:uFillTx/>
                <a:latin typeface="Arial" panose="020B0604020202020204" pitchFamily="34" charset="0"/>
                <a:ea typeface="+mj-ea"/>
                <a:cs typeface="Mangal" panose="02040503050203030202" pitchFamily="18" charset="0"/>
              </a:rPr>
              <a:t>…</a:t>
            </a:r>
            <a:endParaRPr kumimoji="0" lang="en-US" sz="3600" b="1" i="0" u="none" strike="noStrike" kern="1200" cap="none" spc="0" normalizeH="0" baseline="0" noProof="0" dirty="0">
              <a:ln>
                <a:noFill/>
              </a:ln>
              <a:solidFill>
                <a:srgbClr val="C00000"/>
              </a:solidFill>
              <a:effectLst/>
              <a:uLnTx/>
              <a:uFillTx/>
              <a:latin typeface="Arial" panose="020B0604020202020204" pitchFamily="34" charset="0"/>
              <a:ea typeface="+mj-ea"/>
              <a:cs typeface="Arial" panose="020B0604020202020204" pitchFamily="34" charset="0"/>
            </a:endParaRPr>
          </a:p>
        </p:txBody>
      </p:sp>
      <p:sp>
        <p:nvSpPr>
          <p:cNvPr id="16" name="Rectangle 15">
            <a:extLst>
              <a:ext uri="{FF2B5EF4-FFF2-40B4-BE49-F238E27FC236}">
                <a16:creationId xmlns:a16="http://schemas.microsoft.com/office/drawing/2014/main" id="{93D0661D-89B3-45EF-9B25-C79AADB1E219}"/>
              </a:ext>
            </a:extLst>
          </p:cNvPr>
          <p:cNvSpPr/>
          <p:nvPr/>
        </p:nvSpPr>
        <p:spPr>
          <a:xfrm>
            <a:off x="1200150" y="1787913"/>
            <a:ext cx="3723806" cy="784830"/>
          </a:xfrm>
          <a:prstGeom prst="rect">
            <a:avLst/>
          </a:prstGeom>
        </p:spPr>
        <p:txBody>
          <a:bodyPr wrap="square">
            <a:spAutoFit/>
          </a:bodyPr>
          <a:lstStyle/>
          <a:p>
            <a:pPr marL="285736" marR="0" lvl="0" indent="-285736" algn="l" defTabSz="914400" rtl="0" eaLnBrk="0" fontAlgn="base" latinLnBrk="0" hangingPunct="0">
              <a:lnSpc>
                <a:spcPct val="100000"/>
              </a:lnSpc>
              <a:spcBef>
                <a:spcPct val="0"/>
              </a:spcBef>
              <a:spcAft>
                <a:spcPct val="0"/>
              </a:spcAft>
              <a:buClrTx/>
              <a:buSzTx/>
              <a:buFont typeface="Wingdings" charset="2"/>
              <a:buChar char="u"/>
              <a:tabLst/>
              <a:defRPr/>
            </a:pPr>
            <a:r>
              <a:rPr kumimoji="0" lang="en-US" sz="2250" b="1" i="0" u="none" strike="noStrike" kern="1200" cap="none" spc="0" normalizeH="0" baseline="0" noProof="0" dirty="0">
                <a:ln>
                  <a:noFill/>
                </a:ln>
                <a:solidFill>
                  <a:srgbClr val="C00000"/>
                </a:solidFill>
                <a:effectLst/>
                <a:uLnTx/>
                <a:uFillTx/>
                <a:latin typeface="Arial" panose="020B0604020202020204" pitchFamily="34" charset="0"/>
                <a:ea typeface="+mn-ea"/>
                <a:cs typeface="Arial" charset="0"/>
              </a:rPr>
              <a:t>Entry inhibitors (</a:t>
            </a:r>
            <a:r>
              <a:rPr kumimoji="0" lang="en-US" sz="2250" b="1" i="0" u="none" strike="noStrike" kern="1200" cap="none" spc="0" normalizeH="0" baseline="0" noProof="0" dirty="0" err="1">
                <a:ln>
                  <a:noFill/>
                </a:ln>
                <a:solidFill>
                  <a:srgbClr val="C00000"/>
                </a:solidFill>
                <a:effectLst/>
                <a:uLnTx/>
                <a:uFillTx/>
                <a:latin typeface="Arial" panose="020B0604020202020204" pitchFamily="34" charset="0"/>
                <a:ea typeface="+mn-ea"/>
                <a:cs typeface="Arial" charset="0"/>
              </a:rPr>
              <a:t>Bulevirtide</a:t>
            </a:r>
            <a:r>
              <a:rPr kumimoji="0" lang="en-US" sz="2250" b="1" i="0" u="none" strike="noStrike" kern="1200" cap="none" spc="0" normalizeH="0" baseline="0" noProof="0" dirty="0">
                <a:ln>
                  <a:noFill/>
                </a:ln>
                <a:solidFill>
                  <a:srgbClr val="C00000"/>
                </a:solidFill>
                <a:effectLst/>
                <a:uLnTx/>
                <a:uFillTx/>
                <a:latin typeface="Arial" panose="020B0604020202020204" pitchFamily="34" charset="0"/>
                <a:ea typeface="+mn-ea"/>
                <a:cs typeface="Arial" charset="0"/>
              </a:rPr>
              <a:t>)</a:t>
            </a:r>
            <a:endParaRPr kumimoji="0" lang="el-GR" sz="3600" b="0" i="0" u="none" strike="noStrike" kern="1200" cap="none" spc="0" normalizeH="0" baseline="0" noProof="0" dirty="0">
              <a:ln>
                <a:noFill/>
              </a:ln>
              <a:solidFill>
                <a:srgbClr val="C00000"/>
              </a:solidFill>
              <a:effectLst/>
              <a:uLnTx/>
              <a:uFillTx/>
              <a:latin typeface="Arial" panose="020B0604020202020204" pitchFamily="34" charset="0"/>
              <a:ea typeface="+mn-ea"/>
              <a:cs typeface="Arial" charset="0"/>
            </a:endParaRPr>
          </a:p>
        </p:txBody>
      </p:sp>
      <p:sp>
        <p:nvSpPr>
          <p:cNvPr id="2" name="TextBox 1">
            <a:extLst>
              <a:ext uri="{FF2B5EF4-FFF2-40B4-BE49-F238E27FC236}">
                <a16:creationId xmlns:a16="http://schemas.microsoft.com/office/drawing/2014/main" id="{92241AEC-5675-CC8E-D317-39F39A5F9DCB}"/>
              </a:ext>
            </a:extLst>
          </p:cNvPr>
          <p:cNvSpPr txBox="1"/>
          <p:nvPr/>
        </p:nvSpPr>
        <p:spPr>
          <a:xfrm>
            <a:off x="2222502" y="6463927"/>
            <a:ext cx="6476004" cy="307777"/>
          </a:xfrm>
          <a:prstGeom prst="rect">
            <a:avLst/>
          </a:prstGeom>
          <a:noFill/>
        </p:spPr>
        <p:txBody>
          <a:bodyPr wrap="none" rtlCol="0">
            <a:spAutoFit/>
          </a:bodyPr>
          <a:lstStyle/>
          <a:p>
            <a:r>
              <a:rPr lang="en-US" sz="1400" b="0" i="0" dirty="0">
                <a:effectLst/>
                <a:latin typeface="Arial" panose="020B0604020202020204" pitchFamily="34" charset="0"/>
                <a:cs typeface="Arial" panose="020B0604020202020204" pitchFamily="34" charset="0"/>
              </a:rPr>
              <a:t>Papatheodoridi M &amp; Papatheodoridis GV. </a:t>
            </a:r>
            <a:r>
              <a:rPr lang="en-US" sz="1400" b="0" i="0" dirty="0" err="1">
                <a:effectLst/>
                <a:latin typeface="Arial" panose="020B0604020202020204" pitchFamily="34" charset="0"/>
                <a:cs typeface="Arial" panose="020B0604020202020204" pitchFamily="34" charset="0"/>
              </a:rPr>
              <a:t>Curr</a:t>
            </a:r>
            <a:r>
              <a:rPr lang="en-US" sz="1400" b="0" i="0" dirty="0">
                <a:effectLst/>
                <a:latin typeface="Arial" panose="020B0604020202020204" pitchFamily="34" charset="0"/>
                <a:cs typeface="Arial" panose="020B0604020202020204" pitchFamily="34" charset="0"/>
              </a:rPr>
              <a:t> </a:t>
            </a:r>
            <a:r>
              <a:rPr lang="en-US" sz="1400" b="0" i="0" dirty="0" err="1">
                <a:effectLst/>
                <a:latin typeface="Arial" panose="020B0604020202020204" pitchFamily="34" charset="0"/>
                <a:cs typeface="Arial" panose="020B0604020202020204" pitchFamily="34" charset="0"/>
              </a:rPr>
              <a:t>Opin</a:t>
            </a:r>
            <a:r>
              <a:rPr lang="en-US" sz="1400" b="0" i="0" dirty="0">
                <a:effectLst/>
                <a:latin typeface="Arial" panose="020B0604020202020204" pitchFamily="34" charset="0"/>
                <a:cs typeface="Arial" panose="020B0604020202020204" pitchFamily="34" charset="0"/>
              </a:rPr>
              <a:t> </a:t>
            </a:r>
            <a:r>
              <a:rPr lang="en-US" sz="1400" b="0" i="0" dirty="0" err="1">
                <a:effectLst/>
                <a:latin typeface="Arial" panose="020B0604020202020204" pitchFamily="34" charset="0"/>
                <a:cs typeface="Arial" panose="020B0604020202020204" pitchFamily="34" charset="0"/>
              </a:rPr>
              <a:t>Pharmacol</a:t>
            </a:r>
            <a:r>
              <a:rPr lang="en-US" sz="1400" b="0" i="0" dirty="0">
                <a:effectLst/>
                <a:latin typeface="Arial" panose="020B0604020202020204" pitchFamily="34" charset="0"/>
                <a:cs typeface="Arial" panose="020B0604020202020204" pitchFamily="34" charset="0"/>
              </a:rPr>
              <a:t> 2021;58:62-7. </a:t>
            </a:r>
            <a:endParaRPr lang="el-GR"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2154811"/>
      </p:ext>
    </p:extLst>
  </p:cSld>
  <p:clrMapOvr>
    <a:masterClrMapping/>
  </p:clrMapOvr>
  <p:transition>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Espace réservé du contenu 3">
            <a:extLst>
              <a:ext uri="{FF2B5EF4-FFF2-40B4-BE49-F238E27FC236}">
                <a16:creationId xmlns:a16="http://schemas.microsoft.com/office/drawing/2014/main" id="{BCD28414-2E37-05D8-3A18-0D09AA648726}"/>
              </a:ext>
            </a:extLst>
          </p:cNvPr>
          <p:cNvGraphicFramePr>
            <a:graphicFrameLocks/>
          </p:cNvGraphicFramePr>
          <p:nvPr/>
        </p:nvGraphicFramePr>
        <p:xfrm>
          <a:off x="222204" y="1967630"/>
          <a:ext cx="9575657" cy="3173595"/>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10" descr="French Flag PNG, French Flag Transparent Background - FreeIconsPNG">
            <a:extLst>
              <a:ext uri="{FF2B5EF4-FFF2-40B4-BE49-F238E27FC236}">
                <a16:creationId xmlns:a16="http://schemas.microsoft.com/office/drawing/2014/main" id="{95B66AEA-BA42-4EF7-618F-463EB12795E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7550" y="2544768"/>
            <a:ext cx="316456" cy="31645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Italy Flag Icon | Download Rounded World Flags icons | IconsPedia">
            <a:extLst>
              <a:ext uri="{FF2B5EF4-FFF2-40B4-BE49-F238E27FC236}">
                <a16:creationId xmlns:a16="http://schemas.microsoft.com/office/drawing/2014/main" id="{876520A5-19E9-231E-B1C9-0DF4D7FBAFD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60905" y="2348979"/>
            <a:ext cx="316325" cy="3163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5" descr="Gilead Sciences (GILD) - Market capitalization">
            <a:extLst>
              <a:ext uri="{FF2B5EF4-FFF2-40B4-BE49-F238E27FC236}">
                <a16:creationId xmlns:a16="http://schemas.microsoft.com/office/drawing/2014/main" id="{652C7B4C-B408-1FE0-1429-FA086F8CEE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11457" y="2443652"/>
            <a:ext cx="311625" cy="311625"/>
          </a:xfrm>
          <a:prstGeom prst="rect">
            <a:avLst/>
          </a:prstGeom>
          <a:noFill/>
          <a:extLst>
            <a:ext uri="{909E8E84-426E-40DD-AFC4-6F175D3DCCD1}">
              <a14:hiddenFill xmlns:a14="http://schemas.microsoft.com/office/drawing/2010/main">
                <a:solidFill>
                  <a:srgbClr val="FFFFFF"/>
                </a:solidFill>
              </a14:hiddenFill>
            </a:ext>
          </a:extLst>
        </p:spPr>
      </p:pic>
      <p:sp>
        <p:nvSpPr>
          <p:cNvPr id="9" name="Date Placeholder 2">
            <a:extLst>
              <a:ext uri="{FF2B5EF4-FFF2-40B4-BE49-F238E27FC236}">
                <a16:creationId xmlns:a16="http://schemas.microsoft.com/office/drawing/2014/main" id="{CB8F60AD-04D9-E18B-F4CB-766F41B5CBC4}"/>
              </a:ext>
            </a:extLst>
          </p:cNvPr>
          <p:cNvSpPr txBox="1">
            <a:spLocks/>
          </p:cNvSpPr>
          <p:nvPr/>
        </p:nvSpPr>
        <p:spPr>
          <a:xfrm>
            <a:off x="-112822" y="5291391"/>
            <a:ext cx="6804756" cy="308074"/>
          </a:xfrm>
          <a:prstGeom prst="rect">
            <a:avLst/>
          </a:prstGeom>
        </p:spPr>
        <p:txBody>
          <a:bodyPr vert="horz" lIns="77153" tIns="38576" rIns="77153" bIns="38576" rtlCol="0" anchor="b"/>
          <a:lstStyle>
            <a:defPPr>
              <a:defRPr lang="en-US"/>
            </a:defPPr>
            <a:lvl1pPr marL="0" algn="l" defTabSz="914400" rtl="0" eaLnBrk="1" latinLnBrk="0" hangingPunct="1">
              <a:defRPr sz="1000" kern="1200">
                <a:solidFill>
                  <a:srgbClr val="002768"/>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771571" rtl="0" eaLnBrk="1" fontAlgn="auto" latinLnBrk="0" hangingPunct="1">
              <a:lnSpc>
                <a:spcPct val="100000"/>
              </a:lnSpc>
              <a:spcBef>
                <a:spcPts val="0"/>
              </a:spcBef>
              <a:spcAft>
                <a:spcPts val="0"/>
              </a:spcAft>
              <a:buClrTx/>
              <a:buSzTx/>
              <a:buFontTx/>
              <a:buNone/>
              <a:tabLst/>
              <a:defRPr/>
            </a:pPr>
            <a:endParaRPr kumimoji="0" lang="en-US" sz="844" b="0" i="0" u="none" strike="noStrike" kern="1200" cap="none" spc="0" normalizeH="0" baseline="0" noProof="0">
              <a:ln>
                <a:noFill/>
              </a:ln>
              <a:solidFill>
                <a:srgbClr val="002768"/>
              </a:solidFill>
              <a:effectLst/>
              <a:uLnTx/>
              <a:uFillTx/>
              <a:latin typeface="Arial" panose="020B0604020202020204" pitchFamily="34" charset="0"/>
              <a:ea typeface="+mn-ea"/>
              <a:cs typeface="Arial" panose="020B0604020202020204" pitchFamily="34" charset="0"/>
            </a:endParaRPr>
          </a:p>
        </p:txBody>
      </p:sp>
      <p:sp>
        <p:nvSpPr>
          <p:cNvPr id="10" name="TextBox 22">
            <a:extLst>
              <a:ext uri="{FF2B5EF4-FFF2-40B4-BE49-F238E27FC236}">
                <a16:creationId xmlns:a16="http://schemas.microsoft.com/office/drawing/2014/main" id="{30CE9E38-1255-B0E0-C48F-A9F57A67304B}"/>
              </a:ext>
            </a:extLst>
          </p:cNvPr>
          <p:cNvSpPr txBox="1"/>
          <p:nvPr/>
        </p:nvSpPr>
        <p:spPr>
          <a:xfrm>
            <a:off x="675566" y="4796967"/>
            <a:ext cx="3213948" cy="155877"/>
          </a:xfrm>
          <a:prstGeom prst="rect">
            <a:avLst/>
          </a:prstGeom>
          <a:noFill/>
        </p:spPr>
        <p:txBody>
          <a:bodyPr wrap="square" lIns="0" tIns="0" rIns="0" bIns="0"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charset="0"/>
              </a:rPr>
              <a:t>Undetectable HDV RNA or ≥2-log decline from baseline</a:t>
            </a:r>
          </a:p>
        </p:txBody>
      </p:sp>
      <p:sp>
        <p:nvSpPr>
          <p:cNvPr id="11" name="TextBox 23">
            <a:extLst>
              <a:ext uri="{FF2B5EF4-FFF2-40B4-BE49-F238E27FC236}">
                <a16:creationId xmlns:a16="http://schemas.microsoft.com/office/drawing/2014/main" id="{987971EA-84B8-F667-DEEB-F026AFEA0FE2}"/>
              </a:ext>
            </a:extLst>
          </p:cNvPr>
          <p:cNvSpPr txBox="1"/>
          <p:nvPr/>
        </p:nvSpPr>
        <p:spPr>
          <a:xfrm>
            <a:off x="6724909" y="4795582"/>
            <a:ext cx="3213948" cy="155877"/>
          </a:xfrm>
          <a:prstGeom prst="rect">
            <a:avLst/>
          </a:prstGeom>
          <a:noFill/>
        </p:spPr>
        <p:txBody>
          <a:bodyPr wrap="square" lIns="0" tIns="0" rIns="0" bIns="0"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000000"/>
                </a:solidFill>
                <a:effectLst/>
                <a:uLnTx/>
                <a:uFillTx/>
                <a:latin typeface="Trebuchet MS" panose="020B0603020202020204" pitchFamily="34" charset="0"/>
                <a:ea typeface="+mn-ea"/>
                <a:cs typeface="Arial" charset="0"/>
              </a:rPr>
              <a:t>Virologic response + ALT normalization</a:t>
            </a:r>
          </a:p>
        </p:txBody>
      </p:sp>
      <p:pic>
        <p:nvPicPr>
          <p:cNvPr id="12" name="Picture 10" descr="French Flag PNG, French Flag Transparent Background - FreeIconsPNG">
            <a:extLst>
              <a:ext uri="{FF2B5EF4-FFF2-40B4-BE49-F238E27FC236}">
                <a16:creationId xmlns:a16="http://schemas.microsoft.com/office/drawing/2014/main" id="{74303140-2C70-B465-52D0-31B9F65C45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33309" y="2544767"/>
            <a:ext cx="316456" cy="31645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Germany flag icon - country flags">
            <a:extLst>
              <a:ext uri="{FF2B5EF4-FFF2-40B4-BE49-F238E27FC236}">
                <a16:creationId xmlns:a16="http://schemas.microsoft.com/office/drawing/2014/main" id="{F6635D3E-E772-944F-214D-B7C61C0F160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81010" y="3935119"/>
            <a:ext cx="316325" cy="31632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28">
            <a:extLst>
              <a:ext uri="{FF2B5EF4-FFF2-40B4-BE49-F238E27FC236}">
                <a16:creationId xmlns:a16="http://schemas.microsoft.com/office/drawing/2014/main" id="{1A6BC5A1-A4E2-3565-6E8C-68D3346D954E}"/>
              </a:ext>
            </a:extLst>
          </p:cNvPr>
          <p:cNvSpPr txBox="1"/>
          <p:nvPr/>
        </p:nvSpPr>
        <p:spPr>
          <a:xfrm>
            <a:off x="3191575" y="4363907"/>
            <a:ext cx="279449" cy="155877"/>
          </a:xfrm>
          <a:prstGeom prst="rect">
            <a:avLst/>
          </a:prstGeom>
          <a:noFill/>
        </p:spPr>
        <p:txBody>
          <a:bodyPr wrap="square" lIns="0" tIns="0" rIns="0" bIns="0"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000000"/>
                </a:solidFill>
                <a:effectLst/>
                <a:uLnTx/>
                <a:uFillTx/>
                <a:latin typeface="Trebuchet MS" panose="020B0603020202020204" pitchFamily="34" charset="0"/>
                <a:ea typeface="+mn-ea"/>
                <a:cs typeface="Arial" charset="0"/>
              </a:rPr>
              <a:t>N/A</a:t>
            </a:r>
          </a:p>
        </p:txBody>
      </p:sp>
      <p:pic>
        <p:nvPicPr>
          <p:cNvPr id="15" name="Picture 10" descr="French Flag PNG, French Flag Transparent Background - FreeIconsPNG">
            <a:extLst>
              <a:ext uri="{FF2B5EF4-FFF2-40B4-BE49-F238E27FC236}">
                <a16:creationId xmlns:a16="http://schemas.microsoft.com/office/drawing/2014/main" id="{7FBD0619-B6AC-8D28-324B-964B21309A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20922" y="2953676"/>
            <a:ext cx="316456" cy="31645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Italy Flag Icon | Download Rounded World Flags icons | IconsPedia">
            <a:extLst>
              <a:ext uri="{FF2B5EF4-FFF2-40B4-BE49-F238E27FC236}">
                <a16:creationId xmlns:a16="http://schemas.microsoft.com/office/drawing/2014/main" id="{F7F82FED-2A22-28AD-BB23-21905A43130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75607" y="2813128"/>
            <a:ext cx="316325" cy="3163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1" descr="Gilead Sciences (GILD) - Market capitalization">
            <a:extLst>
              <a:ext uri="{FF2B5EF4-FFF2-40B4-BE49-F238E27FC236}">
                <a16:creationId xmlns:a16="http://schemas.microsoft.com/office/drawing/2014/main" id="{F8E3C78A-8B9F-BD95-008F-52AAF16E4C2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43498" y="2904571"/>
            <a:ext cx="311625" cy="31162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French Flag PNG, French Flag Transparent Background - FreeIconsPNG">
            <a:extLst>
              <a:ext uri="{FF2B5EF4-FFF2-40B4-BE49-F238E27FC236}">
                <a16:creationId xmlns:a16="http://schemas.microsoft.com/office/drawing/2014/main" id="{DF8E4A11-DD95-B855-0E85-B0DC538FFA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65349" y="2684945"/>
            <a:ext cx="316456" cy="3164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Germany flag icon - country flags">
            <a:extLst>
              <a:ext uri="{FF2B5EF4-FFF2-40B4-BE49-F238E27FC236}">
                <a16:creationId xmlns:a16="http://schemas.microsoft.com/office/drawing/2014/main" id="{93044AE5-499E-FCC4-20D4-589124E9EB8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88940" y="2658935"/>
            <a:ext cx="316325" cy="31632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0" descr="French Flag PNG, French Flag Transparent Background - FreeIconsPNG">
            <a:extLst>
              <a:ext uri="{FF2B5EF4-FFF2-40B4-BE49-F238E27FC236}">
                <a16:creationId xmlns:a16="http://schemas.microsoft.com/office/drawing/2014/main" id="{395B2D8B-8D97-A9FC-5AB2-C8552886F78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24622" y="3202362"/>
            <a:ext cx="316456" cy="31645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Italy Flag Icon | Download Rounded World Flags icons | IconsPedia">
            <a:extLst>
              <a:ext uri="{FF2B5EF4-FFF2-40B4-BE49-F238E27FC236}">
                <a16:creationId xmlns:a16="http://schemas.microsoft.com/office/drawing/2014/main" id="{1CFD65C1-6B46-5A07-3F66-293EC1D22FA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87976" y="2939335"/>
            <a:ext cx="316325" cy="31632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6" descr="Gilead Sciences (GILD) - Market capitalization">
            <a:extLst>
              <a:ext uri="{FF2B5EF4-FFF2-40B4-BE49-F238E27FC236}">
                <a16:creationId xmlns:a16="http://schemas.microsoft.com/office/drawing/2014/main" id="{F0BD16E8-8178-02FA-0886-1006B567942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47198" y="3031895"/>
            <a:ext cx="311625" cy="31162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0" descr="French Flag PNG, French Flag Transparent Background - FreeIconsPNG">
            <a:extLst>
              <a:ext uri="{FF2B5EF4-FFF2-40B4-BE49-F238E27FC236}">
                <a16:creationId xmlns:a16="http://schemas.microsoft.com/office/drawing/2014/main" id="{AE666481-30EF-68A7-6254-F8D0F6D4D7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52344" y="3384406"/>
            <a:ext cx="316456" cy="31645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Germany flag icon - country flags">
            <a:extLst>
              <a:ext uri="{FF2B5EF4-FFF2-40B4-BE49-F238E27FC236}">
                <a16:creationId xmlns:a16="http://schemas.microsoft.com/office/drawing/2014/main" id="{E726D78C-A471-D56D-2A2D-FA2949997BE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192640" y="3297719"/>
            <a:ext cx="316325" cy="316325"/>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39">
            <a:extLst>
              <a:ext uri="{FF2B5EF4-FFF2-40B4-BE49-F238E27FC236}">
                <a16:creationId xmlns:a16="http://schemas.microsoft.com/office/drawing/2014/main" id="{A0DA4A5B-832B-1A59-1C96-331E1FD0904D}"/>
              </a:ext>
            </a:extLst>
          </p:cNvPr>
          <p:cNvSpPr txBox="1"/>
          <p:nvPr/>
        </p:nvSpPr>
        <p:spPr>
          <a:xfrm>
            <a:off x="3807308" y="1634282"/>
            <a:ext cx="2959066" cy="305996"/>
          </a:xfrm>
          <a:prstGeom prst="rect">
            <a:avLst/>
          </a:prstGeom>
          <a:solidFill>
            <a:srgbClr val="C50E3C"/>
          </a:solidFill>
        </p:spPr>
        <p:txBody>
          <a:bodyPr wrap="square"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Trebuchet MS" panose="020B0603020202020204" pitchFamily="34" charset="0"/>
              </a:defRPr>
            </a:lvl1p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181" b="1"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ALT Normalization</a:t>
            </a:r>
          </a:p>
        </p:txBody>
      </p:sp>
      <p:sp>
        <p:nvSpPr>
          <p:cNvPr id="26" name="TextBox 40">
            <a:extLst>
              <a:ext uri="{FF2B5EF4-FFF2-40B4-BE49-F238E27FC236}">
                <a16:creationId xmlns:a16="http://schemas.microsoft.com/office/drawing/2014/main" id="{DAB351F3-8B6E-B725-DA39-5163E08A4EDD}"/>
              </a:ext>
            </a:extLst>
          </p:cNvPr>
          <p:cNvSpPr txBox="1"/>
          <p:nvPr/>
        </p:nvSpPr>
        <p:spPr>
          <a:xfrm>
            <a:off x="282625" y="1640074"/>
            <a:ext cx="3335843" cy="307229"/>
          </a:xfrm>
          <a:prstGeom prst="rect">
            <a:avLst/>
          </a:prstGeom>
          <a:solidFill>
            <a:srgbClr val="C50E3C"/>
          </a:solidFill>
        </p:spPr>
        <p:txBody>
          <a:bodyPr wrap="square"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Trebuchet MS" panose="020B0603020202020204" pitchFamily="34" charset="0"/>
              </a:defRPr>
            </a:lvl1p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181" b="1"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Virologic Response</a:t>
            </a:r>
          </a:p>
        </p:txBody>
      </p:sp>
      <p:sp>
        <p:nvSpPr>
          <p:cNvPr id="27" name="TextBox 41">
            <a:extLst>
              <a:ext uri="{FF2B5EF4-FFF2-40B4-BE49-F238E27FC236}">
                <a16:creationId xmlns:a16="http://schemas.microsoft.com/office/drawing/2014/main" id="{0709FB6E-D35D-4019-3FEA-497234C3A6B3}"/>
              </a:ext>
            </a:extLst>
          </p:cNvPr>
          <p:cNvSpPr txBox="1"/>
          <p:nvPr/>
        </p:nvSpPr>
        <p:spPr>
          <a:xfrm>
            <a:off x="6975921" y="1634283"/>
            <a:ext cx="2959066" cy="313020"/>
          </a:xfrm>
          <a:prstGeom prst="rect">
            <a:avLst/>
          </a:prstGeom>
          <a:solidFill>
            <a:srgbClr val="C50E3C"/>
          </a:solidFill>
        </p:spPr>
        <p:txBody>
          <a:bodyPr wrap="square"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chemeClr val="bg1"/>
                </a:solidFill>
                <a:effectLst/>
                <a:uLnTx/>
                <a:uFillTx/>
                <a:latin typeface="Trebuchet MS" panose="020B0603020202020204" pitchFamily="34" charset="0"/>
              </a:defRPr>
            </a:lvl1p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181" b="1"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Combined Response</a:t>
            </a:r>
            <a:endParaRPr kumimoji="0" lang="en-US" sz="1181" b="1" i="0" u="none" strike="noStrike" kern="1200" cap="none" spc="0" normalizeH="0" baseline="30000" noProof="0">
              <a:ln>
                <a:noFill/>
              </a:ln>
              <a:solidFill>
                <a:srgbClr val="FFFFFF"/>
              </a:solidFill>
              <a:effectLst/>
              <a:uLnTx/>
              <a:uFillTx/>
              <a:latin typeface="Trebuchet MS" panose="020B0603020202020204" pitchFamily="34" charset="0"/>
              <a:ea typeface="+mn-ea"/>
              <a:cs typeface="Arial" charset="0"/>
            </a:endParaRPr>
          </a:p>
        </p:txBody>
      </p:sp>
      <p:sp>
        <p:nvSpPr>
          <p:cNvPr id="28" name="TextBox 42">
            <a:extLst>
              <a:ext uri="{FF2B5EF4-FFF2-40B4-BE49-F238E27FC236}">
                <a16:creationId xmlns:a16="http://schemas.microsoft.com/office/drawing/2014/main" id="{8F84BED7-6919-FA23-10AB-194E9CFE12A2}"/>
              </a:ext>
            </a:extLst>
          </p:cNvPr>
          <p:cNvSpPr txBox="1"/>
          <p:nvPr/>
        </p:nvSpPr>
        <p:spPr>
          <a:xfrm>
            <a:off x="827808"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35/49</a:t>
            </a:r>
          </a:p>
        </p:txBody>
      </p:sp>
      <p:sp>
        <p:nvSpPr>
          <p:cNvPr id="29" name="TextBox 43">
            <a:extLst>
              <a:ext uri="{FF2B5EF4-FFF2-40B4-BE49-F238E27FC236}">
                <a16:creationId xmlns:a16="http://schemas.microsoft.com/office/drawing/2014/main" id="{8E8F5DF1-9A0F-4F86-538B-F0AD641F8045}"/>
              </a:ext>
            </a:extLst>
          </p:cNvPr>
          <p:cNvSpPr txBox="1"/>
          <p:nvPr/>
        </p:nvSpPr>
        <p:spPr>
          <a:xfrm>
            <a:off x="1366512"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14/18</a:t>
            </a:r>
          </a:p>
        </p:txBody>
      </p:sp>
      <p:sp>
        <p:nvSpPr>
          <p:cNvPr id="30" name="TextBox 44">
            <a:extLst>
              <a:ext uri="{FF2B5EF4-FFF2-40B4-BE49-F238E27FC236}">
                <a16:creationId xmlns:a16="http://schemas.microsoft.com/office/drawing/2014/main" id="{D5BA3A38-B10B-A29A-F314-C570F159987E}"/>
              </a:ext>
            </a:extLst>
          </p:cNvPr>
          <p:cNvSpPr txBox="1"/>
          <p:nvPr/>
        </p:nvSpPr>
        <p:spPr>
          <a:xfrm>
            <a:off x="1906172"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28/41</a:t>
            </a:r>
          </a:p>
        </p:txBody>
      </p:sp>
      <p:sp>
        <p:nvSpPr>
          <p:cNvPr id="31" name="TextBox 45">
            <a:extLst>
              <a:ext uri="{FF2B5EF4-FFF2-40B4-BE49-F238E27FC236}">
                <a16:creationId xmlns:a16="http://schemas.microsoft.com/office/drawing/2014/main" id="{E5595726-3295-9CC1-A62B-D07F23BEE970}"/>
              </a:ext>
            </a:extLst>
          </p:cNvPr>
          <p:cNvSpPr txBox="1"/>
          <p:nvPr/>
        </p:nvSpPr>
        <p:spPr>
          <a:xfrm>
            <a:off x="2460951"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N~29</a:t>
            </a:r>
            <a:r>
              <a:rPr kumimoji="0" lang="en-US" sz="886" b="0" i="0" u="none" strike="noStrike" kern="1200" cap="none" spc="0" normalizeH="0" baseline="30000" noProof="0">
                <a:ln>
                  <a:noFill/>
                </a:ln>
                <a:solidFill>
                  <a:srgbClr val="FFFFFF"/>
                </a:solidFill>
                <a:effectLst/>
                <a:uLnTx/>
                <a:uFillTx/>
                <a:latin typeface="Trebuchet MS" panose="020B0603020202020204" pitchFamily="34" charset="0"/>
                <a:ea typeface="+mn-ea"/>
                <a:cs typeface="Arial" charset="0"/>
              </a:rPr>
              <a:t>†</a:t>
            </a:r>
          </a:p>
        </p:txBody>
      </p:sp>
      <p:sp>
        <p:nvSpPr>
          <p:cNvPr id="32" name="TextBox 46">
            <a:extLst>
              <a:ext uri="{FF2B5EF4-FFF2-40B4-BE49-F238E27FC236}">
                <a16:creationId xmlns:a16="http://schemas.microsoft.com/office/drawing/2014/main" id="{0124E0C1-E133-1AF5-7664-515857774A63}"/>
              </a:ext>
            </a:extLst>
          </p:cNvPr>
          <p:cNvSpPr txBox="1"/>
          <p:nvPr/>
        </p:nvSpPr>
        <p:spPr>
          <a:xfrm>
            <a:off x="3852052"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25/49</a:t>
            </a:r>
          </a:p>
        </p:txBody>
      </p:sp>
      <p:sp>
        <p:nvSpPr>
          <p:cNvPr id="33" name="TextBox 47">
            <a:extLst>
              <a:ext uri="{FF2B5EF4-FFF2-40B4-BE49-F238E27FC236}">
                <a16:creationId xmlns:a16="http://schemas.microsoft.com/office/drawing/2014/main" id="{B830D997-7964-9BA3-7256-1B72B5A69C65}"/>
              </a:ext>
            </a:extLst>
          </p:cNvPr>
          <p:cNvSpPr txBox="1"/>
          <p:nvPr/>
        </p:nvSpPr>
        <p:spPr>
          <a:xfrm>
            <a:off x="4394308"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rial" charset="0"/>
              </a:rPr>
              <a:t>10/18</a:t>
            </a:r>
          </a:p>
        </p:txBody>
      </p:sp>
      <p:sp>
        <p:nvSpPr>
          <p:cNvPr id="34" name="TextBox 48">
            <a:extLst>
              <a:ext uri="{FF2B5EF4-FFF2-40B4-BE49-F238E27FC236}">
                <a16:creationId xmlns:a16="http://schemas.microsoft.com/office/drawing/2014/main" id="{29FA2580-D4E0-FA22-F136-173FC2732B5D}"/>
              </a:ext>
            </a:extLst>
          </p:cNvPr>
          <p:cNvSpPr txBox="1"/>
          <p:nvPr/>
        </p:nvSpPr>
        <p:spPr>
          <a:xfrm>
            <a:off x="7938096"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16/41</a:t>
            </a:r>
          </a:p>
        </p:txBody>
      </p:sp>
      <p:sp>
        <p:nvSpPr>
          <p:cNvPr id="35" name="TextBox 49">
            <a:extLst>
              <a:ext uri="{FF2B5EF4-FFF2-40B4-BE49-F238E27FC236}">
                <a16:creationId xmlns:a16="http://schemas.microsoft.com/office/drawing/2014/main" id="{EDB0EE8C-5C02-C3C8-F131-D921054307B6}"/>
              </a:ext>
            </a:extLst>
          </p:cNvPr>
          <p:cNvSpPr txBox="1"/>
          <p:nvPr/>
        </p:nvSpPr>
        <p:spPr>
          <a:xfrm>
            <a:off x="5462469"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N~29</a:t>
            </a:r>
            <a:r>
              <a:rPr kumimoji="0" lang="en-US" sz="886" b="0" i="0" u="none" strike="noStrike" kern="1200" cap="none" spc="0" normalizeH="0" baseline="30000" noProof="0">
                <a:ln>
                  <a:noFill/>
                </a:ln>
                <a:solidFill>
                  <a:srgbClr val="FFFFFF"/>
                </a:solidFill>
                <a:effectLst/>
                <a:uLnTx/>
                <a:uFillTx/>
                <a:latin typeface="Trebuchet MS" panose="020B0603020202020204" pitchFamily="34" charset="0"/>
                <a:ea typeface="+mn-ea"/>
                <a:cs typeface="Arial" charset="0"/>
              </a:rPr>
              <a:t>†</a:t>
            </a:r>
            <a:endPar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endParaRPr>
          </a:p>
        </p:txBody>
      </p:sp>
      <p:sp>
        <p:nvSpPr>
          <p:cNvPr id="36" name="TextBox 50">
            <a:extLst>
              <a:ext uri="{FF2B5EF4-FFF2-40B4-BE49-F238E27FC236}">
                <a16:creationId xmlns:a16="http://schemas.microsoft.com/office/drawing/2014/main" id="{CB4A3691-9DCC-00D9-64CB-E5CDA5683428}"/>
              </a:ext>
            </a:extLst>
          </p:cNvPr>
          <p:cNvSpPr txBox="1"/>
          <p:nvPr/>
        </p:nvSpPr>
        <p:spPr>
          <a:xfrm>
            <a:off x="6016317"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N~13</a:t>
            </a:r>
            <a:r>
              <a:rPr kumimoji="0" lang="en-US" sz="886" b="0" i="0" u="none" strike="noStrike" kern="1200" cap="none" spc="0" normalizeH="0" baseline="30000" noProof="0">
                <a:ln>
                  <a:noFill/>
                </a:ln>
                <a:solidFill>
                  <a:srgbClr val="FFFFFF"/>
                </a:solidFill>
                <a:effectLst/>
                <a:uLnTx/>
                <a:uFillTx/>
                <a:latin typeface="Trebuchet MS" panose="020B0603020202020204" pitchFamily="34" charset="0"/>
                <a:ea typeface="+mn-ea"/>
                <a:cs typeface="Arial" charset="0"/>
              </a:rPr>
              <a:t>†</a:t>
            </a:r>
            <a:endPar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endParaRPr>
          </a:p>
        </p:txBody>
      </p:sp>
      <p:sp>
        <p:nvSpPr>
          <p:cNvPr id="37" name="TextBox 51">
            <a:extLst>
              <a:ext uri="{FF2B5EF4-FFF2-40B4-BE49-F238E27FC236}">
                <a16:creationId xmlns:a16="http://schemas.microsoft.com/office/drawing/2014/main" id="{B4AEC221-0FC6-C801-25FD-E0265BD73C89}"/>
              </a:ext>
            </a:extLst>
          </p:cNvPr>
          <p:cNvSpPr txBox="1"/>
          <p:nvPr/>
        </p:nvSpPr>
        <p:spPr>
          <a:xfrm>
            <a:off x="6858334"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22/49</a:t>
            </a:r>
          </a:p>
        </p:txBody>
      </p:sp>
      <p:sp>
        <p:nvSpPr>
          <p:cNvPr id="38" name="TextBox 52">
            <a:extLst>
              <a:ext uri="{FF2B5EF4-FFF2-40B4-BE49-F238E27FC236}">
                <a16:creationId xmlns:a16="http://schemas.microsoft.com/office/drawing/2014/main" id="{75CF1557-8DD4-164C-DE65-5DA52F96D43C}"/>
              </a:ext>
            </a:extLst>
          </p:cNvPr>
          <p:cNvSpPr txBox="1"/>
          <p:nvPr/>
        </p:nvSpPr>
        <p:spPr>
          <a:xfrm>
            <a:off x="7411931"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dirty="0">
                <a:ln>
                  <a:noFill/>
                </a:ln>
                <a:solidFill>
                  <a:srgbClr val="FFFFFF"/>
                </a:solidFill>
                <a:effectLst/>
                <a:uLnTx/>
                <a:uFillTx/>
                <a:latin typeface="Trebuchet MS" panose="020B0603020202020204" pitchFamily="34" charset="0"/>
                <a:ea typeface="+mn-ea"/>
                <a:cs typeface="Arial" charset="0"/>
              </a:rPr>
              <a:t>9/18</a:t>
            </a:r>
          </a:p>
        </p:txBody>
      </p:sp>
      <p:sp>
        <p:nvSpPr>
          <p:cNvPr id="39" name="TextBox 53">
            <a:extLst>
              <a:ext uri="{FF2B5EF4-FFF2-40B4-BE49-F238E27FC236}">
                <a16:creationId xmlns:a16="http://schemas.microsoft.com/office/drawing/2014/main" id="{1033FA36-615A-3694-3620-AC90B07C537E}"/>
              </a:ext>
            </a:extLst>
          </p:cNvPr>
          <p:cNvSpPr txBox="1"/>
          <p:nvPr/>
        </p:nvSpPr>
        <p:spPr>
          <a:xfrm>
            <a:off x="4924955"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20/41</a:t>
            </a:r>
          </a:p>
        </p:txBody>
      </p:sp>
      <p:sp>
        <p:nvSpPr>
          <p:cNvPr id="40" name="TextBox 54">
            <a:extLst>
              <a:ext uri="{FF2B5EF4-FFF2-40B4-BE49-F238E27FC236}">
                <a16:creationId xmlns:a16="http://schemas.microsoft.com/office/drawing/2014/main" id="{0FFCD105-BAD3-359F-3F73-4938B8FEEEA5}"/>
              </a:ext>
            </a:extLst>
          </p:cNvPr>
          <p:cNvSpPr txBox="1"/>
          <p:nvPr/>
        </p:nvSpPr>
        <p:spPr>
          <a:xfrm>
            <a:off x="8481261"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N~29</a:t>
            </a:r>
            <a:r>
              <a:rPr kumimoji="0" lang="en-US" sz="886" b="0" i="0" u="none" strike="noStrike" kern="1200" cap="none" spc="0" normalizeH="0" baseline="30000" noProof="0">
                <a:ln>
                  <a:noFill/>
                </a:ln>
                <a:solidFill>
                  <a:srgbClr val="FFFFFF"/>
                </a:solidFill>
                <a:effectLst/>
                <a:uLnTx/>
                <a:uFillTx/>
                <a:latin typeface="Trebuchet MS" panose="020B0603020202020204" pitchFamily="34" charset="0"/>
                <a:ea typeface="+mn-ea"/>
                <a:cs typeface="Arial" charset="0"/>
              </a:rPr>
              <a:t>†</a:t>
            </a:r>
            <a:endPar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endParaRPr>
          </a:p>
        </p:txBody>
      </p:sp>
      <p:sp>
        <p:nvSpPr>
          <p:cNvPr id="41" name="TextBox 55">
            <a:extLst>
              <a:ext uri="{FF2B5EF4-FFF2-40B4-BE49-F238E27FC236}">
                <a16:creationId xmlns:a16="http://schemas.microsoft.com/office/drawing/2014/main" id="{C65C7CA3-F3E2-EE98-F0B1-B033ABE455EC}"/>
              </a:ext>
            </a:extLst>
          </p:cNvPr>
          <p:cNvSpPr txBox="1"/>
          <p:nvPr/>
        </p:nvSpPr>
        <p:spPr>
          <a:xfrm>
            <a:off x="9019378" y="4362950"/>
            <a:ext cx="678923" cy="228652"/>
          </a:xfrm>
          <a:prstGeom prst="rect">
            <a:avLst/>
          </a:prstGeom>
          <a:noFill/>
        </p:spPr>
        <p:txBody>
          <a:bodyPr wrap="square" rtlCol="0">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N~13</a:t>
            </a:r>
            <a:r>
              <a:rPr kumimoji="0" lang="en-US" sz="886" b="0" i="0" u="none" strike="noStrike" kern="1200" cap="none" spc="0" normalizeH="0" baseline="30000" noProof="0">
                <a:ln>
                  <a:noFill/>
                </a:ln>
                <a:solidFill>
                  <a:srgbClr val="FFFFFF"/>
                </a:solidFill>
                <a:effectLst/>
                <a:uLnTx/>
                <a:uFillTx/>
                <a:latin typeface="Trebuchet MS" panose="020B0603020202020204" pitchFamily="34" charset="0"/>
                <a:ea typeface="+mn-ea"/>
                <a:cs typeface="Arial" charset="0"/>
              </a:rPr>
              <a:t>†</a:t>
            </a:r>
            <a:endParaRPr kumimoji="0" lang="en-US" sz="886" b="0"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endParaRPr>
          </a:p>
        </p:txBody>
      </p:sp>
      <p:sp>
        <p:nvSpPr>
          <p:cNvPr id="42" name="TextBox 4">
            <a:extLst>
              <a:ext uri="{FF2B5EF4-FFF2-40B4-BE49-F238E27FC236}">
                <a16:creationId xmlns:a16="http://schemas.microsoft.com/office/drawing/2014/main" id="{94829C1B-6C1F-39A4-9314-ACA07B651DD5}"/>
              </a:ext>
            </a:extLst>
          </p:cNvPr>
          <p:cNvSpPr txBox="1"/>
          <p:nvPr/>
        </p:nvSpPr>
        <p:spPr>
          <a:xfrm>
            <a:off x="5759579" y="4625333"/>
            <a:ext cx="256739" cy="213520"/>
          </a:xfrm>
          <a:prstGeom prst="rect">
            <a:avLst/>
          </a:prstGeom>
          <a:noFill/>
        </p:spPr>
        <p:txBody>
          <a:bodyPr wrap="square" rtlCol="0">
            <a:spAutoFit/>
          </a:bodyPr>
          <a:lstStyle/>
          <a:p>
            <a:pPr marL="0" marR="0" lvl="0" indent="0" algn="l" defTabSz="771571" rtl="0" eaLnBrk="1" fontAlgn="auto" latinLnBrk="0" hangingPunct="1">
              <a:lnSpc>
                <a:spcPct val="100000"/>
              </a:lnSpc>
              <a:spcBef>
                <a:spcPts val="0"/>
              </a:spcBef>
              <a:spcAft>
                <a:spcPts val="0"/>
              </a:spcAft>
              <a:buClrTx/>
              <a:buSzTx/>
              <a:buFontTx/>
              <a:buNone/>
              <a:tabLst/>
              <a:defRPr/>
            </a:pPr>
            <a:r>
              <a:rPr kumimoji="0" lang="en-US" sz="1181" b="0" i="0" u="none" strike="noStrike" kern="1200" cap="none" spc="0" normalizeH="0" baseline="30000" noProof="0">
                <a:ln>
                  <a:noFill/>
                </a:ln>
                <a:solidFill>
                  <a:srgbClr val="000000"/>
                </a:solidFill>
                <a:effectLst/>
                <a:uLnTx/>
                <a:uFillTx/>
                <a:latin typeface="Arial" panose="020B0604020202020204"/>
                <a:ea typeface="+mn-ea"/>
                <a:cs typeface="Arial" charset="0"/>
              </a:rPr>
              <a:t>‡</a:t>
            </a:r>
          </a:p>
        </p:txBody>
      </p:sp>
      <p:sp>
        <p:nvSpPr>
          <p:cNvPr id="43" name="TextBox 61">
            <a:extLst>
              <a:ext uri="{FF2B5EF4-FFF2-40B4-BE49-F238E27FC236}">
                <a16:creationId xmlns:a16="http://schemas.microsoft.com/office/drawing/2014/main" id="{3E91D765-618F-8AB4-637D-31E29FB12899}"/>
              </a:ext>
            </a:extLst>
          </p:cNvPr>
          <p:cNvSpPr txBox="1">
            <a:spLocks/>
          </p:cNvSpPr>
          <p:nvPr/>
        </p:nvSpPr>
        <p:spPr>
          <a:xfrm>
            <a:off x="282626" y="5059286"/>
            <a:ext cx="9660135" cy="476583"/>
          </a:xfrm>
          <a:prstGeom prst="rect">
            <a:avLst/>
          </a:prstGeom>
          <a:solidFill>
            <a:srgbClr val="203661"/>
          </a:solidFill>
        </p:spPr>
        <p:txBody>
          <a:bodyPr wrap="square" lIns="77153" tIns="38576" rIns="77153" bIns="38576" rtlCol="0" anchor="ctr">
            <a:no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FFFFFF"/>
                </a:solidFill>
                <a:effectLst/>
                <a:uLnTx/>
                <a:uFillTx/>
                <a:latin typeface="Trebuchet MS" panose="020B0603020202020204" pitchFamily="34" charset="0"/>
                <a:ea typeface="+mn-ea"/>
                <a:cs typeface="Arial" charset="0"/>
              </a:rPr>
              <a:t> Week 48 RWD support the efficacy of BLV 2 mg observed in MYR301</a:t>
            </a:r>
          </a:p>
        </p:txBody>
      </p:sp>
      <p:sp>
        <p:nvSpPr>
          <p:cNvPr id="83" name="Title 1">
            <a:extLst>
              <a:ext uri="{FF2B5EF4-FFF2-40B4-BE49-F238E27FC236}">
                <a16:creationId xmlns:a16="http://schemas.microsoft.com/office/drawing/2014/main" id="{1B8720F8-CF78-4410-4125-9E1C3A1CD304}"/>
              </a:ext>
            </a:extLst>
          </p:cNvPr>
          <p:cNvSpPr>
            <a:spLocks noGrp="1"/>
          </p:cNvSpPr>
          <p:nvPr>
            <p:ph type="title"/>
          </p:nvPr>
        </p:nvSpPr>
        <p:spPr>
          <a:xfrm>
            <a:off x="491772" y="358560"/>
            <a:ext cx="9258300" cy="832797"/>
          </a:xfrm>
        </p:spPr>
        <p:txBody>
          <a:bodyPr/>
          <a:lstStyle/>
          <a:p>
            <a:r>
              <a:rPr lang="en-US" sz="2800" dirty="0">
                <a:solidFill>
                  <a:srgbClr val="C00000"/>
                </a:solidFill>
              </a:rPr>
              <a:t>BLV 2 mg monotherapy in CHD: efficacy at week 48 </a:t>
            </a:r>
            <a:br>
              <a:rPr lang="en-US" sz="2800" dirty="0">
                <a:solidFill>
                  <a:srgbClr val="C00000"/>
                </a:solidFill>
              </a:rPr>
            </a:br>
            <a:r>
              <a:rPr lang="en-US" sz="2800" dirty="0">
                <a:solidFill>
                  <a:srgbClr val="C00000"/>
                </a:solidFill>
              </a:rPr>
              <a:t>MYR301 and RWD Sets</a:t>
            </a:r>
          </a:p>
        </p:txBody>
      </p:sp>
      <p:sp>
        <p:nvSpPr>
          <p:cNvPr id="84" name="TextBox 19">
            <a:extLst>
              <a:ext uri="{FF2B5EF4-FFF2-40B4-BE49-F238E27FC236}">
                <a16:creationId xmlns:a16="http://schemas.microsoft.com/office/drawing/2014/main" id="{182DA3D6-1803-247F-6FF1-DB59C78B05BF}"/>
              </a:ext>
            </a:extLst>
          </p:cNvPr>
          <p:cNvSpPr txBox="1"/>
          <p:nvPr/>
        </p:nvSpPr>
        <p:spPr>
          <a:xfrm>
            <a:off x="278323" y="5645897"/>
            <a:ext cx="8599610" cy="233654"/>
          </a:xfrm>
          <a:prstGeom prst="rect">
            <a:avLst/>
          </a:prstGeom>
          <a:noFill/>
        </p:spPr>
        <p:txBody>
          <a:bodyPr wrap="square" lIns="0" tIns="0" rIns="0" bIns="0" rtlCol="0" anchor="b">
            <a:sp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Trebuchet MS" panose="020B0603020202020204" pitchFamily="34" charset="0"/>
                <a:cs typeface="Arial"/>
              </a:defRPr>
            </a:lvl1pPr>
          </a:lstStyle>
          <a:p>
            <a:pPr marL="0" marR="0" lvl="0" indent="0" algn="l" defTabSz="771571" rtl="0" eaLnBrk="1" fontAlgn="auto" latinLnBrk="0" hangingPunct="1">
              <a:lnSpc>
                <a:spcPct val="100000"/>
              </a:lnSpc>
              <a:spcBef>
                <a:spcPts val="0"/>
              </a:spcBef>
              <a:spcAft>
                <a:spcPts val="0"/>
              </a:spcAft>
              <a:buClrTx/>
              <a:buSzTx/>
              <a:buFontTx/>
              <a:buNone/>
              <a:tabLst/>
              <a:defRPr/>
            </a:pPr>
            <a:r>
              <a:rPr kumimoji="0" lang="en-US" sz="759"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a:rPr>
              <a:t>*NOT HEAD-TO-HEAD COMPARISONS. </a:t>
            </a:r>
            <a:r>
              <a:rPr kumimoji="0" lang="en-US" sz="759" b="0" i="0" u="none" strike="noStrike" kern="1200" cap="none" spc="0" normalizeH="0" baseline="30000" noProof="0" dirty="0">
                <a:ln>
                  <a:noFill/>
                </a:ln>
                <a:solidFill>
                  <a:srgbClr val="000000"/>
                </a:solidFill>
                <a:effectLst/>
                <a:uLnTx/>
                <a:uFillTx/>
                <a:latin typeface="Trebuchet MS" panose="020B0603020202020204" pitchFamily="34" charset="0"/>
                <a:ea typeface="+mn-ea"/>
                <a:cs typeface="Arial"/>
              </a:rPr>
              <a:t>†</a:t>
            </a:r>
            <a:r>
              <a:rPr kumimoji="0" lang="en-US" sz="759"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a:rPr>
              <a:t>n/N are not provided/unclear in the source document; </a:t>
            </a:r>
            <a:r>
              <a:rPr kumimoji="0" lang="en-US" sz="759" b="0" i="0" u="none" strike="noStrike" kern="1200" cap="none" spc="0" normalizeH="0" baseline="30000" noProof="0" dirty="0">
                <a:ln>
                  <a:noFill/>
                </a:ln>
                <a:solidFill>
                  <a:srgbClr val="000000"/>
                </a:solidFill>
                <a:effectLst/>
                <a:uLnTx/>
                <a:uFillTx/>
                <a:latin typeface="Trebuchet MS" panose="020B0603020202020204" pitchFamily="34" charset="0"/>
                <a:ea typeface="+mn-ea"/>
                <a:cs typeface="Arial"/>
              </a:rPr>
              <a:t>‡</a:t>
            </a:r>
            <a:r>
              <a:rPr kumimoji="0" lang="en-US" sz="759"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a:rPr>
              <a:t>See slide notes for ALT cutoff values. BLV, bulevirtide; RWD, real-world data. </a:t>
            </a:r>
          </a:p>
          <a:p>
            <a:pPr marL="0" marR="0" lvl="0" indent="0" algn="l" defTabSz="771571" rtl="0" eaLnBrk="1" fontAlgn="auto" latinLnBrk="0" hangingPunct="1">
              <a:lnSpc>
                <a:spcPct val="100000"/>
              </a:lnSpc>
              <a:spcBef>
                <a:spcPts val="0"/>
              </a:spcBef>
              <a:spcAft>
                <a:spcPts val="0"/>
              </a:spcAft>
              <a:buClrTx/>
              <a:buSzTx/>
              <a:buFontTx/>
              <a:buNone/>
              <a:tabLst/>
              <a:defRPr/>
            </a:pPr>
            <a:endParaRPr kumimoji="0" lang="en-US" sz="759"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a:endParaRPr>
          </a:p>
        </p:txBody>
      </p:sp>
      <p:sp>
        <p:nvSpPr>
          <p:cNvPr id="86" name="CasellaDiTesto 85">
            <a:extLst>
              <a:ext uri="{FF2B5EF4-FFF2-40B4-BE49-F238E27FC236}">
                <a16:creationId xmlns:a16="http://schemas.microsoft.com/office/drawing/2014/main" id="{AFBFEBE5-EDBC-45B1-4606-5C9488DFC45B}"/>
              </a:ext>
            </a:extLst>
          </p:cNvPr>
          <p:cNvSpPr txBox="1"/>
          <p:nvPr/>
        </p:nvSpPr>
        <p:spPr>
          <a:xfrm>
            <a:off x="313798" y="5924862"/>
            <a:ext cx="9660134" cy="404085"/>
          </a:xfrm>
          <a:prstGeom prst="rect">
            <a:avLst/>
          </a:prstGeom>
          <a:noFill/>
        </p:spPr>
        <p:txBody>
          <a:bodyPr wrap="square">
            <a:spAutoFit/>
          </a:bodyPr>
          <a:lstStyle/>
          <a:p>
            <a:pPr marL="0" marR="0" lvl="0" indent="0" algn="ctr" defTabSz="771571" rtl="0" eaLnBrk="1" fontAlgn="auto" latinLnBrk="0" hangingPunct="1">
              <a:lnSpc>
                <a:spcPct val="100000"/>
              </a:lnSpc>
              <a:spcBef>
                <a:spcPts val="0"/>
              </a:spcBef>
              <a:spcAft>
                <a:spcPts val="0"/>
              </a:spcAft>
              <a:buClrTx/>
              <a:buSzTx/>
              <a:buFontTx/>
              <a:buNone/>
              <a:tabLst/>
              <a:defRPr/>
            </a:pPr>
            <a:r>
              <a:rPr kumimoji="0" lang="en-US" sz="1013" b="1" i="1" u="none" strike="noStrike" kern="1200" cap="none" spc="0" normalizeH="0" baseline="0" noProof="0" dirty="0">
                <a:ln>
                  <a:noFill/>
                </a:ln>
                <a:solidFill>
                  <a:srgbClr val="00339A"/>
                </a:solidFill>
                <a:effectLst/>
                <a:uLnTx/>
                <a:uFillTx/>
                <a:latin typeface="Arial"/>
                <a:ea typeface="+mn-ea"/>
                <a:cs typeface="Arial"/>
              </a:rPr>
              <a:t>1) . Wedemeyer H, et al. EASL 2022. Oral #GS006; 2. Degasperi A, et al. EASL 2022. Poster #SAT429; 3. de </a:t>
            </a:r>
            <a:r>
              <a:rPr kumimoji="0" lang="en-US" sz="1013" b="1" i="1" u="none" strike="noStrike" kern="1200" cap="none" spc="0" normalizeH="0" baseline="0" noProof="0" dirty="0" err="1">
                <a:ln>
                  <a:noFill/>
                </a:ln>
                <a:solidFill>
                  <a:srgbClr val="00339A"/>
                </a:solidFill>
                <a:effectLst/>
                <a:uLnTx/>
                <a:uFillTx/>
                <a:latin typeface="Arial"/>
                <a:ea typeface="+mn-ea"/>
                <a:cs typeface="Arial"/>
              </a:rPr>
              <a:t>Lédinghen</a:t>
            </a:r>
            <a:r>
              <a:rPr kumimoji="0" lang="en-US" sz="1013" b="1" i="1" u="none" strike="noStrike" kern="1200" cap="none" spc="0" normalizeH="0" baseline="0" noProof="0" dirty="0">
                <a:ln>
                  <a:noFill/>
                </a:ln>
                <a:solidFill>
                  <a:srgbClr val="00339A"/>
                </a:solidFill>
                <a:effectLst/>
                <a:uLnTx/>
                <a:uFillTx/>
                <a:latin typeface="Arial"/>
                <a:ea typeface="+mn-ea"/>
                <a:cs typeface="Arial"/>
              </a:rPr>
              <a:t> V, et al. AASLD 2021. Oral #21; 4. Fontaine H, et al. EASL 2022. Oral #OS093;  5. Killer A, et al. EASL 2022. Poster #SAT345</a:t>
            </a:r>
          </a:p>
        </p:txBody>
      </p:sp>
    </p:spTree>
    <p:extLst>
      <p:ext uri="{BB962C8B-B14F-4D97-AF65-F5344CB8AC3E}">
        <p14:creationId xmlns:p14="http://schemas.microsoft.com/office/powerpoint/2010/main" val="36994969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9DDBDF23-C568-4CAF-A70B-CD9FC0A5075C}"/>
              </a:ext>
            </a:extLst>
          </p:cNvPr>
          <p:cNvSpPr>
            <a:spLocks noGrp="1" noChangeArrowheads="1"/>
          </p:cNvSpPr>
          <p:nvPr>
            <p:ph type="title" idx="4294967295"/>
          </p:nvPr>
        </p:nvSpPr>
        <p:spPr>
          <a:xfrm>
            <a:off x="750888" y="166688"/>
            <a:ext cx="8743950" cy="1143000"/>
          </a:xfrm>
        </p:spPr>
        <p:txBody>
          <a:bodyPr/>
          <a:lstStyle/>
          <a:p>
            <a:r>
              <a:rPr lang="en-GB" altLang="el-GR" sz="3600" b="1"/>
              <a:t>HCV</a:t>
            </a:r>
            <a:endParaRPr lang="en-US" altLang="el-GR" sz="3600" b="1"/>
          </a:p>
        </p:txBody>
      </p:sp>
      <p:pic>
        <p:nvPicPr>
          <p:cNvPr id="8195" name="Picture 3" descr="HCV_virus_dkbkg_10cms">
            <a:extLst>
              <a:ext uri="{FF2B5EF4-FFF2-40B4-BE49-F238E27FC236}">
                <a16:creationId xmlns:a16="http://schemas.microsoft.com/office/drawing/2014/main" id="{BF1767CF-0A42-445D-B48D-967F52AF58C3}"/>
              </a:ext>
            </a:extLst>
          </p:cNvPr>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l="1822" t="3645" r="2718" b="5136"/>
          <a:stretch>
            <a:fillRect/>
          </a:stretch>
        </p:blipFill>
        <p:spPr>
          <a:xfrm>
            <a:off x="2009775" y="1143000"/>
            <a:ext cx="6156325" cy="5429250"/>
          </a:xfrm>
        </p:spPr>
      </p:pic>
      <p:sp>
        <p:nvSpPr>
          <p:cNvPr id="8196" name="Line 4">
            <a:extLst>
              <a:ext uri="{FF2B5EF4-FFF2-40B4-BE49-F238E27FC236}">
                <a16:creationId xmlns:a16="http://schemas.microsoft.com/office/drawing/2014/main" id="{8022BEB3-3569-4B3D-AD79-84642DA566C9}"/>
              </a:ext>
            </a:extLst>
          </p:cNvPr>
          <p:cNvSpPr>
            <a:spLocks noChangeShapeType="1"/>
          </p:cNvSpPr>
          <p:nvPr/>
        </p:nvSpPr>
        <p:spPr bwMode="auto">
          <a:xfrm flipV="1">
            <a:off x="1920875" y="4786313"/>
            <a:ext cx="2143125" cy="714375"/>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8197" name="Text Box 5">
            <a:extLst>
              <a:ext uri="{FF2B5EF4-FFF2-40B4-BE49-F238E27FC236}">
                <a16:creationId xmlns:a16="http://schemas.microsoft.com/office/drawing/2014/main" id="{69DFCE46-BFA0-4952-94F4-E58352CC7E36}"/>
              </a:ext>
            </a:extLst>
          </p:cNvPr>
          <p:cNvSpPr txBox="1">
            <a:spLocks noChangeArrowheads="1"/>
          </p:cNvSpPr>
          <p:nvPr/>
        </p:nvSpPr>
        <p:spPr bwMode="auto">
          <a:xfrm>
            <a:off x="134938" y="5357813"/>
            <a:ext cx="17526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l-GR" altLang="el-GR" sz="2400" b="1">
                <a:solidFill>
                  <a:schemeClr val="tx2"/>
                </a:solidFill>
              </a:rPr>
              <a:t>Περίβλημα </a:t>
            </a:r>
            <a:r>
              <a:rPr lang="en-US" altLang="el-GR" sz="2400" b="1">
                <a:solidFill>
                  <a:schemeClr val="tx2"/>
                </a:solidFill>
              </a:rPr>
              <a:t>(e</a:t>
            </a:r>
            <a:r>
              <a:rPr lang="en-GB" altLang="el-GR" sz="2400" b="1">
                <a:solidFill>
                  <a:schemeClr val="tx2"/>
                </a:solidFill>
              </a:rPr>
              <a:t>nvelope)</a:t>
            </a:r>
            <a:endParaRPr lang="en-US" altLang="el-GR" sz="2400" b="1">
              <a:solidFill>
                <a:schemeClr val="tx2"/>
              </a:solidFill>
            </a:endParaRPr>
          </a:p>
        </p:txBody>
      </p:sp>
      <p:sp>
        <p:nvSpPr>
          <p:cNvPr id="8198" name="Text Box 6">
            <a:extLst>
              <a:ext uri="{FF2B5EF4-FFF2-40B4-BE49-F238E27FC236}">
                <a16:creationId xmlns:a16="http://schemas.microsoft.com/office/drawing/2014/main" id="{C4F97407-3291-4947-8571-23C038A48874}"/>
              </a:ext>
            </a:extLst>
          </p:cNvPr>
          <p:cNvSpPr txBox="1">
            <a:spLocks noChangeArrowheads="1"/>
          </p:cNvSpPr>
          <p:nvPr/>
        </p:nvSpPr>
        <p:spPr bwMode="auto">
          <a:xfrm>
            <a:off x="8166100" y="2687638"/>
            <a:ext cx="14573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l-GR" altLang="el-GR" sz="2400" b="1">
                <a:solidFill>
                  <a:schemeClr val="tx2"/>
                </a:solidFill>
              </a:rPr>
              <a:t>Ιικό </a:t>
            </a:r>
            <a:r>
              <a:rPr lang="en-GB" altLang="el-GR" sz="2400" b="1">
                <a:solidFill>
                  <a:schemeClr val="tx2"/>
                </a:solidFill>
              </a:rPr>
              <a:t>RNA</a:t>
            </a:r>
            <a:endParaRPr lang="en-US" altLang="el-GR" sz="2400" b="1">
              <a:solidFill>
                <a:schemeClr val="tx2"/>
              </a:solidFill>
            </a:endParaRPr>
          </a:p>
        </p:txBody>
      </p:sp>
      <p:sp>
        <p:nvSpPr>
          <p:cNvPr id="8199" name="Line 7">
            <a:extLst>
              <a:ext uri="{FF2B5EF4-FFF2-40B4-BE49-F238E27FC236}">
                <a16:creationId xmlns:a16="http://schemas.microsoft.com/office/drawing/2014/main" id="{FF163122-6E43-4742-950B-00ACF1619340}"/>
              </a:ext>
            </a:extLst>
          </p:cNvPr>
          <p:cNvSpPr>
            <a:spLocks noChangeShapeType="1"/>
          </p:cNvSpPr>
          <p:nvPr/>
        </p:nvSpPr>
        <p:spPr bwMode="auto">
          <a:xfrm flipV="1">
            <a:off x="5932488" y="2967038"/>
            <a:ext cx="2009775" cy="86360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8200" name="Line 8">
            <a:extLst>
              <a:ext uri="{FF2B5EF4-FFF2-40B4-BE49-F238E27FC236}">
                <a16:creationId xmlns:a16="http://schemas.microsoft.com/office/drawing/2014/main" id="{97F789BB-DE45-4DB9-80A8-0771CF9B8FB3}"/>
              </a:ext>
            </a:extLst>
          </p:cNvPr>
          <p:cNvSpPr>
            <a:spLocks noChangeShapeType="1"/>
          </p:cNvSpPr>
          <p:nvPr/>
        </p:nvSpPr>
        <p:spPr bwMode="auto">
          <a:xfrm>
            <a:off x="6234113" y="3941763"/>
            <a:ext cx="2025650" cy="107950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txBody>
          <a:bodyPr/>
          <a:lstStyle/>
          <a:p>
            <a:endParaRPr lang="el-GR"/>
          </a:p>
        </p:txBody>
      </p:sp>
      <p:sp>
        <p:nvSpPr>
          <p:cNvPr id="8201" name="Text Box 9">
            <a:extLst>
              <a:ext uri="{FF2B5EF4-FFF2-40B4-BE49-F238E27FC236}">
                <a16:creationId xmlns:a16="http://schemas.microsoft.com/office/drawing/2014/main" id="{1DA22E14-0456-44F9-8751-A1DBB510C87F}"/>
              </a:ext>
            </a:extLst>
          </p:cNvPr>
          <p:cNvSpPr txBox="1">
            <a:spLocks noChangeArrowheads="1"/>
          </p:cNvSpPr>
          <p:nvPr/>
        </p:nvSpPr>
        <p:spPr bwMode="auto">
          <a:xfrm>
            <a:off x="8237538" y="4643438"/>
            <a:ext cx="1692275"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l-GR" altLang="el-GR" sz="2400" b="1">
                <a:solidFill>
                  <a:schemeClr val="tx2"/>
                </a:solidFill>
              </a:rPr>
              <a:t>Πυρηνο-</a:t>
            </a:r>
          </a:p>
          <a:p>
            <a:pPr>
              <a:spcBef>
                <a:spcPct val="0"/>
              </a:spcBef>
              <a:buFontTx/>
              <a:buNone/>
            </a:pPr>
            <a:r>
              <a:rPr lang="el-GR" altLang="el-GR" sz="2400" b="1">
                <a:solidFill>
                  <a:schemeClr val="tx2"/>
                </a:solidFill>
              </a:rPr>
              <a:t>καψίδιο</a:t>
            </a:r>
          </a:p>
          <a:p>
            <a:pPr>
              <a:spcBef>
                <a:spcPct val="0"/>
              </a:spcBef>
              <a:buFontTx/>
              <a:buNone/>
            </a:pPr>
            <a:r>
              <a:rPr lang="en-GB" altLang="el-GR" sz="2400" b="1">
                <a:solidFill>
                  <a:schemeClr val="tx2"/>
                </a:solidFill>
              </a:rPr>
              <a:t>(core </a:t>
            </a:r>
            <a:endParaRPr lang="el-GR" altLang="el-GR" sz="2400" b="1">
              <a:solidFill>
                <a:schemeClr val="tx2"/>
              </a:solidFill>
            </a:endParaRPr>
          </a:p>
          <a:p>
            <a:pPr>
              <a:spcBef>
                <a:spcPct val="0"/>
              </a:spcBef>
              <a:buFontTx/>
              <a:buNone/>
            </a:pPr>
            <a:r>
              <a:rPr lang="el-GR" altLang="el-GR" sz="2400" b="1">
                <a:solidFill>
                  <a:schemeClr val="tx2"/>
                </a:solidFill>
              </a:rPr>
              <a:t>πρωτεΐνη)</a:t>
            </a:r>
            <a:endParaRPr lang="en-US" altLang="el-GR" sz="2400" b="1">
              <a:solidFill>
                <a:schemeClr val="tx2"/>
              </a:solidFill>
            </a:endParaRPr>
          </a:p>
        </p:txBody>
      </p:sp>
    </p:spTree>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0FC73A7-8B6E-B7EF-4E5C-082D66FC378E}"/>
              </a:ext>
            </a:extLst>
          </p:cNvPr>
          <p:cNvSpPr>
            <a:spLocks noGrp="1"/>
          </p:cNvSpPr>
          <p:nvPr>
            <p:ph type="title"/>
          </p:nvPr>
        </p:nvSpPr>
        <p:spPr>
          <a:xfrm>
            <a:off x="571500" y="539386"/>
            <a:ext cx="9144000" cy="473113"/>
          </a:xfrm>
        </p:spPr>
        <p:txBody>
          <a:bodyPr vert="horz" lIns="68580" tIns="34290" rIns="68580" bIns="34290" rtlCol="0" anchor="t">
            <a:noAutofit/>
          </a:bodyPr>
          <a:lstStyle/>
          <a:p>
            <a:pPr algn="ctr"/>
            <a:r>
              <a:rPr lang="fr-FR" sz="2800" b="1" dirty="0">
                <a:latin typeface="+mn-lt"/>
              </a:rPr>
              <a:t>HCV </a:t>
            </a:r>
            <a:r>
              <a:rPr lang="fr-FR" sz="2800" b="1" dirty="0" err="1">
                <a:latin typeface="+mn-lt"/>
              </a:rPr>
              <a:t>prevalence</a:t>
            </a:r>
            <a:r>
              <a:rPr lang="fr-FR" sz="2800" b="1" dirty="0">
                <a:latin typeface="+mn-lt"/>
              </a:rPr>
              <a:t> in 2022</a:t>
            </a:r>
          </a:p>
        </p:txBody>
      </p:sp>
      <p:pic>
        <p:nvPicPr>
          <p:cNvPr id="2" name="Image 1">
            <a:extLst>
              <a:ext uri="{FF2B5EF4-FFF2-40B4-BE49-F238E27FC236}">
                <a16:creationId xmlns:a16="http://schemas.microsoft.com/office/drawing/2014/main" id="{C2397831-58C4-1053-3F8C-157BA68682EA}"/>
              </a:ext>
            </a:extLst>
          </p:cNvPr>
          <p:cNvPicPr>
            <a:picLocks noChangeAspect="1"/>
          </p:cNvPicPr>
          <p:nvPr/>
        </p:nvPicPr>
        <p:blipFill>
          <a:blip r:embed="rId2"/>
          <a:stretch>
            <a:fillRect/>
          </a:stretch>
        </p:blipFill>
        <p:spPr>
          <a:xfrm>
            <a:off x="741750" y="1124744"/>
            <a:ext cx="8803501" cy="3960440"/>
          </a:xfrm>
          <a:prstGeom prst="rect">
            <a:avLst/>
          </a:prstGeom>
        </p:spPr>
      </p:pic>
      <p:sp>
        <p:nvSpPr>
          <p:cNvPr id="4" name="ZoneTexte 5">
            <a:extLst>
              <a:ext uri="{FF2B5EF4-FFF2-40B4-BE49-F238E27FC236}">
                <a16:creationId xmlns:a16="http://schemas.microsoft.com/office/drawing/2014/main" id="{2CF25876-244B-EC66-C626-B5413F24ED6C}"/>
              </a:ext>
            </a:extLst>
          </p:cNvPr>
          <p:cNvSpPr txBox="1"/>
          <p:nvPr/>
        </p:nvSpPr>
        <p:spPr>
          <a:xfrm>
            <a:off x="3271292" y="5373216"/>
            <a:ext cx="4578969" cy="307777"/>
          </a:xfrm>
          <a:prstGeom prst="rect">
            <a:avLst/>
          </a:prstGeom>
          <a:noFill/>
        </p:spPr>
        <p:txBody>
          <a:bodyPr wrap="square">
            <a:spAutoFit/>
          </a:bodyPr>
          <a:lstStyle/>
          <a:p>
            <a:pPr defTabSz="685800" fontAlgn="auto">
              <a:spcBef>
                <a:spcPts val="0"/>
              </a:spcBef>
              <a:spcAft>
                <a:spcPts val="0"/>
              </a:spcAft>
              <a:defRPr/>
            </a:pPr>
            <a:r>
              <a:rPr lang="fr-FR" sz="1400" b="0" dirty="0">
                <a:solidFill>
                  <a:prstClr val="black"/>
                </a:solidFill>
                <a:latin typeface="Calibri" panose="020F0502020204030204"/>
                <a:cs typeface="+mn-cs"/>
              </a:rPr>
              <a:t>https://</a:t>
            </a:r>
            <a:r>
              <a:rPr lang="fr-FR" sz="1400" b="0" dirty="0" err="1">
                <a:solidFill>
                  <a:prstClr val="black"/>
                </a:solidFill>
                <a:latin typeface="Calibri" panose="020F0502020204030204"/>
                <a:cs typeface="+mn-cs"/>
              </a:rPr>
              <a:t>cdafound.org</a:t>
            </a:r>
            <a:r>
              <a:rPr lang="fr-FR" sz="1400" b="0" dirty="0">
                <a:solidFill>
                  <a:prstClr val="black"/>
                </a:solidFill>
                <a:latin typeface="Calibri" panose="020F0502020204030204"/>
                <a:cs typeface="+mn-cs"/>
              </a:rPr>
              <a:t>/</a:t>
            </a:r>
            <a:r>
              <a:rPr lang="fr-FR" sz="1400" b="0" dirty="0" err="1">
                <a:solidFill>
                  <a:prstClr val="black"/>
                </a:solidFill>
                <a:latin typeface="Calibri" panose="020F0502020204030204"/>
                <a:cs typeface="+mn-cs"/>
              </a:rPr>
              <a:t>polaris</a:t>
            </a:r>
            <a:r>
              <a:rPr lang="fr-FR" sz="1400" b="0" dirty="0">
                <a:solidFill>
                  <a:prstClr val="black"/>
                </a:solidFill>
                <a:latin typeface="Calibri" panose="020F0502020204030204"/>
                <a:cs typeface="+mn-cs"/>
              </a:rPr>
              <a:t>-countries-</a:t>
            </a:r>
            <a:r>
              <a:rPr lang="fr-FR" sz="1400" b="0" dirty="0" err="1">
                <a:solidFill>
                  <a:prstClr val="black"/>
                </a:solidFill>
                <a:latin typeface="Calibri" panose="020F0502020204030204"/>
                <a:cs typeface="+mn-cs"/>
              </a:rPr>
              <a:t>maps</a:t>
            </a:r>
            <a:r>
              <a:rPr lang="fr-FR" sz="1400" b="0" dirty="0">
                <a:solidFill>
                  <a:prstClr val="black"/>
                </a:solidFill>
                <a:latin typeface="Calibri" panose="020F0502020204030204"/>
                <a:cs typeface="+mn-cs"/>
              </a:rPr>
              <a:t>/</a:t>
            </a:r>
          </a:p>
        </p:txBody>
      </p:sp>
      <p:sp>
        <p:nvSpPr>
          <p:cNvPr id="6" name="TextBox 5">
            <a:extLst>
              <a:ext uri="{FF2B5EF4-FFF2-40B4-BE49-F238E27FC236}">
                <a16:creationId xmlns:a16="http://schemas.microsoft.com/office/drawing/2014/main" id="{4497940B-7754-B4A9-466E-7B09114D6354}"/>
              </a:ext>
            </a:extLst>
          </p:cNvPr>
          <p:cNvSpPr txBox="1"/>
          <p:nvPr/>
        </p:nvSpPr>
        <p:spPr>
          <a:xfrm>
            <a:off x="1615108" y="5877272"/>
            <a:ext cx="7200800" cy="830997"/>
          </a:xfrm>
          <a:prstGeom prst="rect">
            <a:avLst/>
          </a:prstGeom>
          <a:noFill/>
        </p:spPr>
        <p:txBody>
          <a:bodyPr wrap="square">
            <a:spAutoFit/>
          </a:bodyPr>
          <a:lstStyle/>
          <a:p>
            <a:pPr algn="ctr"/>
            <a:r>
              <a:rPr lang="en-US" sz="1600" i="0" dirty="0">
                <a:solidFill>
                  <a:srgbClr val="3C4245"/>
                </a:solidFill>
                <a:effectLst/>
              </a:rPr>
              <a:t>Globally, </a:t>
            </a:r>
            <a:r>
              <a:rPr lang="en-US" sz="1600" b="1" i="0" dirty="0">
                <a:solidFill>
                  <a:srgbClr val="3C4245"/>
                </a:solidFill>
                <a:effectLst/>
              </a:rPr>
              <a:t>an estimated 58 million people </a:t>
            </a:r>
            <a:r>
              <a:rPr lang="en-US" sz="1600" i="0" dirty="0">
                <a:solidFill>
                  <a:srgbClr val="3C4245"/>
                </a:solidFill>
                <a:effectLst/>
              </a:rPr>
              <a:t>have chronic HCV infection, with about </a:t>
            </a:r>
            <a:r>
              <a:rPr lang="en-US" sz="1600" b="1" i="0" dirty="0">
                <a:solidFill>
                  <a:srgbClr val="3C4245"/>
                </a:solidFill>
                <a:effectLst/>
              </a:rPr>
              <a:t>1.5 million new infections occurring per year</a:t>
            </a:r>
            <a:endParaRPr lang="el-GR" sz="1600" b="1" i="0" dirty="0">
              <a:solidFill>
                <a:srgbClr val="3C4245"/>
              </a:solidFill>
              <a:effectLst/>
            </a:endParaRPr>
          </a:p>
          <a:p>
            <a:pPr algn="ctr"/>
            <a:r>
              <a:rPr lang="en-US" sz="1400" b="0" dirty="0">
                <a:solidFill>
                  <a:srgbClr val="3C4245"/>
                </a:solidFill>
              </a:rPr>
              <a:t>WHO, 18/Jul/2023</a:t>
            </a:r>
            <a:endParaRPr lang="el-GR" sz="1400" b="0" dirty="0"/>
          </a:p>
        </p:txBody>
      </p:sp>
    </p:spTree>
    <p:extLst>
      <p:ext uri="{BB962C8B-B14F-4D97-AF65-F5344CB8AC3E}">
        <p14:creationId xmlns:p14="http://schemas.microsoft.com/office/powerpoint/2010/main" val="14208401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78CB02E8-2B74-4500-9B4F-58338001E53C}"/>
              </a:ext>
            </a:extLst>
          </p:cNvPr>
          <p:cNvSpPr>
            <a:spLocks noGrp="1" noChangeArrowheads="1"/>
          </p:cNvSpPr>
          <p:nvPr>
            <p:ph type="title"/>
          </p:nvPr>
        </p:nvSpPr>
        <p:spPr>
          <a:xfrm>
            <a:off x="0" y="228600"/>
            <a:ext cx="10287000" cy="838200"/>
          </a:xfrm>
          <a:gradFill rotWithShape="0">
            <a:gsLst>
              <a:gs pos="0">
                <a:schemeClr val="bg1"/>
              </a:gs>
              <a:gs pos="50000">
                <a:schemeClr val="bg1">
                  <a:gamma/>
                  <a:shade val="46275"/>
                  <a:invGamma/>
                </a:schemeClr>
              </a:gs>
              <a:gs pos="100000">
                <a:schemeClr val="bg1"/>
              </a:gs>
            </a:gsLst>
            <a:lin ang="5400000" scaled="1"/>
          </a:gradFill>
        </p:spPr>
        <p:txBody>
          <a:bodyPr/>
          <a:lstStyle/>
          <a:p>
            <a:pPr>
              <a:defRPr/>
            </a:pPr>
            <a:r>
              <a:rPr lang="el-GR" sz="3600" b="1" dirty="0"/>
              <a:t>HCV - ΤΡΟΠΟΙ ΜΕΤΑΔΟΣΗΣ</a:t>
            </a:r>
            <a:endParaRPr lang="el-GR" dirty="0"/>
          </a:p>
        </p:txBody>
      </p:sp>
      <p:sp>
        <p:nvSpPr>
          <p:cNvPr id="14339" name="Rectangle 3">
            <a:extLst>
              <a:ext uri="{FF2B5EF4-FFF2-40B4-BE49-F238E27FC236}">
                <a16:creationId xmlns:a16="http://schemas.microsoft.com/office/drawing/2014/main" id="{61621673-130F-4222-93F1-2F1AA5D8E2CE}"/>
              </a:ext>
            </a:extLst>
          </p:cNvPr>
          <p:cNvSpPr>
            <a:spLocks noGrp="1" noChangeArrowheads="1"/>
          </p:cNvSpPr>
          <p:nvPr>
            <p:ph type="body" idx="1"/>
          </p:nvPr>
        </p:nvSpPr>
        <p:spPr>
          <a:xfrm>
            <a:off x="1066800" y="1143000"/>
            <a:ext cx="8896350" cy="5486400"/>
          </a:xfrm>
        </p:spPr>
        <p:txBody>
          <a:bodyPr/>
          <a:lstStyle/>
          <a:p>
            <a:r>
              <a:rPr lang="el-GR" altLang="el-GR" sz="2400" b="1" dirty="0">
                <a:solidFill>
                  <a:schemeClr val="tx2"/>
                </a:solidFill>
              </a:rPr>
              <a:t>Τυπική παρεντερική μετάδοση</a:t>
            </a:r>
          </a:p>
          <a:p>
            <a:pPr lvl="1"/>
            <a:r>
              <a:rPr lang="el-GR" altLang="el-GR" sz="2000" b="1" dirty="0"/>
              <a:t>Μεταγγίσεις αίματος ή παραγώγων του (κυρίως μέχρι 1991)</a:t>
            </a:r>
          </a:p>
          <a:p>
            <a:pPr lvl="1"/>
            <a:r>
              <a:rPr lang="el-GR" altLang="el-GR" sz="2000" b="1" dirty="0">
                <a:solidFill>
                  <a:schemeClr val="accent2">
                    <a:lumMod val="60000"/>
                    <a:lumOff val="40000"/>
                  </a:schemeClr>
                </a:solidFill>
              </a:rPr>
              <a:t>Παρεντερική χρήση ναρκωτικών</a:t>
            </a:r>
          </a:p>
          <a:p>
            <a:pPr lvl="1"/>
            <a:r>
              <a:rPr lang="el-GR" altLang="el-GR" sz="2000" b="1" dirty="0"/>
              <a:t>Αιμοκάθαρση</a:t>
            </a:r>
          </a:p>
          <a:p>
            <a:pPr lvl="1"/>
            <a:r>
              <a:rPr lang="el-GR" altLang="el-GR" sz="2000" b="1" dirty="0"/>
              <a:t>Μεταμόσχευση οργάνου</a:t>
            </a:r>
          </a:p>
          <a:p>
            <a:pPr lvl="1"/>
            <a:r>
              <a:rPr lang="el-GR" altLang="el-GR" sz="2000" b="1" dirty="0"/>
              <a:t>Τρύπημα με μολυσμένη βελόνα-εργαλείο</a:t>
            </a:r>
          </a:p>
          <a:p>
            <a:r>
              <a:rPr lang="el-GR" altLang="el-GR" sz="2400" b="1" dirty="0">
                <a:solidFill>
                  <a:schemeClr val="tx2"/>
                </a:solidFill>
              </a:rPr>
              <a:t>Αφανής παρεντερική μετάδοση</a:t>
            </a:r>
          </a:p>
          <a:p>
            <a:pPr lvl="1"/>
            <a:r>
              <a:rPr lang="el-GR" altLang="el-GR" sz="2000" b="1" dirty="0"/>
              <a:t>Εγχείρηση</a:t>
            </a:r>
          </a:p>
          <a:p>
            <a:pPr lvl="1"/>
            <a:r>
              <a:rPr lang="el-GR" altLang="el-GR" sz="2000" b="1" dirty="0"/>
              <a:t>Νοσηλεία</a:t>
            </a:r>
          </a:p>
          <a:p>
            <a:pPr lvl="1"/>
            <a:r>
              <a:rPr lang="el-GR" altLang="el-GR" sz="2000" b="1" dirty="0"/>
              <a:t>Απλές ιατρικές-παραϊατρικές-καθημερινές πράξεις</a:t>
            </a:r>
          </a:p>
          <a:p>
            <a:r>
              <a:rPr lang="el-GR" altLang="el-GR" sz="2400" b="1" dirty="0">
                <a:solidFill>
                  <a:schemeClr val="tx2"/>
                </a:solidFill>
              </a:rPr>
              <a:t>Μη παρεντερική μετάδοση (&lt;5%)</a:t>
            </a:r>
            <a:endParaRPr lang="el-GR" altLang="el-GR" sz="2400" b="1" dirty="0"/>
          </a:p>
          <a:p>
            <a:pPr lvl="1"/>
            <a:r>
              <a:rPr lang="el-GR" altLang="el-GR" sz="2000" b="1" dirty="0"/>
              <a:t>Κάθετη μετάδοση (μητέρα σε παιδί)</a:t>
            </a:r>
          </a:p>
          <a:p>
            <a:pPr lvl="1"/>
            <a:r>
              <a:rPr lang="el-GR" altLang="el-GR" sz="2000" b="1" dirty="0"/>
              <a:t>Γενετήσια μετάδοση</a:t>
            </a:r>
          </a:p>
          <a:p>
            <a:r>
              <a:rPr lang="el-GR" altLang="el-GR" sz="2400" b="1" dirty="0">
                <a:solidFill>
                  <a:schemeClr val="tx2"/>
                </a:solidFill>
              </a:rPr>
              <a:t>Άγνωστος τρόπος μετάδοσης </a:t>
            </a:r>
            <a:r>
              <a:rPr lang="el-GR" altLang="el-GR" sz="2000" b="1" dirty="0"/>
              <a:t>(Σποραδικές περιπτώσεις)</a:t>
            </a:r>
          </a:p>
        </p:txBody>
      </p:sp>
    </p:spTree>
  </p:cSld>
  <p:clrMapOvr>
    <a:masterClrMapping/>
  </p:clrMapOvr>
  <p:transition spd="med">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E9CD0360-3F11-490D-958D-1962C0E267F2}"/>
              </a:ext>
            </a:extLst>
          </p:cNvPr>
          <p:cNvSpPr>
            <a:spLocks noGrp="1" noChangeArrowheads="1"/>
          </p:cNvSpPr>
          <p:nvPr>
            <p:ph type="title"/>
          </p:nvPr>
        </p:nvSpPr>
        <p:spPr>
          <a:xfrm>
            <a:off x="771525" y="214313"/>
            <a:ext cx="8743950" cy="1143000"/>
          </a:xfrm>
        </p:spPr>
        <p:txBody>
          <a:bodyPr/>
          <a:lstStyle/>
          <a:p>
            <a:r>
              <a:rPr lang="el-GR" altLang="el-GR" b="1"/>
              <a:t>Φυσική πορεία </a:t>
            </a:r>
            <a:r>
              <a:rPr lang="en-US" altLang="el-GR" b="1"/>
              <a:t>HCV </a:t>
            </a:r>
            <a:r>
              <a:rPr lang="el-GR" altLang="el-GR" b="1"/>
              <a:t>λοίμωξης</a:t>
            </a:r>
            <a:endParaRPr lang="en-US" altLang="el-GR" b="1"/>
          </a:p>
        </p:txBody>
      </p:sp>
      <p:sp>
        <p:nvSpPr>
          <p:cNvPr id="24579" name="Content Placeholder 2">
            <a:extLst>
              <a:ext uri="{FF2B5EF4-FFF2-40B4-BE49-F238E27FC236}">
                <a16:creationId xmlns:a16="http://schemas.microsoft.com/office/drawing/2014/main" id="{167B95CA-B4A9-48FF-B595-ACD599696C00}"/>
              </a:ext>
            </a:extLst>
          </p:cNvPr>
          <p:cNvSpPr>
            <a:spLocks noGrp="1" noChangeArrowheads="1"/>
          </p:cNvSpPr>
          <p:nvPr>
            <p:ph idx="1"/>
          </p:nvPr>
        </p:nvSpPr>
        <p:spPr/>
        <p:txBody>
          <a:bodyPr/>
          <a:lstStyle/>
          <a:p>
            <a:endParaRPr lang="en-US" altLang="el-GR"/>
          </a:p>
        </p:txBody>
      </p:sp>
      <p:pic>
        <p:nvPicPr>
          <p:cNvPr id="24580" name="Picture 2">
            <a:extLst>
              <a:ext uri="{FF2B5EF4-FFF2-40B4-BE49-F238E27FC236}">
                <a16:creationId xmlns:a16="http://schemas.microsoft.com/office/drawing/2014/main" id="{63CFDD38-CAB3-4F55-9C7F-9D4F802A22D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557338"/>
            <a:ext cx="10287000" cy="5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C8C5029A-5849-4582-B115-9C41C7F1B097}"/>
              </a:ext>
            </a:extLst>
          </p:cNvPr>
          <p:cNvSpPr/>
          <p:nvPr/>
        </p:nvSpPr>
        <p:spPr>
          <a:xfrm>
            <a:off x="525463" y="4724400"/>
            <a:ext cx="1541462" cy="401638"/>
          </a:xfrm>
          <a:prstGeom prst="rect">
            <a:avLst/>
          </a:prstGeom>
          <a:solidFill>
            <a:schemeClr val="tx1"/>
          </a:solidFill>
        </p:spPr>
        <p:txBody>
          <a:bodyPr wrap="none">
            <a:spAutoFit/>
          </a:bodyPr>
          <a:lstStyle/>
          <a:p>
            <a:pPr>
              <a:defRPr/>
            </a:pPr>
            <a:r>
              <a:rPr lang="el-GR" sz="2000" b="1" dirty="0">
                <a:solidFill>
                  <a:schemeClr val="bg1">
                    <a:lumMod val="50000"/>
                  </a:schemeClr>
                </a:solidFill>
              </a:rPr>
              <a:t>Υγιές ήπαρ</a:t>
            </a:r>
            <a:endParaRPr lang="en-US" sz="2000" b="1" dirty="0">
              <a:solidFill>
                <a:schemeClr val="bg1">
                  <a:lumMod val="50000"/>
                </a:schemeClr>
              </a:solidFill>
            </a:endParaRPr>
          </a:p>
        </p:txBody>
      </p:sp>
      <p:sp>
        <p:nvSpPr>
          <p:cNvPr id="6" name="Rectangle 5">
            <a:extLst>
              <a:ext uri="{FF2B5EF4-FFF2-40B4-BE49-F238E27FC236}">
                <a16:creationId xmlns:a16="http://schemas.microsoft.com/office/drawing/2014/main" id="{CF9C6775-4DF5-422A-B2C6-2900B9DBEE18}"/>
              </a:ext>
            </a:extLst>
          </p:cNvPr>
          <p:cNvSpPr/>
          <p:nvPr/>
        </p:nvSpPr>
        <p:spPr>
          <a:xfrm>
            <a:off x="7816850" y="5445125"/>
            <a:ext cx="1327150" cy="400050"/>
          </a:xfrm>
          <a:prstGeom prst="rect">
            <a:avLst/>
          </a:prstGeom>
          <a:solidFill>
            <a:schemeClr val="tx1"/>
          </a:solidFill>
        </p:spPr>
        <p:txBody>
          <a:bodyPr wrap="none">
            <a:spAutoFit/>
          </a:bodyPr>
          <a:lstStyle/>
          <a:p>
            <a:pPr>
              <a:defRPr/>
            </a:pPr>
            <a:r>
              <a:rPr lang="el-GR" sz="2000" b="1" dirty="0">
                <a:solidFill>
                  <a:schemeClr val="bg1">
                    <a:lumMod val="50000"/>
                  </a:schemeClr>
                </a:solidFill>
              </a:rPr>
              <a:t>Καρκίνος</a:t>
            </a:r>
            <a:endParaRPr lang="en-US" sz="2000" b="1" dirty="0">
              <a:solidFill>
                <a:schemeClr val="bg1">
                  <a:lumMod val="50000"/>
                </a:schemeClr>
              </a:solidFill>
            </a:endParaRPr>
          </a:p>
        </p:txBody>
      </p:sp>
      <p:sp>
        <p:nvSpPr>
          <p:cNvPr id="7" name="Rectangle 6">
            <a:extLst>
              <a:ext uri="{FF2B5EF4-FFF2-40B4-BE49-F238E27FC236}">
                <a16:creationId xmlns:a16="http://schemas.microsoft.com/office/drawing/2014/main" id="{E20A72BB-D210-4A2C-BDE3-1E669ED4A1E6}"/>
              </a:ext>
            </a:extLst>
          </p:cNvPr>
          <p:cNvSpPr/>
          <p:nvPr/>
        </p:nvSpPr>
        <p:spPr>
          <a:xfrm>
            <a:off x="3643313" y="1928813"/>
            <a:ext cx="2357437" cy="400050"/>
          </a:xfrm>
          <a:prstGeom prst="rect">
            <a:avLst/>
          </a:prstGeom>
          <a:solidFill>
            <a:schemeClr val="tx1"/>
          </a:solidFill>
        </p:spPr>
        <p:txBody>
          <a:bodyPr>
            <a:spAutoFit/>
          </a:bodyPr>
          <a:lstStyle/>
          <a:p>
            <a:pPr>
              <a:defRPr/>
            </a:pPr>
            <a:r>
              <a:rPr lang="el-GR" sz="2000" b="1" dirty="0">
                <a:solidFill>
                  <a:schemeClr val="bg1">
                    <a:lumMod val="50000"/>
                  </a:schemeClr>
                </a:solidFill>
              </a:rPr>
              <a:t>Ίαση (20-30%)</a:t>
            </a:r>
            <a:endParaRPr lang="en-US" sz="2000" b="1" dirty="0">
              <a:solidFill>
                <a:schemeClr val="bg1">
                  <a:lumMod val="50000"/>
                </a:schemeClr>
              </a:solidFill>
            </a:endParaRPr>
          </a:p>
        </p:txBody>
      </p:sp>
      <p:sp>
        <p:nvSpPr>
          <p:cNvPr id="8" name="Rectangle 7">
            <a:extLst>
              <a:ext uri="{FF2B5EF4-FFF2-40B4-BE49-F238E27FC236}">
                <a16:creationId xmlns:a16="http://schemas.microsoft.com/office/drawing/2014/main" id="{89E36929-85C2-479A-A305-035AA19DC0AE}"/>
              </a:ext>
            </a:extLst>
          </p:cNvPr>
          <p:cNvSpPr/>
          <p:nvPr/>
        </p:nvSpPr>
        <p:spPr>
          <a:xfrm>
            <a:off x="4981575" y="4652963"/>
            <a:ext cx="2305050" cy="708025"/>
          </a:xfrm>
          <a:prstGeom prst="rect">
            <a:avLst/>
          </a:prstGeom>
          <a:solidFill>
            <a:schemeClr val="tx1"/>
          </a:solidFill>
        </p:spPr>
        <p:txBody>
          <a:bodyPr>
            <a:spAutoFit/>
          </a:bodyPr>
          <a:lstStyle/>
          <a:p>
            <a:pPr>
              <a:defRPr/>
            </a:pPr>
            <a:r>
              <a:rPr lang="el-GR" sz="2000" b="1" dirty="0">
                <a:solidFill>
                  <a:schemeClr val="bg1">
                    <a:lumMod val="50000"/>
                  </a:schemeClr>
                </a:solidFill>
              </a:rPr>
              <a:t>Χρόνια ηπατίτιδα και </a:t>
            </a:r>
            <a:r>
              <a:rPr lang="el-GR" sz="2000" b="1" dirty="0" err="1">
                <a:solidFill>
                  <a:schemeClr val="bg1">
                    <a:lumMod val="50000"/>
                  </a:schemeClr>
                </a:solidFill>
              </a:rPr>
              <a:t>ίνωση</a:t>
            </a:r>
            <a:endParaRPr lang="en-US" sz="2000" b="1" dirty="0">
              <a:solidFill>
                <a:schemeClr val="bg1">
                  <a:lumMod val="50000"/>
                </a:schemeClr>
              </a:solidFill>
            </a:endParaRPr>
          </a:p>
        </p:txBody>
      </p:sp>
      <p:sp>
        <p:nvSpPr>
          <p:cNvPr id="9" name="Rectangle 8">
            <a:extLst>
              <a:ext uri="{FF2B5EF4-FFF2-40B4-BE49-F238E27FC236}">
                <a16:creationId xmlns:a16="http://schemas.microsoft.com/office/drawing/2014/main" id="{001F503B-2B80-4A41-AB8B-6A6DC221942A}"/>
              </a:ext>
            </a:extLst>
          </p:cNvPr>
          <p:cNvSpPr/>
          <p:nvPr/>
        </p:nvSpPr>
        <p:spPr>
          <a:xfrm>
            <a:off x="2632075" y="4724400"/>
            <a:ext cx="2103438" cy="401638"/>
          </a:xfrm>
          <a:prstGeom prst="rect">
            <a:avLst/>
          </a:prstGeom>
          <a:solidFill>
            <a:schemeClr val="tx1"/>
          </a:solidFill>
        </p:spPr>
        <p:txBody>
          <a:bodyPr wrap="none">
            <a:spAutoFit/>
          </a:bodyPr>
          <a:lstStyle/>
          <a:p>
            <a:pPr>
              <a:defRPr/>
            </a:pPr>
            <a:r>
              <a:rPr lang="el-GR" sz="2000" b="1" dirty="0">
                <a:solidFill>
                  <a:schemeClr val="bg1">
                    <a:lumMod val="50000"/>
                  </a:schemeClr>
                </a:solidFill>
              </a:rPr>
              <a:t>Οξεία ηπατίτιδα</a:t>
            </a:r>
            <a:endParaRPr lang="en-US" sz="2000" b="1" dirty="0">
              <a:solidFill>
                <a:schemeClr val="bg1">
                  <a:lumMod val="50000"/>
                </a:schemeClr>
              </a:solidFill>
            </a:endParaRPr>
          </a:p>
        </p:txBody>
      </p:sp>
      <p:sp>
        <p:nvSpPr>
          <p:cNvPr id="10" name="Rectangle 9">
            <a:extLst>
              <a:ext uri="{FF2B5EF4-FFF2-40B4-BE49-F238E27FC236}">
                <a16:creationId xmlns:a16="http://schemas.microsoft.com/office/drawing/2014/main" id="{246CD753-7AC8-4751-9698-692ECB2A40F5}"/>
              </a:ext>
            </a:extLst>
          </p:cNvPr>
          <p:cNvSpPr/>
          <p:nvPr/>
        </p:nvSpPr>
        <p:spPr>
          <a:xfrm>
            <a:off x="4500563" y="3000375"/>
            <a:ext cx="714375" cy="708025"/>
          </a:xfrm>
          <a:prstGeom prst="rect">
            <a:avLst/>
          </a:prstGeom>
          <a:solidFill>
            <a:schemeClr val="tx1"/>
          </a:solidFill>
        </p:spPr>
        <p:txBody>
          <a:bodyPr>
            <a:spAutoFit/>
          </a:bodyPr>
          <a:lstStyle/>
          <a:p>
            <a:pPr>
              <a:defRPr/>
            </a:pPr>
            <a:r>
              <a:rPr lang="el-GR" sz="2000" b="1" dirty="0">
                <a:solidFill>
                  <a:schemeClr val="bg1">
                    <a:lumMod val="50000"/>
                  </a:schemeClr>
                </a:solidFill>
              </a:rPr>
              <a:t>70-</a:t>
            </a:r>
          </a:p>
          <a:p>
            <a:pPr>
              <a:defRPr/>
            </a:pPr>
            <a:r>
              <a:rPr lang="el-GR" sz="2000" b="1" dirty="0">
                <a:solidFill>
                  <a:schemeClr val="bg1">
                    <a:lumMod val="50000"/>
                  </a:schemeClr>
                </a:solidFill>
              </a:rPr>
              <a:t>80%</a:t>
            </a:r>
            <a:endParaRPr lang="en-US" sz="2000" b="1" dirty="0">
              <a:solidFill>
                <a:schemeClr val="bg1">
                  <a:lumMod val="50000"/>
                </a:schemeClr>
              </a:solidFill>
            </a:endParaRPr>
          </a:p>
        </p:txBody>
      </p:sp>
      <p:sp>
        <p:nvSpPr>
          <p:cNvPr id="12" name="Rectangle 11">
            <a:extLst>
              <a:ext uri="{FF2B5EF4-FFF2-40B4-BE49-F238E27FC236}">
                <a16:creationId xmlns:a16="http://schemas.microsoft.com/office/drawing/2014/main" id="{BF04FF8C-F358-474C-9E09-9A1B417CF2F9}"/>
              </a:ext>
            </a:extLst>
          </p:cNvPr>
          <p:cNvSpPr/>
          <p:nvPr/>
        </p:nvSpPr>
        <p:spPr>
          <a:xfrm>
            <a:off x="7493000" y="1700213"/>
            <a:ext cx="2025650" cy="400050"/>
          </a:xfrm>
          <a:prstGeom prst="rect">
            <a:avLst/>
          </a:prstGeom>
          <a:solidFill>
            <a:schemeClr val="tx1"/>
          </a:solidFill>
        </p:spPr>
        <p:txBody>
          <a:bodyPr>
            <a:spAutoFit/>
          </a:bodyPr>
          <a:lstStyle/>
          <a:p>
            <a:pPr>
              <a:defRPr/>
            </a:pPr>
            <a:r>
              <a:rPr lang="el-GR" sz="2000" b="1" dirty="0">
                <a:solidFill>
                  <a:schemeClr val="bg1">
                    <a:lumMod val="50000"/>
                  </a:schemeClr>
                </a:solidFill>
              </a:rPr>
              <a:t>Κίρρωση </a:t>
            </a:r>
            <a:endParaRPr lang="en-US" b="1" dirty="0">
              <a:solidFill>
                <a:schemeClr val="bg1">
                  <a:lumMod val="50000"/>
                </a:schemeClr>
              </a:solidFill>
            </a:endParaRPr>
          </a:p>
        </p:txBody>
      </p:sp>
      <p:sp>
        <p:nvSpPr>
          <p:cNvPr id="13" name="Rectangle 12">
            <a:extLst>
              <a:ext uri="{FF2B5EF4-FFF2-40B4-BE49-F238E27FC236}">
                <a16:creationId xmlns:a16="http://schemas.microsoft.com/office/drawing/2014/main" id="{C8DB2D15-CF1C-4677-99EE-7F6743B3FD32}"/>
              </a:ext>
            </a:extLst>
          </p:cNvPr>
          <p:cNvSpPr/>
          <p:nvPr/>
        </p:nvSpPr>
        <p:spPr>
          <a:xfrm>
            <a:off x="8572500" y="3357563"/>
            <a:ext cx="1316038" cy="708025"/>
          </a:xfrm>
          <a:prstGeom prst="rect">
            <a:avLst/>
          </a:prstGeom>
          <a:solidFill>
            <a:schemeClr val="tx1"/>
          </a:solidFill>
        </p:spPr>
        <p:txBody>
          <a:bodyPr>
            <a:spAutoFit/>
          </a:bodyPr>
          <a:lstStyle/>
          <a:p>
            <a:pPr algn="ctr">
              <a:defRPr/>
            </a:pPr>
            <a:r>
              <a:rPr lang="el-GR" sz="2000" b="1" dirty="0">
                <a:solidFill>
                  <a:schemeClr val="bg1">
                    <a:lumMod val="50000"/>
                  </a:schemeClr>
                </a:solidFill>
              </a:rPr>
              <a:t>2-6% </a:t>
            </a:r>
          </a:p>
          <a:p>
            <a:pPr algn="ctr">
              <a:defRPr/>
            </a:pPr>
            <a:r>
              <a:rPr lang="el-GR" sz="2000" b="1" dirty="0">
                <a:solidFill>
                  <a:schemeClr val="bg1">
                    <a:lumMod val="50000"/>
                  </a:schemeClr>
                </a:solidFill>
              </a:rPr>
              <a:t>το χρόνο</a:t>
            </a:r>
            <a:endParaRPr lang="en-US" sz="2000" b="1" dirty="0">
              <a:solidFill>
                <a:schemeClr val="bg1">
                  <a:lumMod val="50000"/>
                </a:schemeClr>
              </a:solidFill>
            </a:endParaRPr>
          </a:p>
        </p:txBody>
      </p:sp>
      <p:sp>
        <p:nvSpPr>
          <p:cNvPr id="15" name="Rectangle 14">
            <a:extLst>
              <a:ext uri="{FF2B5EF4-FFF2-40B4-BE49-F238E27FC236}">
                <a16:creationId xmlns:a16="http://schemas.microsoft.com/office/drawing/2014/main" id="{E4E75DE1-2654-43C7-8D84-C768126E32F2}"/>
              </a:ext>
            </a:extLst>
          </p:cNvPr>
          <p:cNvSpPr/>
          <p:nvPr/>
        </p:nvSpPr>
        <p:spPr>
          <a:xfrm>
            <a:off x="4252913" y="6000750"/>
            <a:ext cx="2033587" cy="400050"/>
          </a:xfrm>
          <a:prstGeom prst="rect">
            <a:avLst/>
          </a:prstGeom>
          <a:solidFill>
            <a:schemeClr val="tx1"/>
          </a:solidFill>
        </p:spPr>
        <p:txBody>
          <a:bodyPr>
            <a:spAutoFit/>
          </a:bodyPr>
          <a:lstStyle/>
          <a:p>
            <a:pPr algn="ctr">
              <a:defRPr/>
            </a:pPr>
            <a:r>
              <a:rPr lang="el-GR" sz="2000" b="1" dirty="0">
                <a:solidFill>
                  <a:schemeClr val="bg1">
                    <a:lumMod val="50000"/>
                  </a:schemeClr>
                </a:solidFill>
              </a:rPr>
              <a:t>15-40 χρόνια</a:t>
            </a:r>
            <a:endParaRPr lang="en-US" sz="2000" b="1" dirty="0">
              <a:solidFill>
                <a:schemeClr val="bg1">
                  <a:lumMod val="50000"/>
                </a:schemeClr>
              </a:solidFill>
            </a:endParaRPr>
          </a:p>
        </p:txBody>
      </p:sp>
      <p:sp>
        <p:nvSpPr>
          <p:cNvPr id="16" name="15 - Έλλειψη">
            <a:extLst>
              <a:ext uri="{FF2B5EF4-FFF2-40B4-BE49-F238E27FC236}">
                <a16:creationId xmlns:a16="http://schemas.microsoft.com/office/drawing/2014/main" id="{558BA3CC-9677-45AE-B2A4-A8F66EB7FD29}"/>
              </a:ext>
            </a:extLst>
          </p:cNvPr>
          <p:cNvSpPr/>
          <p:nvPr/>
        </p:nvSpPr>
        <p:spPr bwMode="auto">
          <a:xfrm>
            <a:off x="4429125" y="2714625"/>
            <a:ext cx="714375" cy="1428750"/>
          </a:xfrm>
          <a:prstGeom prst="ellipse">
            <a:avLst/>
          </a:prstGeom>
          <a:noFill/>
          <a:ln w="38100" cap="flat" cmpd="sng" algn="ctr">
            <a:solidFill>
              <a:schemeClr val="bg1">
                <a:lumMod val="50000"/>
              </a:schemeClr>
            </a:solidFill>
            <a:prstDash val="solid"/>
            <a:round/>
            <a:headEnd type="none" w="sm" len="sm"/>
            <a:tailEnd type="none" w="sm" len="sm"/>
          </a:ln>
          <a:effectLst/>
        </p:spPr>
        <p:txBody>
          <a:bodyPr/>
          <a:lstStyle/>
          <a:p>
            <a:pPr>
              <a:defRPr/>
            </a:pPr>
            <a:endParaRPr lang="el-GR"/>
          </a:p>
        </p:txBody>
      </p:sp>
    </p:spTree>
    <p:extLst>
      <p:ext uri="{BB962C8B-B14F-4D97-AF65-F5344CB8AC3E}">
        <p14:creationId xmlns:p14="http://schemas.microsoft.com/office/powerpoint/2010/main" val="3797555915"/>
      </p:ext>
    </p:extLst>
  </p:cSld>
  <p:clrMapOvr>
    <a:masterClrMapping/>
  </p:clrMapOvr>
  <p:transition spd="med">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Τίτλος 1">
            <a:extLst>
              <a:ext uri="{FF2B5EF4-FFF2-40B4-BE49-F238E27FC236}">
                <a16:creationId xmlns:a16="http://schemas.microsoft.com/office/drawing/2014/main" id="{7680CD71-5779-4064-909B-0ED784C20DDE}"/>
              </a:ext>
            </a:extLst>
          </p:cNvPr>
          <p:cNvSpPr>
            <a:spLocks noGrp="1" noChangeArrowheads="1"/>
          </p:cNvSpPr>
          <p:nvPr>
            <p:ph type="title"/>
          </p:nvPr>
        </p:nvSpPr>
        <p:spPr/>
        <p:txBody>
          <a:bodyPr/>
          <a:lstStyle/>
          <a:p>
            <a:r>
              <a:rPr lang="el-GR" altLang="el-GR" sz="3600" b="1"/>
              <a:t>Κλινική εικόνα</a:t>
            </a:r>
            <a:r>
              <a:rPr lang="en-US" altLang="el-GR" sz="3600" b="1"/>
              <a:t>: </a:t>
            </a:r>
            <a:r>
              <a:rPr lang="el-GR" altLang="el-GR" sz="3600" b="1"/>
              <a:t>μια «αθόρυβη» νόσος</a:t>
            </a:r>
          </a:p>
        </p:txBody>
      </p:sp>
      <p:sp>
        <p:nvSpPr>
          <p:cNvPr id="3" name="Δάκρυ 2">
            <a:extLst>
              <a:ext uri="{FF2B5EF4-FFF2-40B4-BE49-F238E27FC236}">
                <a16:creationId xmlns:a16="http://schemas.microsoft.com/office/drawing/2014/main" id="{A1ABAB56-15F8-4AEB-A22D-45BB52ACCBC9}"/>
              </a:ext>
            </a:extLst>
          </p:cNvPr>
          <p:cNvSpPr/>
          <p:nvPr/>
        </p:nvSpPr>
        <p:spPr>
          <a:xfrm rot="2700000">
            <a:off x="1145381" y="2104232"/>
            <a:ext cx="2073275" cy="207486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l-GR"/>
          </a:p>
        </p:txBody>
      </p:sp>
      <p:grpSp>
        <p:nvGrpSpPr>
          <p:cNvPr id="25604" name="Ομάδα 3">
            <a:extLst>
              <a:ext uri="{FF2B5EF4-FFF2-40B4-BE49-F238E27FC236}">
                <a16:creationId xmlns:a16="http://schemas.microsoft.com/office/drawing/2014/main" id="{8EF48046-E7F2-419C-865B-4E4BA3796CDC}"/>
              </a:ext>
            </a:extLst>
          </p:cNvPr>
          <p:cNvGrpSpPr>
            <a:grpSpLocks/>
          </p:cNvGrpSpPr>
          <p:nvPr/>
        </p:nvGrpSpPr>
        <p:grpSpPr bwMode="auto">
          <a:xfrm>
            <a:off x="1235075" y="2171700"/>
            <a:ext cx="1941513" cy="1939925"/>
            <a:chOff x="674794" y="754123"/>
            <a:chExt cx="2300700" cy="2300455"/>
          </a:xfrm>
        </p:grpSpPr>
        <p:sp>
          <p:nvSpPr>
            <p:cNvPr id="5" name="Έλλειψη 4">
              <a:extLst>
                <a:ext uri="{FF2B5EF4-FFF2-40B4-BE49-F238E27FC236}">
                  <a16:creationId xmlns:a16="http://schemas.microsoft.com/office/drawing/2014/main" id="{A02759A4-6B85-4653-ACCC-D3A3B61EC200}"/>
                </a:ext>
              </a:extLst>
            </p:cNvPr>
            <p:cNvSpPr/>
            <p:nvPr/>
          </p:nvSpPr>
          <p:spPr>
            <a:xfrm>
              <a:off x="674794" y="754123"/>
              <a:ext cx="2300700" cy="2300455"/>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l-GR"/>
            </a:p>
          </p:txBody>
        </p:sp>
        <p:sp>
          <p:nvSpPr>
            <p:cNvPr id="6" name="Έλλειψη 4">
              <a:extLst>
                <a:ext uri="{FF2B5EF4-FFF2-40B4-BE49-F238E27FC236}">
                  <a16:creationId xmlns:a16="http://schemas.microsoft.com/office/drawing/2014/main" id="{9EA4927F-6168-4A4D-82EC-7238CC808457}"/>
                </a:ext>
              </a:extLst>
            </p:cNvPr>
            <p:cNvSpPr/>
            <p:nvPr/>
          </p:nvSpPr>
          <p:spPr>
            <a:xfrm>
              <a:off x="924993" y="1128748"/>
              <a:ext cx="1755153" cy="164156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7145" tIns="17145" rIns="17145" bIns="17145" spcCol="1270" anchor="ctr"/>
            <a:lstStyle/>
            <a:p>
              <a:pPr algn="ctr" defTabSz="600095">
                <a:lnSpc>
                  <a:spcPct val="90000"/>
                </a:lnSpc>
                <a:spcAft>
                  <a:spcPct val="35000"/>
                </a:spcAft>
                <a:defRPr/>
              </a:pPr>
              <a:r>
                <a:rPr lang="el-GR" sz="1350" b="1" dirty="0"/>
                <a:t>Ασυμπτωματικοί</a:t>
              </a:r>
            </a:p>
            <a:p>
              <a:pPr algn="ctr" defTabSz="600095">
                <a:lnSpc>
                  <a:spcPct val="90000"/>
                </a:lnSpc>
                <a:spcAft>
                  <a:spcPct val="35000"/>
                </a:spcAft>
                <a:defRPr/>
              </a:pPr>
              <a:r>
                <a:rPr lang="el-GR" sz="1350" b="1" dirty="0"/>
                <a:t>(70-80%)</a:t>
              </a:r>
              <a:endParaRPr lang="en-US" sz="1350" b="1" dirty="0"/>
            </a:p>
          </p:txBody>
        </p:sp>
      </p:grpSp>
      <p:sp>
        <p:nvSpPr>
          <p:cNvPr id="7" name="Δάκρυ 6">
            <a:extLst>
              <a:ext uri="{FF2B5EF4-FFF2-40B4-BE49-F238E27FC236}">
                <a16:creationId xmlns:a16="http://schemas.microsoft.com/office/drawing/2014/main" id="{866441FD-9573-4003-8B52-DB1F81D99434}"/>
              </a:ext>
            </a:extLst>
          </p:cNvPr>
          <p:cNvSpPr/>
          <p:nvPr/>
        </p:nvSpPr>
        <p:spPr>
          <a:xfrm rot="2700000">
            <a:off x="3687763" y="2176463"/>
            <a:ext cx="2074862" cy="207486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l-GR"/>
          </a:p>
        </p:txBody>
      </p:sp>
      <p:sp>
        <p:nvSpPr>
          <p:cNvPr id="8" name="Δάκρυ 7">
            <a:extLst>
              <a:ext uri="{FF2B5EF4-FFF2-40B4-BE49-F238E27FC236}">
                <a16:creationId xmlns:a16="http://schemas.microsoft.com/office/drawing/2014/main" id="{01AFB1F9-55B1-4A0D-AE5C-FC245FBC26B5}"/>
              </a:ext>
            </a:extLst>
          </p:cNvPr>
          <p:cNvSpPr/>
          <p:nvPr/>
        </p:nvSpPr>
        <p:spPr>
          <a:xfrm rot="2700000">
            <a:off x="6281738" y="2224088"/>
            <a:ext cx="2074862" cy="2074862"/>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l-GR"/>
          </a:p>
        </p:txBody>
      </p:sp>
      <p:grpSp>
        <p:nvGrpSpPr>
          <p:cNvPr id="25607" name="Ομάδα 9">
            <a:extLst>
              <a:ext uri="{FF2B5EF4-FFF2-40B4-BE49-F238E27FC236}">
                <a16:creationId xmlns:a16="http://schemas.microsoft.com/office/drawing/2014/main" id="{D19001AD-C991-4BC3-B911-9DF077CC2979}"/>
              </a:ext>
            </a:extLst>
          </p:cNvPr>
          <p:cNvGrpSpPr>
            <a:grpSpLocks/>
          </p:cNvGrpSpPr>
          <p:nvPr/>
        </p:nvGrpSpPr>
        <p:grpSpPr bwMode="auto">
          <a:xfrm>
            <a:off x="3771900" y="2290763"/>
            <a:ext cx="1939925" cy="1941512"/>
            <a:chOff x="3184205" y="1094713"/>
            <a:chExt cx="2300700" cy="2300455"/>
          </a:xfrm>
        </p:grpSpPr>
        <p:sp>
          <p:nvSpPr>
            <p:cNvPr id="11" name="Έλλειψη 10">
              <a:extLst>
                <a:ext uri="{FF2B5EF4-FFF2-40B4-BE49-F238E27FC236}">
                  <a16:creationId xmlns:a16="http://schemas.microsoft.com/office/drawing/2014/main" id="{52736BBC-6249-45FE-8358-6EF9E4691F1F}"/>
                </a:ext>
              </a:extLst>
            </p:cNvPr>
            <p:cNvSpPr/>
            <p:nvPr/>
          </p:nvSpPr>
          <p:spPr>
            <a:xfrm>
              <a:off x="3184205" y="1094713"/>
              <a:ext cx="2300700" cy="2300455"/>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l-GR"/>
            </a:p>
          </p:txBody>
        </p:sp>
        <p:sp>
          <p:nvSpPr>
            <p:cNvPr id="12" name="Έλλειψη 4">
              <a:extLst>
                <a:ext uri="{FF2B5EF4-FFF2-40B4-BE49-F238E27FC236}">
                  <a16:creationId xmlns:a16="http://schemas.microsoft.com/office/drawing/2014/main" id="{95A4B7B2-7F45-4641-974D-D6C8AD28E493}"/>
                </a:ext>
              </a:extLst>
            </p:cNvPr>
            <p:cNvSpPr/>
            <p:nvPr/>
          </p:nvSpPr>
          <p:spPr>
            <a:xfrm>
              <a:off x="3513684" y="1423886"/>
              <a:ext cx="1641743" cy="16421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7145" tIns="17145" rIns="17145" bIns="17145" spcCol="1270" anchor="ctr"/>
            <a:lstStyle/>
            <a:p>
              <a:pPr algn="ctr" defTabSz="600095">
                <a:lnSpc>
                  <a:spcPct val="90000"/>
                </a:lnSpc>
                <a:spcAft>
                  <a:spcPct val="35000"/>
                </a:spcAft>
                <a:defRPr/>
              </a:pPr>
              <a:r>
                <a:rPr lang="el-GR" sz="1350" b="1" dirty="0">
                  <a:solidFill>
                    <a:schemeClr val="bg2"/>
                  </a:solidFill>
                </a:rPr>
                <a:t>Ήπια μη ειδικά συμπτώματα (κόπωση)</a:t>
              </a:r>
            </a:p>
            <a:p>
              <a:pPr algn="ctr" defTabSz="600095">
                <a:lnSpc>
                  <a:spcPct val="90000"/>
                </a:lnSpc>
                <a:spcAft>
                  <a:spcPct val="35000"/>
                </a:spcAft>
                <a:defRPr/>
              </a:pPr>
              <a:r>
                <a:rPr lang="el-GR" sz="1350" b="1" dirty="0">
                  <a:solidFill>
                    <a:schemeClr val="bg2"/>
                  </a:solidFill>
                </a:rPr>
                <a:t>Εξωηπατικές εκδηλώσεις</a:t>
              </a:r>
            </a:p>
          </p:txBody>
        </p:sp>
      </p:grpSp>
      <p:grpSp>
        <p:nvGrpSpPr>
          <p:cNvPr id="25608" name="Ομάδα 12">
            <a:extLst>
              <a:ext uri="{FF2B5EF4-FFF2-40B4-BE49-F238E27FC236}">
                <a16:creationId xmlns:a16="http://schemas.microsoft.com/office/drawing/2014/main" id="{E0A000FA-5725-456B-BA18-948216B5C31A}"/>
              </a:ext>
            </a:extLst>
          </p:cNvPr>
          <p:cNvGrpSpPr>
            <a:grpSpLocks/>
          </p:cNvGrpSpPr>
          <p:nvPr/>
        </p:nvGrpSpPr>
        <p:grpSpPr bwMode="auto">
          <a:xfrm>
            <a:off x="6348413" y="2290763"/>
            <a:ext cx="1941512" cy="1941512"/>
            <a:chOff x="5752438" y="1126620"/>
            <a:chExt cx="2300700" cy="2300455"/>
          </a:xfrm>
        </p:grpSpPr>
        <p:sp>
          <p:nvSpPr>
            <p:cNvPr id="14" name="Έλλειψη 13">
              <a:extLst>
                <a:ext uri="{FF2B5EF4-FFF2-40B4-BE49-F238E27FC236}">
                  <a16:creationId xmlns:a16="http://schemas.microsoft.com/office/drawing/2014/main" id="{4422F315-6ADE-45AF-BC74-221BFC5EAE2C}"/>
                </a:ext>
              </a:extLst>
            </p:cNvPr>
            <p:cNvSpPr/>
            <p:nvPr/>
          </p:nvSpPr>
          <p:spPr>
            <a:xfrm>
              <a:off x="5752438" y="1126620"/>
              <a:ext cx="2300700" cy="2300455"/>
            </a:xfrm>
            <a:prstGeom prst="ellipse">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l-GR"/>
            </a:p>
          </p:txBody>
        </p:sp>
        <p:sp>
          <p:nvSpPr>
            <p:cNvPr id="15" name="Έλλειψη 4">
              <a:extLst>
                <a:ext uri="{FF2B5EF4-FFF2-40B4-BE49-F238E27FC236}">
                  <a16:creationId xmlns:a16="http://schemas.microsoft.com/office/drawing/2014/main" id="{B0B89FF3-AEDC-4B13-B2E4-E158C071ECC4}"/>
                </a:ext>
              </a:extLst>
            </p:cNvPr>
            <p:cNvSpPr/>
            <p:nvPr/>
          </p:nvSpPr>
          <p:spPr>
            <a:xfrm>
              <a:off x="6081646" y="1455793"/>
              <a:ext cx="1826640" cy="164210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7145" tIns="17145" rIns="17145" bIns="17145" spcCol="1270" anchor="ctr"/>
            <a:lstStyle/>
            <a:p>
              <a:pPr algn="ctr" defTabSz="600095">
                <a:lnSpc>
                  <a:spcPct val="90000"/>
                </a:lnSpc>
                <a:spcAft>
                  <a:spcPct val="35000"/>
                </a:spcAft>
                <a:defRPr/>
              </a:pPr>
              <a:r>
                <a:rPr lang="el-GR" sz="1350" b="1" dirty="0"/>
                <a:t>Επιπλοκές μη αντιρροπούμενης κίρρωσης</a:t>
              </a:r>
              <a:endParaRPr lang="en-GB" sz="1350" b="1" dirty="0"/>
            </a:p>
          </p:txBody>
        </p:sp>
      </p:grpSp>
      <p:grpSp>
        <p:nvGrpSpPr>
          <p:cNvPr id="25609" name="Group 3">
            <a:extLst>
              <a:ext uri="{FF2B5EF4-FFF2-40B4-BE49-F238E27FC236}">
                <a16:creationId xmlns:a16="http://schemas.microsoft.com/office/drawing/2014/main" id="{E33A4A98-CF00-4DF4-83FA-C7670E2F9CC8}"/>
              </a:ext>
            </a:extLst>
          </p:cNvPr>
          <p:cNvGrpSpPr>
            <a:grpSpLocks/>
          </p:cNvGrpSpPr>
          <p:nvPr/>
        </p:nvGrpSpPr>
        <p:grpSpPr bwMode="auto">
          <a:xfrm>
            <a:off x="1381125" y="4287838"/>
            <a:ext cx="1595438" cy="1563687"/>
            <a:chOff x="1083046" y="4047238"/>
            <a:chExt cx="1890808" cy="1852500"/>
          </a:xfrm>
        </p:grpSpPr>
        <p:grpSp>
          <p:nvGrpSpPr>
            <p:cNvPr id="25614" name="Group 21">
              <a:extLst>
                <a:ext uri="{FF2B5EF4-FFF2-40B4-BE49-F238E27FC236}">
                  <a16:creationId xmlns:a16="http://schemas.microsoft.com/office/drawing/2014/main" id="{F687D07D-4247-4F81-A74F-34FCF3CBE070}"/>
                </a:ext>
              </a:extLst>
            </p:cNvPr>
            <p:cNvGrpSpPr>
              <a:grpSpLocks/>
            </p:cNvGrpSpPr>
            <p:nvPr/>
          </p:nvGrpSpPr>
          <p:grpSpPr bwMode="auto">
            <a:xfrm>
              <a:off x="1121354" y="4047238"/>
              <a:ext cx="1852500" cy="1852500"/>
              <a:chOff x="176213" y="1614490"/>
              <a:chExt cx="1852500" cy="1852500"/>
            </a:xfrm>
          </p:grpSpPr>
          <p:sp>
            <p:nvSpPr>
              <p:cNvPr id="19" name="Oval 16">
                <a:extLst>
                  <a:ext uri="{FF2B5EF4-FFF2-40B4-BE49-F238E27FC236}">
                    <a16:creationId xmlns:a16="http://schemas.microsoft.com/office/drawing/2014/main" id="{8020D378-5080-4C2F-927A-30CC4763922A}"/>
                  </a:ext>
                </a:extLst>
              </p:cNvPr>
              <p:cNvSpPr/>
              <p:nvPr/>
            </p:nvSpPr>
            <p:spPr>
              <a:xfrm>
                <a:off x="228212" y="1667150"/>
                <a:ext cx="1800501" cy="1799840"/>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025" dirty="0">
                  <a:solidFill>
                    <a:prstClr val="white"/>
                  </a:solidFill>
                </a:endParaRPr>
              </a:p>
            </p:txBody>
          </p:sp>
          <p:pic>
            <p:nvPicPr>
              <p:cNvPr id="25617" name="Picture 8" descr="Related image">
                <a:extLst>
                  <a:ext uri="{FF2B5EF4-FFF2-40B4-BE49-F238E27FC236}">
                    <a16:creationId xmlns:a16="http://schemas.microsoft.com/office/drawing/2014/main" id="{9EA95A58-086C-4B5A-8495-1DE4AFA8A97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76213" y="1614490"/>
                <a:ext cx="1800000" cy="18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Oval 22">
              <a:extLst>
                <a:ext uri="{FF2B5EF4-FFF2-40B4-BE49-F238E27FC236}">
                  <a16:creationId xmlns:a16="http://schemas.microsoft.com/office/drawing/2014/main" id="{08884708-80ED-4432-BBD8-0E731820C55A}"/>
                </a:ext>
              </a:extLst>
            </p:cNvPr>
            <p:cNvSpPr/>
            <p:nvPr/>
          </p:nvSpPr>
          <p:spPr>
            <a:xfrm>
              <a:off x="1083046" y="4049118"/>
              <a:ext cx="1800501" cy="1799841"/>
            </a:xfrm>
            <a:prstGeom prst="ellipse">
              <a:avLst/>
            </a:prstGeom>
            <a:no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025" dirty="0">
                <a:solidFill>
                  <a:prstClr val="white"/>
                </a:solidFill>
              </a:endParaRPr>
            </a:p>
          </p:txBody>
        </p:sp>
      </p:grpSp>
      <p:grpSp>
        <p:nvGrpSpPr>
          <p:cNvPr id="25610" name="Group 4">
            <a:extLst>
              <a:ext uri="{FF2B5EF4-FFF2-40B4-BE49-F238E27FC236}">
                <a16:creationId xmlns:a16="http://schemas.microsoft.com/office/drawing/2014/main" id="{485B12BE-80CE-4FEF-9AAA-00F407093C36}"/>
              </a:ext>
            </a:extLst>
          </p:cNvPr>
          <p:cNvGrpSpPr>
            <a:grpSpLocks/>
          </p:cNvGrpSpPr>
          <p:nvPr/>
        </p:nvGrpSpPr>
        <p:grpSpPr bwMode="auto">
          <a:xfrm>
            <a:off x="4021138" y="4332288"/>
            <a:ext cx="1560512" cy="1519237"/>
            <a:chOff x="3503058" y="4102432"/>
            <a:chExt cx="1849474" cy="1800000"/>
          </a:xfrm>
        </p:grpSpPr>
        <p:pic>
          <p:nvPicPr>
            <p:cNvPr id="25612" name="Picture 8" descr="Related image">
              <a:extLst>
                <a:ext uri="{FF2B5EF4-FFF2-40B4-BE49-F238E27FC236}">
                  <a16:creationId xmlns:a16="http://schemas.microsoft.com/office/drawing/2014/main" id="{59AF5E5A-DA8F-4614-B29C-5EA9426BBB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1413337" flipH="1">
              <a:off x="3503058" y="4102432"/>
              <a:ext cx="1800000" cy="18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15">
              <a:extLst>
                <a:ext uri="{FF2B5EF4-FFF2-40B4-BE49-F238E27FC236}">
                  <a16:creationId xmlns:a16="http://schemas.microsoft.com/office/drawing/2014/main" id="{498253D6-266A-43AC-865B-A1AB1624A48C}"/>
                </a:ext>
              </a:extLst>
            </p:cNvPr>
            <p:cNvPicPr>
              <a:picLocks noChangeAspect="1"/>
            </p:cNvPicPr>
            <p:nvPr/>
          </p:nvPicPr>
          <p:blipFill>
            <a:blip r:embed="rId3"/>
            <a:stretch>
              <a:fillRect/>
            </a:stretch>
          </p:blipFill>
          <p:spPr>
            <a:xfrm>
              <a:off x="3552532" y="4106520"/>
              <a:ext cx="1800000" cy="1790707"/>
            </a:xfrm>
            <a:prstGeom prst="ellipse">
              <a:avLst/>
            </a:prstGeom>
            <a:ln w="76200"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pic>
        <p:nvPicPr>
          <p:cNvPr id="25611" name="Εικόνα 23">
            <a:extLst>
              <a:ext uri="{FF2B5EF4-FFF2-40B4-BE49-F238E27FC236}">
                <a16:creationId xmlns:a16="http://schemas.microsoft.com/office/drawing/2014/main" id="{F33F9531-C3B5-4B30-A836-1037964E96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61125" y="4333875"/>
            <a:ext cx="1935163" cy="245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6998027"/>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8BB4396D-D210-45A2-8CAD-03CA0916904F}"/>
              </a:ext>
            </a:extLst>
          </p:cNvPr>
          <p:cNvSpPr>
            <a:spLocks noGrp="1" noChangeArrowheads="1"/>
          </p:cNvSpPr>
          <p:nvPr>
            <p:ph type="title"/>
          </p:nvPr>
        </p:nvSpPr>
        <p:spPr>
          <a:xfrm>
            <a:off x="0" y="404664"/>
            <a:ext cx="10287000" cy="1286024"/>
          </a:xfrm>
          <a:gradFill rotWithShape="0">
            <a:gsLst>
              <a:gs pos="0">
                <a:schemeClr val="bg1"/>
              </a:gs>
              <a:gs pos="50000">
                <a:schemeClr val="bg1">
                  <a:gamma/>
                  <a:shade val="46275"/>
                  <a:invGamma/>
                </a:schemeClr>
              </a:gs>
              <a:gs pos="100000">
                <a:schemeClr val="bg1"/>
              </a:gs>
            </a:gsLst>
            <a:lin ang="5400000" scaled="1"/>
          </a:gradFill>
          <a:ln/>
          <a:extLst>
            <a:ext uri="{91240B29-F687-4F45-9708-019B960494DF}">
              <a14:hiddenLine xmlns:a14="http://schemas.microsoft.com/office/drawing/2010/main" w="9525">
                <a:solidFill>
                  <a:schemeClr val="accent1"/>
                </a:solidFill>
                <a:miter lim="800000"/>
                <a:headEnd/>
                <a:tailEnd/>
              </a14:hiddenLine>
            </a:ext>
          </a:extLst>
        </p:spPr>
        <p:txBody>
          <a:bodyPr/>
          <a:lstStyle/>
          <a:p>
            <a:r>
              <a:rPr lang="el-GR" altLang="el-GR" b="1" dirty="0"/>
              <a:t>ΧΡΟΝΙΕΣ IOΓΕΝΕΙΣ ΗΠΑΤΙΤΙΔΕΣ</a:t>
            </a:r>
            <a:br>
              <a:rPr lang="el-GR" altLang="el-GR" b="1" dirty="0"/>
            </a:br>
            <a:r>
              <a:rPr lang="en-US" altLang="el-GR" sz="4400" b="1" dirty="0"/>
              <a:t>ME “SUCCESS STORY</a:t>
            </a:r>
            <a:r>
              <a:rPr lang="en-US" altLang="el-GR" b="1" dirty="0"/>
              <a:t>”</a:t>
            </a:r>
            <a:endParaRPr lang="el-GR" altLang="el-GR" dirty="0"/>
          </a:p>
        </p:txBody>
      </p:sp>
      <p:sp>
        <p:nvSpPr>
          <p:cNvPr id="61444" name="Rectangle 4">
            <a:extLst>
              <a:ext uri="{FF2B5EF4-FFF2-40B4-BE49-F238E27FC236}">
                <a16:creationId xmlns:a16="http://schemas.microsoft.com/office/drawing/2014/main" id="{01C1E103-BC0E-441B-BD5A-0BAF8D87F42D}"/>
              </a:ext>
            </a:extLst>
          </p:cNvPr>
          <p:cNvSpPr>
            <a:spLocks noChangeArrowheads="1"/>
          </p:cNvSpPr>
          <p:nvPr/>
        </p:nvSpPr>
        <p:spPr bwMode="auto">
          <a:xfrm>
            <a:off x="6153150" y="1970088"/>
            <a:ext cx="3598863" cy="426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342900" indent="-342900" defTabSz="762000">
              <a:spcBef>
                <a:spcPct val="20000"/>
              </a:spcBef>
              <a:buChar char="•"/>
              <a:defRPr sz="3200">
                <a:solidFill>
                  <a:schemeClr val="tx1"/>
                </a:solidFill>
                <a:latin typeface="Arial" panose="020B0604020202020204" pitchFamily="34" charset="0"/>
              </a:defRPr>
            </a:lvl1pPr>
            <a:lvl2pPr marL="742950" indent="-285750" defTabSz="762000">
              <a:spcBef>
                <a:spcPct val="20000"/>
              </a:spcBef>
              <a:buChar char="–"/>
              <a:defRPr sz="2800">
                <a:solidFill>
                  <a:schemeClr val="tx1"/>
                </a:solidFill>
                <a:latin typeface="Arial" panose="020B0604020202020204" pitchFamily="34" charset="0"/>
              </a:defRPr>
            </a:lvl2pPr>
            <a:lvl3pPr marL="1143000" indent="-228600" defTabSz="762000">
              <a:spcBef>
                <a:spcPct val="20000"/>
              </a:spcBef>
              <a:buChar char="•"/>
              <a:defRPr sz="2400">
                <a:solidFill>
                  <a:schemeClr val="tx1"/>
                </a:solidFill>
                <a:latin typeface="Arial" panose="020B0604020202020204" pitchFamily="34" charset="0"/>
              </a:defRPr>
            </a:lvl3pPr>
            <a:lvl4pPr marL="1600200" indent="-228600" defTabSz="762000">
              <a:spcBef>
                <a:spcPct val="20000"/>
              </a:spcBef>
              <a:buChar char="–"/>
              <a:defRPr sz="2000">
                <a:solidFill>
                  <a:schemeClr val="tx1"/>
                </a:solidFill>
                <a:latin typeface="Arial" panose="020B0604020202020204" pitchFamily="34" charset="0"/>
              </a:defRPr>
            </a:lvl4pPr>
            <a:lvl5pPr marL="2057400" indent="-228600" defTabSz="76200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l-GR" altLang="el-GR" sz="2400" b="1" dirty="0">
                <a:solidFill>
                  <a:schemeClr val="accent2"/>
                </a:solidFill>
              </a:rPr>
              <a:t>Παρεντερική μετάδοση </a:t>
            </a:r>
          </a:p>
          <a:p>
            <a:pPr>
              <a:lnSpc>
                <a:spcPct val="340000"/>
              </a:lnSpc>
            </a:pPr>
            <a:r>
              <a:rPr lang="en-US" altLang="el-GR" sz="2400" b="1" dirty="0">
                <a:solidFill>
                  <a:schemeClr val="tx2"/>
                </a:solidFill>
              </a:rPr>
              <a:t>HΒV </a:t>
            </a:r>
            <a:r>
              <a:rPr lang="el-GR" altLang="el-GR" sz="2400" b="1" dirty="0">
                <a:solidFill>
                  <a:schemeClr val="tx2"/>
                </a:solidFill>
              </a:rPr>
              <a:t>(</a:t>
            </a:r>
            <a:r>
              <a:rPr lang="en-US" altLang="el-GR" sz="2400" b="1" dirty="0">
                <a:solidFill>
                  <a:schemeClr val="tx2"/>
                </a:solidFill>
              </a:rPr>
              <a:t>HDV</a:t>
            </a:r>
            <a:r>
              <a:rPr lang="el-GR" altLang="el-GR" sz="2400" b="1" dirty="0">
                <a:solidFill>
                  <a:schemeClr val="tx2"/>
                </a:solidFill>
              </a:rPr>
              <a:t>)</a:t>
            </a:r>
            <a:r>
              <a:rPr lang="en-US" altLang="el-GR" sz="2400" b="1" dirty="0">
                <a:solidFill>
                  <a:schemeClr val="tx2"/>
                </a:solidFill>
              </a:rPr>
              <a:t>, HCV</a:t>
            </a:r>
          </a:p>
          <a:p>
            <a:pPr>
              <a:lnSpc>
                <a:spcPct val="240000"/>
              </a:lnSpc>
              <a:buFontTx/>
              <a:buNone/>
            </a:pPr>
            <a:endParaRPr lang="el-GR" altLang="el-GR" sz="2400" b="1" dirty="0"/>
          </a:p>
          <a:p>
            <a:pPr>
              <a:buFontTx/>
              <a:buNone/>
            </a:pPr>
            <a:r>
              <a:rPr lang="el-GR" altLang="el-GR" sz="2400" b="1" dirty="0"/>
              <a:t>    Χρόνια ηπατίτιδα</a:t>
            </a:r>
            <a:endParaRPr lang="el-GR" altLang="el-GR" sz="2400" dirty="0"/>
          </a:p>
        </p:txBody>
      </p:sp>
      <p:pic>
        <p:nvPicPr>
          <p:cNvPr id="61445" name="Picture 5" descr="small Drawn Liver">
            <a:extLst>
              <a:ext uri="{FF2B5EF4-FFF2-40B4-BE49-F238E27FC236}">
                <a16:creationId xmlns:a16="http://schemas.microsoft.com/office/drawing/2014/main" id="{D8CA27A7-C4E1-46CA-8456-D14A40F337FE}"/>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a:xfrm>
            <a:off x="3270250" y="2565400"/>
            <a:ext cx="2736850" cy="2108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044123869"/>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a:extLst>
              <a:ext uri="{FF2B5EF4-FFF2-40B4-BE49-F238E27FC236}">
                <a16:creationId xmlns:a16="http://schemas.microsoft.com/office/drawing/2014/main" id="{AEA7D0DC-01BD-4CB7-8009-A1EFE245B139}"/>
              </a:ext>
            </a:extLst>
          </p:cNvPr>
          <p:cNvSpPr>
            <a:spLocks noGrp="1" noChangeArrowheads="1"/>
          </p:cNvSpPr>
          <p:nvPr>
            <p:ph type="title"/>
          </p:nvPr>
        </p:nvSpPr>
        <p:spPr>
          <a:xfrm>
            <a:off x="0" y="765175"/>
            <a:ext cx="10287000" cy="815975"/>
          </a:xfrm>
          <a:gradFill rotWithShape="0">
            <a:gsLst>
              <a:gs pos="0">
                <a:schemeClr val="bg1"/>
              </a:gs>
              <a:gs pos="50000">
                <a:schemeClr val="bg1">
                  <a:gamma/>
                  <a:shade val="46275"/>
                  <a:invGamma/>
                </a:schemeClr>
              </a:gs>
              <a:gs pos="100000">
                <a:schemeClr val="bg1"/>
              </a:gs>
            </a:gsLst>
            <a:lin ang="5400000" scaled="1"/>
          </a:gradFill>
        </p:spPr>
        <p:txBody>
          <a:bodyPr/>
          <a:lstStyle/>
          <a:p>
            <a:pPr>
              <a:defRPr/>
            </a:pPr>
            <a:r>
              <a:rPr lang="el-GR" sz="3200" b="1" dirty="0"/>
              <a:t>ΔΙΑΓΝΩΣΗ ΧΡΟΝΙΑΣ </a:t>
            </a:r>
            <a:r>
              <a:rPr lang="en-US" sz="3200" b="1" dirty="0"/>
              <a:t>HCV </a:t>
            </a:r>
            <a:r>
              <a:rPr lang="el-GR" sz="3200" b="1" dirty="0"/>
              <a:t>ΛΟΙΜΩΞΗΣ</a:t>
            </a:r>
            <a:endParaRPr lang="el-GR" dirty="0"/>
          </a:p>
        </p:txBody>
      </p:sp>
      <p:sp>
        <p:nvSpPr>
          <p:cNvPr id="27651" name="Rectangle 3">
            <a:extLst>
              <a:ext uri="{FF2B5EF4-FFF2-40B4-BE49-F238E27FC236}">
                <a16:creationId xmlns:a16="http://schemas.microsoft.com/office/drawing/2014/main" id="{9B61EE0B-AC81-4037-BB92-2BBBEF94DF93}"/>
              </a:ext>
            </a:extLst>
          </p:cNvPr>
          <p:cNvSpPr>
            <a:spLocks noChangeArrowheads="1"/>
          </p:cNvSpPr>
          <p:nvPr/>
        </p:nvSpPr>
        <p:spPr bwMode="auto">
          <a:xfrm>
            <a:off x="319088" y="2060575"/>
            <a:ext cx="9525000" cy="439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63538" indent="-363538" defTabSz="762000">
              <a:spcBef>
                <a:spcPct val="20000"/>
              </a:spcBef>
              <a:buChar char="•"/>
              <a:defRPr sz="3200">
                <a:solidFill>
                  <a:schemeClr val="tx1"/>
                </a:solidFill>
                <a:latin typeface="Arial" panose="020B0604020202020204" pitchFamily="34" charset="0"/>
              </a:defRPr>
            </a:lvl1pPr>
            <a:lvl2pPr marL="742950" indent="-285750" defTabSz="762000">
              <a:spcBef>
                <a:spcPct val="20000"/>
              </a:spcBef>
              <a:buChar char="–"/>
              <a:defRPr sz="2800">
                <a:solidFill>
                  <a:schemeClr val="tx1"/>
                </a:solidFill>
                <a:latin typeface="Arial" panose="020B0604020202020204" pitchFamily="34" charset="0"/>
              </a:defRPr>
            </a:lvl2pPr>
            <a:lvl3pPr marL="1143000" indent="-228600" defTabSz="762000">
              <a:spcBef>
                <a:spcPct val="20000"/>
              </a:spcBef>
              <a:buChar char="•"/>
              <a:defRPr sz="2400">
                <a:solidFill>
                  <a:schemeClr val="tx1"/>
                </a:solidFill>
                <a:latin typeface="Arial" panose="020B0604020202020204" pitchFamily="34" charset="0"/>
              </a:defRPr>
            </a:lvl3pPr>
            <a:lvl4pPr marL="1600200" indent="-228600" defTabSz="762000">
              <a:spcBef>
                <a:spcPct val="20000"/>
              </a:spcBef>
              <a:buChar char="–"/>
              <a:defRPr sz="2000">
                <a:solidFill>
                  <a:schemeClr val="tx1"/>
                </a:solidFill>
                <a:latin typeface="Arial" panose="020B0604020202020204" pitchFamily="34" charset="0"/>
              </a:defRPr>
            </a:lvl4pPr>
            <a:lvl5pPr marL="2057400" indent="-228600" defTabSz="762000">
              <a:spcBef>
                <a:spcPct val="20000"/>
              </a:spcBef>
              <a:buChar char="•"/>
              <a:defRPr sz="2000">
                <a:solidFill>
                  <a:schemeClr val="tx1"/>
                </a:solidFill>
                <a:latin typeface="Arial" panose="020B0604020202020204" pitchFamily="34" charset="0"/>
              </a:defRPr>
            </a:lvl5pPr>
            <a:lvl6pPr marL="25146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762000" eaLnBrk="0" fontAlgn="base" hangingPunct="0">
              <a:spcBef>
                <a:spcPct val="20000"/>
              </a:spcBef>
              <a:spcAft>
                <a:spcPct val="0"/>
              </a:spcAft>
              <a:buChar char="•"/>
              <a:defRPr sz="2000">
                <a:solidFill>
                  <a:schemeClr val="tx1"/>
                </a:solidFill>
                <a:latin typeface="Arial" panose="020B0604020202020204" pitchFamily="34" charset="0"/>
              </a:defRPr>
            </a:lvl9pPr>
          </a:lstStyle>
          <a:p>
            <a:pPr>
              <a:lnSpc>
                <a:spcPct val="20000"/>
              </a:lnSpc>
              <a:buFontTx/>
              <a:buNone/>
            </a:pPr>
            <a:endParaRPr lang="el-GR" altLang="el-GR" sz="2600" b="1" dirty="0"/>
          </a:p>
          <a:p>
            <a:pPr algn="ctr">
              <a:buFontTx/>
              <a:buNone/>
            </a:pPr>
            <a:r>
              <a:rPr lang="el-GR" altLang="el-GR" sz="2600" b="1" dirty="0"/>
              <a:t>    </a:t>
            </a:r>
            <a:r>
              <a:rPr lang="en-US" altLang="el-GR" b="1" dirty="0">
                <a:solidFill>
                  <a:schemeClr val="tx2"/>
                </a:solidFill>
              </a:rPr>
              <a:t>anti-HCV (+) &amp; HCV RNA (+)</a:t>
            </a:r>
            <a:endParaRPr lang="el-GR" altLang="el-GR" b="1" dirty="0">
              <a:solidFill>
                <a:schemeClr val="tx2"/>
              </a:solidFill>
            </a:endParaRPr>
          </a:p>
          <a:p>
            <a:pPr>
              <a:lnSpc>
                <a:spcPct val="30000"/>
              </a:lnSpc>
              <a:buFontTx/>
              <a:buNone/>
            </a:pPr>
            <a:endParaRPr lang="el-GR" altLang="el-GR" b="1" dirty="0">
              <a:solidFill>
                <a:schemeClr val="tx2"/>
              </a:solidFill>
            </a:endParaRPr>
          </a:p>
          <a:p>
            <a:pPr>
              <a:lnSpc>
                <a:spcPct val="110000"/>
              </a:lnSpc>
              <a:buFontTx/>
              <a:buNone/>
            </a:pPr>
            <a:r>
              <a:rPr lang="el-GR" altLang="el-GR" sz="2600" b="1" dirty="0">
                <a:solidFill>
                  <a:schemeClr val="accent2"/>
                </a:solidFill>
              </a:rPr>
              <a:t>    </a:t>
            </a:r>
            <a:endParaRPr lang="el-GR" altLang="el-GR" sz="2600" b="1" dirty="0"/>
          </a:p>
          <a:p>
            <a:pPr>
              <a:lnSpc>
                <a:spcPct val="130000"/>
              </a:lnSpc>
            </a:pPr>
            <a:r>
              <a:rPr lang="el-GR" altLang="el-GR" sz="2600" b="1" dirty="0"/>
              <a:t>Η</a:t>
            </a:r>
            <a:r>
              <a:rPr lang="en-US" altLang="el-GR" sz="2600" b="1" dirty="0"/>
              <a:t>CV </a:t>
            </a:r>
            <a:r>
              <a:rPr lang="el-GR" altLang="el-GR" sz="2600" b="1" dirty="0"/>
              <a:t>γονότυπος? &amp; επίπεδα </a:t>
            </a:r>
            <a:r>
              <a:rPr lang="en-US" altLang="el-GR" sz="2600" b="1" dirty="0"/>
              <a:t>HCV RNA</a:t>
            </a:r>
            <a:r>
              <a:rPr lang="el-GR" altLang="el-GR" sz="2600" b="1" dirty="0"/>
              <a:t>?</a:t>
            </a:r>
            <a:r>
              <a:rPr lang="en-US" altLang="el-GR" sz="2600" b="1" dirty="0"/>
              <a:t>: </a:t>
            </a:r>
            <a:r>
              <a:rPr lang="el-GR" altLang="el-GR" sz="2600" b="1" dirty="0"/>
              <a:t>προ θεραπείας</a:t>
            </a:r>
          </a:p>
        </p:txBody>
      </p:sp>
    </p:spTree>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E089E988-07BC-4973-A293-A84953791BDD}"/>
              </a:ext>
            </a:extLst>
          </p:cNvPr>
          <p:cNvSpPr>
            <a:spLocks noGrp="1" noChangeArrowheads="1"/>
          </p:cNvSpPr>
          <p:nvPr>
            <p:ph type="title"/>
          </p:nvPr>
        </p:nvSpPr>
        <p:spPr>
          <a:xfrm>
            <a:off x="463550" y="260350"/>
            <a:ext cx="9144000" cy="1143000"/>
          </a:xfrm>
        </p:spPr>
        <p:txBody>
          <a:bodyPr/>
          <a:lstStyle/>
          <a:p>
            <a:r>
              <a:rPr lang="en-US" altLang="el-GR" sz="3600" b="1"/>
              <a:t>HCV </a:t>
            </a:r>
            <a:r>
              <a:rPr lang="el-GR" altLang="el-GR" sz="3600" b="1"/>
              <a:t>διαφορετικός ιός από </a:t>
            </a:r>
            <a:r>
              <a:rPr lang="en-US" altLang="el-GR" sz="3600" b="1"/>
              <a:t>HBV/HIV</a:t>
            </a:r>
            <a:br>
              <a:rPr lang="en-US" altLang="el-GR" sz="3600" b="1"/>
            </a:br>
            <a:r>
              <a:rPr lang="el-GR" altLang="el-GR" sz="3600" b="1"/>
              <a:t>Όχι μακροχρόνια-λανθάνουσα επιβίωση</a:t>
            </a:r>
            <a:r>
              <a:rPr lang="en-US" altLang="el-GR" sz="3600" b="1"/>
              <a:t> </a:t>
            </a:r>
            <a:endParaRPr lang="el-GR" altLang="el-GR" sz="3600" b="1"/>
          </a:p>
        </p:txBody>
      </p:sp>
      <p:sp>
        <p:nvSpPr>
          <p:cNvPr id="16387" name="AutoShape 4">
            <a:extLst>
              <a:ext uri="{FF2B5EF4-FFF2-40B4-BE49-F238E27FC236}">
                <a16:creationId xmlns:a16="http://schemas.microsoft.com/office/drawing/2014/main" id="{6B908262-3CD2-4FE5-8BD1-AB9EE80E091A}"/>
              </a:ext>
            </a:extLst>
          </p:cNvPr>
          <p:cNvSpPr>
            <a:spLocks noChangeArrowheads="1"/>
          </p:cNvSpPr>
          <p:nvPr/>
        </p:nvSpPr>
        <p:spPr bwMode="auto">
          <a:xfrm>
            <a:off x="1327150" y="2132013"/>
            <a:ext cx="2016125" cy="3168650"/>
          </a:xfrm>
          <a:prstGeom prst="roundRect">
            <a:avLst>
              <a:gd name="adj" fmla="val 16667"/>
            </a:avLst>
          </a:prstGeom>
          <a:solidFill>
            <a:schemeClr val="accent1"/>
          </a:solidFill>
          <a:ln w="12700">
            <a:solidFill>
              <a:schemeClr val="tx1"/>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pPr algn="ctr"/>
            <a:endParaRPr lang="en-US" altLang="el-GR"/>
          </a:p>
        </p:txBody>
      </p:sp>
      <p:sp>
        <p:nvSpPr>
          <p:cNvPr id="16388" name="AutoShape 5">
            <a:extLst>
              <a:ext uri="{FF2B5EF4-FFF2-40B4-BE49-F238E27FC236}">
                <a16:creationId xmlns:a16="http://schemas.microsoft.com/office/drawing/2014/main" id="{C51628E8-DC94-4F51-882F-55F323799E35}"/>
              </a:ext>
            </a:extLst>
          </p:cNvPr>
          <p:cNvSpPr>
            <a:spLocks noChangeArrowheads="1"/>
          </p:cNvSpPr>
          <p:nvPr/>
        </p:nvSpPr>
        <p:spPr bwMode="auto">
          <a:xfrm>
            <a:off x="4422775" y="2132013"/>
            <a:ext cx="2016125" cy="3168650"/>
          </a:xfrm>
          <a:prstGeom prst="roundRect">
            <a:avLst>
              <a:gd name="adj" fmla="val 16667"/>
            </a:avLst>
          </a:prstGeom>
          <a:solidFill>
            <a:schemeClr val="accent1"/>
          </a:solidFill>
          <a:ln w="12700">
            <a:solidFill>
              <a:schemeClr val="tx1"/>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endParaRPr lang="en-US" altLang="el-GR"/>
          </a:p>
        </p:txBody>
      </p:sp>
      <p:sp>
        <p:nvSpPr>
          <p:cNvPr id="16389" name="AutoShape 6">
            <a:extLst>
              <a:ext uri="{FF2B5EF4-FFF2-40B4-BE49-F238E27FC236}">
                <a16:creationId xmlns:a16="http://schemas.microsoft.com/office/drawing/2014/main" id="{4349C85B-2F2C-4E77-916E-1D411321D8A9}"/>
              </a:ext>
            </a:extLst>
          </p:cNvPr>
          <p:cNvSpPr>
            <a:spLocks noChangeArrowheads="1"/>
          </p:cNvSpPr>
          <p:nvPr/>
        </p:nvSpPr>
        <p:spPr bwMode="auto">
          <a:xfrm>
            <a:off x="7375525" y="2133600"/>
            <a:ext cx="2016125" cy="3168650"/>
          </a:xfrm>
          <a:prstGeom prst="roundRect">
            <a:avLst>
              <a:gd name="adj" fmla="val 16667"/>
            </a:avLst>
          </a:prstGeom>
          <a:solidFill>
            <a:schemeClr val="accent1"/>
          </a:solidFill>
          <a:ln w="12700">
            <a:solidFill>
              <a:schemeClr val="tx1"/>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endParaRPr lang="en-US" altLang="el-GR"/>
          </a:p>
        </p:txBody>
      </p:sp>
      <p:sp>
        <p:nvSpPr>
          <p:cNvPr id="16390" name="Oval 7">
            <a:extLst>
              <a:ext uri="{FF2B5EF4-FFF2-40B4-BE49-F238E27FC236}">
                <a16:creationId xmlns:a16="http://schemas.microsoft.com/office/drawing/2014/main" id="{258DE6F9-5733-41A8-8BA4-DC85EF0A0247}"/>
              </a:ext>
            </a:extLst>
          </p:cNvPr>
          <p:cNvSpPr>
            <a:spLocks noChangeArrowheads="1"/>
          </p:cNvSpPr>
          <p:nvPr/>
        </p:nvSpPr>
        <p:spPr bwMode="auto">
          <a:xfrm>
            <a:off x="1687513" y="3068638"/>
            <a:ext cx="1295400" cy="1295400"/>
          </a:xfrm>
          <a:prstGeom prst="ellipse">
            <a:avLst/>
          </a:prstGeom>
          <a:solidFill>
            <a:schemeClr val="accent1"/>
          </a:solidFill>
          <a:ln w="57150">
            <a:solidFill>
              <a:schemeClr val="tx1"/>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pPr algn="ctr"/>
            <a:endParaRPr lang="en-US" altLang="el-GR"/>
          </a:p>
        </p:txBody>
      </p:sp>
      <p:sp>
        <p:nvSpPr>
          <p:cNvPr id="16391" name="Oval 8">
            <a:extLst>
              <a:ext uri="{FF2B5EF4-FFF2-40B4-BE49-F238E27FC236}">
                <a16:creationId xmlns:a16="http://schemas.microsoft.com/office/drawing/2014/main" id="{BF269599-3DFE-483F-AEB5-3C397954843B}"/>
              </a:ext>
            </a:extLst>
          </p:cNvPr>
          <p:cNvSpPr>
            <a:spLocks noChangeArrowheads="1"/>
          </p:cNvSpPr>
          <p:nvPr/>
        </p:nvSpPr>
        <p:spPr bwMode="auto">
          <a:xfrm>
            <a:off x="4783138" y="3068638"/>
            <a:ext cx="1295400" cy="1295400"/>
          </a:xfrm>
          <a:prstGeom prst="ellipse">
            <a:avLst/>
          </a:prstGeom>
          <a:solidFill>
            <a:schemeClr val="accent1"/>
          </a:solidFill>
          <a:ln w="57150">
            <a:solidFill>
              <a:schemeClr val="tx1"/>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endParaRPr lang="en-US" altLang="el-GR"/>
          </a:p>
        </p:txBody>
      </p:sp>
      <p:sp>
        <p:nvSpPr>
          <p:cNvPr id="16392" name="Oval 9">
            <a:extLst>
              <a:ext uri="{FF2B5EF4-FFF2-40B4-BE49-F238E27FC236}">
                <a16:creationId xmlns:a16="http://schemas.microsoft.com/office/drawing/2014/main" id="{EEE9E818-E1AC-4D24-ACCA-E7036F4A5006}"/>
              </a:ext>
            </a:extLst>
          </p:cNvPr>
          <p:cNvSpPr>
            <a:spLocks noChangeArrowheads="1"/>
          </p:cNvSpPr>
          <p:nvPr/>
        </p:nvSpPr>
        <p:spPr bwMode="auto">
          <a:xfrm>
            <a:off x="7807325" y="3140075"/>
            <a:ext cx="1223963" cy="1223963"/>
          </a:xfrm>
          <a:prstGeom prst="ellipse">
            <a:avLst/>
          </a:prstGeom>
          <a:solidFill>
            <a:schemeClr val="accent1"/>
          </a:solidFill>
          <a:ln w="57150">
            <a:solidFill>
              <a:schemeClr val="tx1"/>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endParaRPr lang="en-US" altLang="el-GR"/>
          </a:p>
        </p:txBody>
      </p:sp>
      <p:sp>
        <p:nvSpPr>
          <p:cNvPr id="16393" name="Freeform 13">
            <a:extLst>
              <a:ext uri="{FF2B5EF4-FFF2-40B4-BE49-F238E27FC236}">
                <a16:creationId xmlns:a16="http://schemas.microsoft.com/office/drawing/2014/main" id="{7AD2D359-6EF0-4F72-A328-1D207572EA5E}"/>
              </a:ext>
            </a:extLst>
          </p:cNvPr>
          <p:cNvSpPr>
            <a:spLocks/>
          </p:cNvSpPr>
          <p:nvPr/>
        </p:nvSpPr>
        <p:spPr bwMode="auto">
          <a:xfrm>
            <a:off x="1974850" y="3644900"/>
            <a:ext cx="790575" cy="287338"/>
          </a:xfrm>
          <a:custGeom>
            <a:avLst/>
            <a:gdLst>
              <a:gd name="T0" fmla="*/ 2147483647 w 836"/>
              <a:gd name="T1" fmla="*/ 2147483647 h 455"/>
              <a:gd name="T2" fmla="*/ 2147483647 w 836"/>
              <a:gd name="T3" fmla="*/ 2147483647 h 455"/>
              <a:gd name="T4" fmla="*/ 2147483647 w 836"/>
              <a:gd name="T5" fmla="*/ 2147483647 h 455"/>
              <a:gd name="T6" fmla="*/ 2147483647 w 836"/>
              <a:gd name="T7" fmla="*/ 2147483647 h 455"/>
              <a:gd name="T8" fmla="*/ 2147483647 w 836"/>
              <a:gd name="T9" fmla="*/ 2147483647 h 455"/>
              <a:gd name="T10" fmla="*/ 2147483647 w 836"/>
              <a:gd name="T11" fmla="*/ 2147483647 h 455"/>
              <a:gd name="T12" fmla="*/ 2147483647 w 836"/>
              <a:gd name="T13" fmla="*/ 2147483647 h 455"/>
              <a:gd name="T14" fmla="*/ 2147483647 w 836"/>
              <a:gd name="T15" fmla="*/ 2147483647 h 455"/>
              <a:gd name="T16" fmla="*/ 2147483647 w 836"/>
              <a:gd name="T17" fmla="*/ 2147483647 h 455"/>
              <a:gd name="T18" fmla="*/ 2147483647 w 836"/>
              <a:gd name="T19" fmla="*/ 2147483647 h 455"/>
              <a:gd name="T20" fmla="*/ 2147483647 w 836"/>
              <a:gd name="T21" fmla="*/ 2147483647 h 455"/>
              <a:gd name="T22" fmla="*/ 2147483647 w 836"/>
              <a:gd name="T23" fmla="*/ 2147483647 h 455"/>
              <a:gd name="T24" fmla="*/ 2147483647 w 836"/>
              <a:gd name="T25" fmla="*/ 2147483647 h 455"/>
              <a:gd name="T26" fmla="*/ 2147483647 w 836"/>
              <a:gd name="T27" fmla="*/ 2147483647 h 455"/>
              <a:gd name="T28" fmla="*/ 2147483647 w 836"/>
              <a:gd name="T29" fmla="*/ 2147483647 h 455"/>
              <a:gd name="T30" fmla="*/ 2147483647 w 836"/>
              <a:gd name="T31" fmla="*/ 2147483647 h 4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36"/>
              <a:gd name="T49" fmla="*/ 0 h 455"/>
              <a:gd name="T50" fmla="*/ 836 w 836"/>
              <a:gd name="T51" fmla="*/ 455 h 4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36" h="455">
                <a:moveTo>
                  <a:pt x="11" y="450"/>
                </a:moveTo>
                <a:cubicBezTo>
                  <a:pt x="39" y="254"/>
                  <a:pt x="0" y="439"/>
                  <a:pt x="47" y="330"/>
                </a:cubicBezTo>
                <a:cubicBezTo>
                  <a:pt x="53" y="315"/>
                  <a:pt x="52" y="297"/>
                  <a:pt x="59" y="282"/>
                </a:cubicBezTo>
                <a:cubicBezTo>
                  <a:pt x="82" y="235"/>
                  <a:pt x="127" y="199"/>
                  <a:pt x="143" y="150"/>
                </a:cubicBezTo>
                <a:cubicBezTo>
                  <a:pt x="151" y="126"/>
                  <a:pt x="159" y="102"/>
                  <a:pt x="167" y="78"/>
                </a:cubicBezTo>
                <a:cubicBezTo>
                  <a:pt x="171" y="66"/>
                  <a:pt x="167" y="46"/>
                  <a:pt x="179" y="42"/>
                </a:cubicBezTo>
                <a:cubicBezTo>
                  <a:pt x="229" y="25"/>
                  <a:pt x="204" y="37"/>
                  <a:pt x="251" y="6"/>
                </a:cubicBezTo>
                <a:cubicBezTo>
                  <a:pt x="306" y="9"/>
                  <a:pt x="488" y="0"/>
                  <a:pt x="563" y="42"/>
                </a:cubicBezTo>
                <a:cubicBezTo>
                  <a:pt x="588" y="56"/>
                  <a:pt x="608" y="81"/>
                  <a:pt x="635" y="90"/>
                </a:cubicBezTo>
                <a:cubicBezTo>
                  <a:pt x="691" y="109"/>
                  <a:pt x="732" y="119"/>
                  <a:pt x="779" y="150"/>
                </a:cubicBezTo>
                <a:cubicBezTo>
                  <a:pt x="836" y="236"/>
                  <a:pt x="811" y="343"/>
                  <a:pt x="779" y="438"/>
                </a:cubicBezTo>
                <a:cubicBezTo>
                  <a:pt x="750" y="428"/>
                  <a:pt x="730" y="425"/>
                  <a:pt x="707" y="402"/>
                </a:cubicBezTo>
                <a:cubicBezTo>
                  <a:pt x="606" y="301"/>
                  <a:pt x="749" y="428"/>
                  <a:pt x="671" y="330"/>
                </a:cubicBezTo>
                <a:cubicBezTo>
                  <a:pt x="662" y="319"/>
                  <a:pt x="647" y="314"/>
                  <a:pt x="635" y="306"/>
                </a:cubicBezTo>
                <a:cubicBezTo>
                  <a:pt x="436" y="312"/>
                  <a:pt x="289" y="256"/>
                  <a:pt x="143" y="354"/>
                </a:cubicBezTo>
                <a:cubicBezTo>
                  <a:pt x="118" y="455"/>
                  <a:pt x="124" y="436"/>
                  <a:pt x="11" y="450"/>
                </a:cubicBezTo>
                <a:close/>
              </a:path>
            </a:pathLst>
          </a:custGeom>
          <a:solidFill>
            <a:schemeClr val="accent1"/>
          </a:solidFill>
          <a:ln w="57150">
            <a:solidFill>
              <a:schemeClr val="bg2"/>
            </a:solidFill>
            <a:round/>
            <a:headEnd type="none" w="sm" len="sm"/>
            <a:tailEnd type="none" w="sm" len="sm"/>
          </a:ln>
        </p:spPr>
        <p:txBody>
          <a:bodyPr/>
          <a:lstStyle/>
          <a:p>
            <a:endParaRPr lang="el-GR"/>
          </a:p>
        </p:txBody>
      </p:sp>
      <p:sp>
        <p:nvSpPr>
          <p:cNvPr id="16394" name="Oval 17">
            <a:extLst>
              <a:ext uri="{FF2B5EF4-FFF2-40B4-BE49-F238E27FC236}">
                <a16:creationId xmlns:a16="http://schemas.microsoft.com/office/drawing/2014/main" id="{EECF0892-A2A7-4301-B6E8-90EC303D1F34}"/>
              </a:ext>
            </a:extLst>
          </p:cNvPr>
          <p:cNvSpPr>
            <a:spLocks noChangeArrowheads="1"/>
          </p:cNvSpPr>
          <p:nvPr/>
        </p:nvSpPr>
        <p:spPr bwMode="auto">
          <a:xfrm>
            <a:off x="2047875" y="3357563"/>
            <a:ext cx="285750" cy="215900"/>
          </a:xfrm>
          <a:prstGeom prst="ellipse">
            <a:avLst/>
          </a:prstGeom>
          <a:solidFill>
            <a:schemeClr val="accent1"/>
          </a:solidFill>
          <a:ln w="57150">
            <a:solidFill>
              <a:srgbClr val="800000"/>
            </a:solidFill>
            <a:round/>
            <a:headEnd type="none" w="sm" len="sm"/>
            <a:tailEnd type="none" w="sm" len="sm"/>
          </a:ln>
        </p:spPr>
        <p:txBody>
          <a:bodyPr wrap="none" anchor="ct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pPr algn="ctr"/>
            <a:endParaRPr lang="en-US" altLang="el-GR">
              <a:solidFill>
                <a:srgbClr val="800000"/>
              </a:solidFill>
            </a:endParaRPr>
          </a:p>
        </p:txBody>
      </p:sp>
      <p:sp>
        <p:nvSpPr>
          <p:cNvPr id="16395" name="Freeform 18">
            <a:extLst>
              <a:ext uri="{FF2B5EF4-FFF2-40B4-BE49-F238E27FC236}">
                <a16:creationId xmlns:a16="http://schemas.microsoft.com/office/drawing/2014/main" id="{E00C0D15-E84C-4F01-8839-83E0447F781D}"/>
              </a:ext>
            </a:extLst>
          </p:cNvPr>
          <p:cNvSpPr>
            <a:spLocks/>
          </p:cNvSpPr>
          <p:nvPr/>
        </p:nvSpPr>
        <p:spPr bwMode="auto">
          <a:xfrm>
            <a:off x="5000625" y="3644900"/>
            <a:ext cx="790575" cy="287338"/>
          </a:xfrm>
          <a:custGeom>
            <a:avLst/>
            <a:gdLst>
              <a:gd name="T0" fmla="*/ 2147483647 w 836"/>
              <a:gd name="T1" fmla="*/ 2147483647 h 455"/>
              <a:gd name="T2" fmla="*/ 2147483647 w 836"/>
              <a:gd name="T3" fmla="*/ 2147483647 h 455"/>
              <a:gd name="T4" fmla="*/ 2147483647 w 836"/>
              <a:gd name="T5" fmla="*/ 2147483647 h 455"/>
              <a:gd name="T6" fmla="*/ 2147483647 w 836"/>
              <a:gd name="T7" fmla="*/ 2147483647 h 455"/>
              <a:gd name="T8" fmla="*/ 2147483647 w 836"/>
              <a:gd name="T9" fmla="*/ 2147483647 h 455"/>
              <a:gd name="T10" fmla="*/ 2147483647 w 836"/>
              <a:gd name="T11" fmla="*/ 2147483647 h 455"/>
              <a:gd name="T12" fmla="*/ 2147483647 w 836"/>
              <a:gd name="T13" fmla="*/ 2147483647 h 455"/>
              <a:gd name="T14" fmla="*/ 2147483647 w 836"/>
              <a:gd name="T15" fmla="*/ 2147483647 h 455"/>
              <a:gd name="T16" fmla="*/ 2147483647 w 836"/>
              <a:gd name="T17" fmla="*/ 2147483647 h 455"/>
              <a:gd name="T18" fmla="*/ 2147483647 w 836"/>
              <a:gd name="T19" fmla="*/ 2147483647 h 455"/>
              <a:gd name="T20" fmla="*/ 2147483647 w 836"/>
              <a:gd name="T21" fmla="*/ 2147483647 h 455"/>
              <a:gd name="T22" fmla="*/ 2147483647 w 836"/>
              <a:gd name="T23" fmla="*/ 2147483647 h 455"/>
              <a:gd name="T24" fmla="*/ 2147483647 w 836"/>
              <a:gd name="T25" fmla="*/ 2147483647 h 455"/>
              <a:gd name="T26" fmla="*/ 2147483647 w 836"/>
              <a:gd name="T27" fmla="*/ 2147483647 h 455"/>
              <a:gd name="T28" fmla="*/ 2147483647 w 836"/>
              <a:gd name="T29" fmla="*/ 2147483647 h 455"/>
              <a:gd name="T30" fmla="*/ 2147483647 w 836"/>
              <a:gd name="T31" fmla="*/ 2147483647 h 4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36"/>
              <a:gd name="T49" fmla="*/ 0 h 455"/>
              <a:gd name="T50" fmla="*/ 836 w 836"/>
              <a:gd name="T51" fmla="*/ 455 h 4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36" h="455">
                <a:moveTo>
                  <a:pt x="11" y="450"/>
                </a:moveTo>
                <a:cubicBezTo>
                  <a:pt x="39" y="254"/>
                  <a:pt x="0" y="439"/>
                  <a:pt x="47" y="330"/>
                </a:cubicBezTo>
                <a:cubicBezTo>
                  <a:pt x="53" y="315"/>
                  <a:pt x="52" y="297"/>
                  <a:pt x="59" y="282"/>
                </a:cubicBezTo>
                <a:cubicBezTo>
                  <a:pt x="82" y="235"/>
                  <a:pt x="127" y="199"/>
                  <a:pt x="143" y="150"/>
                </a:cubicBezTo>
                <a:cubicBezTo>
                  <a:pt x="151" y="126"/>
                  <a:pt x="159" y="102"/>
                  <a:pt x="167" y="78"/>
                </a:cubicBezTo>
                <a:cubicBezTo>
                  <a:pt x="171" y="66"/>
                  <a:pt x="167" y="46"/>
                  <a:pt x="179" y="42"/>
                </a:cubicBezTo>
                <a:cubicBezTo>
                  <a:pt x="229" y="25"/>
                  <a:pt x="204" y="37"/>
                  <a:pt x="251" y="6"/>
                </a:cubicBezTo>
                <a:cubicBezTo>
                  <a:pt x="306" y="9"/>
                  <a:pt x="488" y="0"/>
                  <a:pt x="563" y="42"/>
                </a:cubicBezTo>
                <a:cubicBezTo>
                  <a:pt x="588" y="56"/>
                  <a:pt x="608" y="81"/>
                  <a:pt x="635" y="90"/>
                </a:cubicBezTo>
                <a:cubicBezTo>
                  <a:pt x="691" y="109"/>
                  <a:pt x="732" y="119"/>
                  <a:pt x="779" y="150"/>
                </a:cubicBezTo>
                <a:cubicBezTo>
                  <a:pt x="836" y="236"/>
                  <a:pt x="811" y="343"/>
                  <a:pt x="779" y="438"/>
                </a:cubicBezTo>
                <a:cubicBezTo>
                  <a:pt x="750" y="428"/>
                  <a:pt x="730" y="425"/>
                  <a:pt x="707" y="402"/>
                </a:cubicBezTo>
                <a:cubicBezTo>
                  <a:pt x="606" y="301"/>
                  <a:pt x="749" y="428"/>
                  <a:pt x="671" y="330"/>
                </a:cubicBezTo>
                <a:cubicBezTo>
                  <a:pt x="662" y="319"/>
                  <a:pt x="647" y="314"/>
                  <a:pt x="635" y="306"/>
                </a:cubicBezTo>
                <a:cubicBezTo>
                  <a:pt x="436" y="312"/>
                  <a:pt x="289" y="256"/>
                  <a:pt x="143" y="354"/>
                </a:cubicBezTo>
                <a:cubicBezTo>
                  <a:pt x="118" y="455"/>
                  <a:pt x="124" y="436"/>
                  <a:pt x="11" y="450"/>
                </a:cubicBezTo>
                <a:close/>
              </a:path>
            </a:pathLst>
          </a:custGeom>
          <a:solidFill>
            <a:schemeClr val="accent1"/>
          </a:solidFill>
          <a:ln w="57150">
            <a:solidFill>
              <a:schemeClr val="bg2"/>
            </a:solidFill>
            <a:round/>
            <a:headEnd type="none" w="sm" len="sm"/>
            <a:tailEnd type="none" w="sm" len="sm"/>
          </a:ln>
        </p:spPr>
        <p:txBody>
          <a:bodyPr/>
          <a:lstStyle/>
          <a:p>
            <a:endParaRPr lang="el-GR"/>
          </a:p>
        </p:txBody>
      </p:sp>
      <p:sp>
        <p:nvSpPr>
          <p:cNvPr id="16396" name="Line 19">
            <a:extLst>
              <a:ext uri="{FF2B5EF4-FFF2-40B4-BE49-F238E27FC236}">
                <a16:creationId xmlns:a16="http://schemas.microsoft.com/office/drawing/2014/main" id="{CD6990BC-D076-4C13-8800-56DA02D1049E}"/>
              </a:ext>
            </a:extLst>
          </p:cNvPr>
          <p:cNvSpPr>
            <a:spLocks noChangeShapeType="1"/>
          </p:cNvSpPr>
          <p:nvPr/>
        </p:nvSpPr>
        <p:spPr bwMode="auto">
          <a:xfrm>
            <a:off x="5214938" y="3644900"/>
            <a:ext cx="360362" cy="0"/>
          </a:xfrm>
          <a:prstGeom prst="line">
            <a:avLst/>
          </a:prstGeom>
          <a:noFill/>
          <a:ln w="57150">
            <a:solidFill>
              <a:srgbClr val="8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16397" name="Line 20">
            <a:extLst>
              <a:ext uri="{FF2B5EF4-FFF2-40B4-BE49-F238E27FC236}">
                <a16:creationId xmlns:a16="http://schemas.microsoft.com/office/drawing/2014/main" id="{CCBAC52E-F460-4881-9F57-F51DBF1CB7EE}"/>
              </a:ext>
            </a:extLst>
          </p:cNvPr>
          <p:cNvSpPr>
            <a:spLocks noChangeShapeType="1"/>
          </p:cNvSpPr>
          <p:nvPr/>
        </p:nvSpPr>
        <p:spPr bwMode="auto">
          <a:xfrm>
            <a:off x="5575300" y="3644900"/>
            <a:ext cx="144463" cy="71438"/>
          </a:xfrm>
          <a:prstGeom prst="line">
            <a:avLst/>
          </a:prstGeom>
          <a:noFill/>
          <a:ln w="57150">
            <a:solidFill>
              <a:srgbClr val="8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l-GR"/>
          </a:p>
        </p:txBody>
      </p:sp>
      <p:sp>
        <p:nvSpPr>
          <p:cNvPr id="16398" name="Freeform 21">
            <a:extLst>
              <a:ext uri="{FF2B5EF4-FFF2-40B4-BE49-F238E27FC236}">
                <a16:creationId xmlns:a16="http://schemas.microsoft.com/office/drawing/2014/main" id="{0571342E-8348-46AA-9AFD-A66AE2F0FB8D}"/>
              </a:ext>
            </a:extLst>
          </p:cNvPr>
          <p:cNvSpPr>
            <a:spLocks/>
          </p:cNvSpPr>
          <p:nvPr/>
        </p:nvSpPr>
        <p:spPr bwMode="auto">
          <a:xfrm>
            <a:off x="8094663" y="2643188"/>
            <a:ext cx="384175" cy="73025"/>
          </a:xfrm>
          <a:custGeom>
            <a:avLst/>
            <a:gdLst>
              <a:gd name="T0" fmla="*/ 0 w 378"/>
              <a:gd name="T1" fmla="*/ 2147483647 h 137"/>
              <a:gd name="T2" fmla="*/ 2147483647 w 378"/>
              <a:gd name="T3" fmla="*/ 0 h 137"/>
              <a:gd name="T4" fmla="*/ 2147483647 w 378"/>
              <a:gd name="T5" fmla="*/ 2147483647 h 137"/>
              <a:gd name="T6" fmla="*/ 0 60000 65536"/>
              <a:gd name="T7" fmla="*/ 0 60000 65536"/>
              <a:gd name="T8" fmla="*/ 0 60000 65536"/>
              <a:gd name="T9" fmla="*/ 0 w 378"/>
              <a:gd name="T10" fmla="*/ 0 h 137"/>
              <a:gd name="T11" fmla="*/ 378 w 378"/>
              <a:gd name="T12" fmla="*/ 137 h 137"/>
            </a:gdLst>
            <a:ahLst/>
            <a:cxnLst>
              <a:cxn ang="T6">
                <a:pos x="T0" y="T1"/>
              </a:cxn>
              <a:cxn ang="T7">
                <a:pos x="T2" y="T3"/>
              </a:cxn>
              <a:cxn ang="T8">
                <a:pos x="T4" y="T5"/>
              </a:cxn>
            </a:cxnLst>
            <a:rect l="T9" t="T10" r="T11" b="T12"/>
            <a:pathLst>
              <a:path w="378" h="137">
                <a:moveTo>
                  <a:pt x="0" y="137"/>
                </a:moveTo>
                <a:cubicBezTo>
                  <a:pt x="129" y="68"/>
                  <a:pt x="258" y="0"/>
                  <a:pt x="318" y="0"/>
                </a:cubicBezTo>
                <a:cubicBezTo>
                  <a:pt x="378" y="0"/>
                  <a:pt x="356" y="122"/>
                  <a:pt x="363" y="137"/>
                </a:cubicBezTo>
              </a:path>
            </a:pathLst>
          </a:custGeom>
          <a:noFill/>
          <a:ln w="57150">
            <a:solidFill>
              <a:srgbClr val="8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l-GR"/>
          </a:p>
        </p:txBody>
      </p:sp>
      <p:sp>
        <p:nvSpPr>
          <p:cNvPr id="16399" name="Freeform 22">
            <a:extLst>
              <a:ext uri="{FF2B5EF4-FFF2-40B4-BE49-F238E27FC236}">
                <a16:creationId xmlns:a16="http://schemas.microsoft.com/office/drawing/2014/main" id="{F79449DC-17B5-409C-964A-3772FB86901A}"/>
              </a:ext>
            </a:extLst>
          </p:cNvPr>
          <p:cNvSpPr>
            <a:spLocks/>
          </p:cNvSpPr>
          <p:nvPr/>
        </p:nvSpPr>
        <p:spPr bwMode="auto">
          <a:xfrm>
            <a:off x="8024813" y="3644900"/>
            <a:ext cx="790575" cy="287338"/>
          </a:xfrm>
          <a:custGeom>
            <a:avLst/>
            <a:gdLst>
              <a:gd name="T0" fmla="*/ 2147483647 w 836"/>
              <a:gd name="T1" fmla="*/ 2147483647 h 455"/>
              <a:gd name="T2" fmla="*/ 2147483647 w 836"/>
              <a:gd name="T3" fmla="*/ 2147483647 h 455"/>
              <a:gd name="T4" fmla="*/ 2147483647 w 836"/>
              <a:gd name="T5" fmla="*/ 2147483647 h 455"/>
              <a:gd name="T6" fmla="*/ 2147483647 w 836"/>
              <a:gd name="T7" fmla="*/ 2147483647 h 455"/>
              <a:gd name="T8" fmla="*/ 2147483647 w 836"/>
              <a:gd name="T9" fmla="*/ 2147483647 h 455"/>
              <a:gd name="T10" fmla="*/ 2147483647 w 836"/>
              <a:gd name="T11" fmla="*/ 2147483647 h 455"/>
              <a:gd name="T12" fmla="*/ 2147483647 w 836"/>
              <a:gd name="T13" fmla="*/ 2147483647 h 455"/>
              <a:gd name="T14" fmla="*/ 2147483647 w 836"/>
              <a:gd name="T15" fmla="*/ 2147483647 h 455"/>
              <a:gd name="T16" fmla="*/ 2147483647 w 836"/>
              <a:gd name="T17" fmla="*/ 2147483647 h 455"/>
              <a:gd name="T18" fmla="*/ 2147483647 w 836"/>
              <a:gd name="T19" fmla="*/ 2147483647 h 455"/>
              <a:gd name="T20" fmla="*/ 2147483647 w 836"/>
              <a:gd name="T21" fmla="*/ 2147483647 h 455"/>
              <a:gd name="T22" fmla="*/ 2147483647 w 836"/>
              <a:gd name="T23" fmla="*/ 2147483647 h 455"/>
              <a:gd name="T24" fmla="*/ 2147483647 w 836"/>
              <a:gd name="T25" fmla="*/ 2147483647 h 455"/>
              <a:gd name="T26" fmla="*/ 2147483647 w 836"/>
              <a:gd name="T27" fmla="*/ 2147483647 h 455"/>
              <a:gd name="T28" fmla="*/ 2147483647 w 836"/>
              <a:gd name="T29" fmla="*/ 2147483647 h 455"/>
              <a:gd name="T30" fmla="*/ 2147483647 w 836"/>
              <a:gd name="T31" fmla="*/ 2147483647 h 4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36"/>
              <a:gd name="T49" fmla="*/ 0 h 455"/>
              <a:gd name="T50" fmla="*/ 836 w 836"/>
              <a:gd name="T51" fmla="*/ 455 h 4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36" h="455">
                <a:moveTo>
                  <a:pt x="11" y="450"/>
                </a:moveTo>
                <a:cubicBezTo>
                  <a:pt x="39" y="254"/>
                  <a:pt x="0" y="439"/>
                  <a:pt x="47" y="330"/>
                </a:cubicBezTo>
                <a:cubicBezTo>
                  <a:pt x="53" y="315"/>
                  <a:pt x="52" y="297"/>
                  <a:pt x="59" y="282"/>
                </a:cubicBezTo>
                <a:cubicBezTo>
                  <a:pt x="82" y="235"/>
                  <a:pt x="127" y="199"/>
                  <a:pt x="143" y="150"/>
                </a:cubicBezTo>
                <a:cubicBezTo>
                  <a:pt x="151" y="126"/>
                  <a:pt x="159" y="102"/>
                  <a:pt x="167" y="78"/>
                </a:cubicBezTo>
                <a:cubicBezTo>
                  <a:pt x="171" y="66"/>
                  <a:pt x="167" y="46"/>
                  <a:pt x="179" y="42"/>
                </a:cubicBezTo>
                <a:cubicBezTo>
                  <a:pt x="229" y="25"/>
                  <a:pt x="204" y="37"/>
                  <a:pt x="251" y="6"/>
                </a:cubicBezTo>
                <a:cubicBezTo>
                  <a:pt x="306" y="9"/>
                  <a:pt x="488" y="0"/>
                  <a:pt x="563" y="42"/>
                </a:cubicBezTo>
                <a:cubicBezTo>
                  <a:pt x="588" y="56"/>
                  <a:pt x="608" y="81"/>
                  <a:pt x="635" y="90"/>
                </a:cubicBezTo>
                <a:cubicBezTo>
                  <a:pt x="691" y="109"/>
                  <a:pt x="732" y="119"/>
                  <a:pt x="779" y="150"/>
                </a:cubicBezTo>
                <a:cubicBezTo>
                  <a:pt x="836" y="236"/>
                  <a:pt x="811" y="343"/>
                  <a:pt x="779" y="438"/>
                </a:cubicBezTo>
                <a:cubicBezTo>
                  <a:pt x="750" y="428"/>
                  <a:pt x="730" y="425"/>
                  <a:pt x="707" y="402"/>
                </a:cubicBezTo>
                <a:cubicBezTo>
                  <a:pt x="606" y="301"/>
                  <a:pt x="749" y="428"/>
                  <a:pt x="671" y="330"/>
                </a:cubicBezTo>
                <a:cubicBezTo>
                  <a:pt x="662" y="319"/>
                  <a:pt x="647" y="314"/>
                  <a:pt x="635" y="306"/>
                </a:cubicBezTo>
                <a:cubicBezTo>
                  <a:pt x="436" y="312"/>
                  <a:pt x="289" y="256"/>
                  <a:pt x="143" y="354"/>
                </a:cubicBezTo>
                <a:cubicBezTo>
                  <a:pt x="118" y="455"/>
                  <a:pt x="124" y="436"/>
                  <a:pt x="11" y="450"/>
                </a:cubicBezTo>
                <a:close/>
              </a:path>
            </a:pathLst>
          </a:custGeom>
          <a:solidFill>
            <a:schemeClr val="accent1"/>
          </a:solidFill>
          <a:ln w="57150">
            <a:solidFill>
              <a:schemeClr val="bg2"/>
            </a:solidFill>
            <a:round/>
            <a:headEnd type="none" w="sm" len="sm"/>
            <a:tailEnd type="none" w="sm" len="sm"/>
          </a:ln>
        </p:spPr>
        <p:txBody>
          <a:bodyPr/>
          <a:lstStyle/>
          <a:p>
            <a:endParaRPr lang="el-GR"/>
          </a:p>
        </p:txBody>
      </p:sp>
      <p:sp>
        <p:nvSpPr>
          <p:cNvPr id="16400" name="Text Box 24">
            <a:extLst>
              <a:ext uri="{FF2B5EF4-FFF2-40B4-BE49-F238E27FC236}">
                <a16:creationId xmlns:a16="http://schemas.microsoft.com/office/drawing/2014/main" id="{3392A611-84EF-49C0-A929-38528DD2ED24}"/>
              </a:ext>
            </a:extLst>
          </p:cNvPr>
          <p:cNvSpPr txBox="1">
            <a:spLocks noChangeArrowheads="1"/>
          </p:cNvSpPr>
          <p:nvPr/>
        </p:nvSpPr>
        <p:spPr bwMode="auto">
          <a:xfrm>
            <a:off x="1255713" y="4772025"/>
            <a:ext cx="82232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l-GR" altLang="el-GR" sz="2000"/>
              <a:t>Κύτταρο ξενιστή</a:t>
            </a:r>
            <a:r>
              <a:rPr lang="en-US" altLang="el-GR" sz="2000"/>
              <a:t> </a:t>
            </a:r>
            <a:r>
              <a:rPr lang="el-GR" altLang="el-GR" sz="2000"/>
              <a:t>               Κύτταρο ξενιστή              Κύτταρο ξενιστή</a:t>
            </a:r>
          </a:p>
        </p:txBody>
      </p:sp>
      <p:sp>
        <p:nvSpPr>
          <p:cNvPr id="16401" name="Text Box 25">
            <a:extLst>
              <a:ext uri="{FF2B5EF4-FFF2-40B4-BE49-F238E27FC236}">
                <a16:creationId xmlns:a16="http://schemas.microsoft.com/office/drawing/2014/main" id="{6D30B56C-9913-4469-9C31-ABD80F0FBF0D}"/>
              </a:ext>
            </a:extLst>
          </p:cNvPr>
          <p:cNvSpPr txBox="1">
            <a:spLocks noChangeArrowheads="1"/>
          </p:cNvSpPr>
          <p:nvPr/>
        </p:nvSpPr>
        <p:spPr bwMode="auto">
          <a:xfrm>
            <a:off x="1666875" y="1628775"/>
            <a:ext cx="7297738"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2800"/>
              <a:t>  HBV                         HIV                       HCV </a:t>
            </a:r>
            <a:endParaRPr lang="el-GR" altLang="el-GR" sz="2800"/>
          </a:p>
        </p:txBody>
      </p:sp>
      <p:sp>
        <p:nvSpPr>
          <p:cNvPr id="16402" name="Text Box 27">
            <a:extLst>
              <a:ext uri="{FF2B5EF4-FFF2-40B4-BE49-F238E27FC236}">
                <a16:creationId xmlns:a16="http://schemas.microsoft.com/office/drawing/2014/main" id="{2774AA1C-84D8-418E-BD16-CFB26EEC278B}"/>
              </a:ext>
            </a:extLst>
          </p:cNvPr>
          <p:cNvSpPr txBox="1">
            <a:spLocks noChangeArrowheads="1"/>
          </p:cNvSpPr>
          <p:nvPr/>
        </p:nvSpPr>
        <p:spPr bwMode="auto">
          <a:xfrm>
            <a:off x="1514475" y="3925888"/>
            <a:ext cx="1541463"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1800">
                <a:solidFill>
                  <a:schemeClr val="bg2"/>
                </a:solidFill>
              </a:rPr>
              <a:t>DNA</a:t>
            </a:r>
            <a:r>
              <a:rPr lang="el-GR" altLang="el-GR" sz="1800">
                <a:solidFill>
                  <a:schemeClr val="bg2"/>
                </a:solidFill>
              </a:rPr>
              <a:t> ξενιστή</a:t>
            </a:r>
          </a:p>
        </p:txBody>
      </p:sp>
      <p:sp>
        <p:nvSpPr>
          <p:cNvPr id="16403" name="Text Box 28">
            <a:extLst>
              <a:ext uri="{FF2B5EF4-FFF2-40B4-BE49-F238E27FC236}">
                <a16:creationId xmlns:a16="http://schemas.microsoft.com/office/drawing/2014/main" id="{E307A4A5-64BB-416D-B4DD-F44686342414}"/>
              </a:ext>
            </a:extLst>
          </p:cNvPr>
          <p:cNvSpPr txBox="1">
            <a:spLocks noChangeArrowheads="1"/>
          </p:cNvSpPr>
          <p:nvPr/>
        </p:nvSpPr>
        <p:spPr bwMode="auto">
          <a:xfrm>
            <a:off x="1830388" y="3062288"/>
            <a:ext cx="10604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1800">
                <a:solidFill>
                  <a:srgbClr val="800000"/>
                </a:solidFill>
              </a:rPr>
              <a:t>cccDNA</a:t>
            </a:r>
            <a:endParaRPr lang="el-GR" altLang="el-GR" sz="1800">
              <a:solidFill>
                <a:srgbClr val="800000"/>
              </a:solidFill>
            </a:endParaRPr>
          </a:p>
        </p:txBody>
      </p:sp>
      <p:sp>
        <p:nvSpPr>
          <p:cNvPr id="16404" name="Text Box 29">
            <a:extLst>
              <a:ext uri="{FF2B5EF4-FFF2-40B4-BE49-F238E27FC236}">
                <a16:creationId xmlns:a16="http://schemas.microsoft.com/office/drawing/2014/main" id="{AE5F4B2E-A6CC-464A-98CD-90E5A3A6F2F6}"/>
              </a:ext>
            </a:extLst>
          </p:cNvPr>
          <p:cNvSpPr txBox="1">
            <a:spLocks noChangeArrowheads="1"/>
          </p:cNvSpPr>
          <p:nvPr/>
        </p:nvSpPr>
        <p:spPr bwMode="auto">
          <a:xfrm>
            <a:off x="3722688" y="3278188"/>
            <a:ext cx="2573337"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l-GR" altLang="el-GR" sz="1800">
                <a:solidFill>
                  <a:srgbClr val="800000"/>
                </a:solidFill>
              </a:rPr>
              <a:t>	Προ-ιικό</a:t>
            </a:r>
            <a:r>
              <a:rPr lang="en-US" altLang="el-GR" sz="1800">
                <a:solidFill>
                  <a:srgbClr val="800000"/>
                </a:solidFill>
              </a:rPr>
              <a:t> DNA</a:t>
            </a:r>
            <a:endParaRPr lang="el-GR" altLang="el-GR" sz="1800">
              <a:solidFill>
                <a:srgbClr val="800000"/>
              </a:solidFill>
            </a:endParaRPr>
          </a:p>
        </p:txBody>
      </p:sp>
      <p:sp>
        <p:nvSpPr>
          <p:cNvPr id="16405" name="Text Box 32">
            <a:extLst>
              <a:ext uri="{FF2B5EF4-FFF2-40B4-BE49-F238E27FC236}">
                <a16:creationId xmlns:a16="http://schemas.microsoft.com/office/drawing/2014/main" id="{F18DBBD5-ECA0-4336-9FA8-D0341EC581DD}"/>
              </a:ext>
            </a:extLst>
          </p:cNvPr>
          <p:cNvSpPr txBox="1">
            <a:spLocks noChangeArrowheads="1"/>
          </p:cNvSpPr>
          <p:nvPr/>
        </p:nvSpPr>
        <p:spPr bwMode="auto">
          <a:xfrm>
            <a:off x="7751763" y="2347913"/>
            <a:ext cx="113665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l-GR" altLang="el-GR" sz="1800">
                <a:solidFill>
                  <a:srgbClr val="800000"/>
                </a:solidFill>
              </a:rPr>
              <a:t>Ιικό</a:t>
            </a:r>
            <a:r>
              <a:rPr lang="en-US" altLang="el-GR" sz="1800">
                <a:solidFill>
                  <a:srgbClr val="800000"/>
                </a:solidFill>
              </a:rPr>
              <a:t> RNA</a:t>
            </a:r>
            <a:endParaRPr lang="el-GR" altLang="el-GR" sz="1800">
              <a:solidFill>
                <a:srgbClr val="800000"/>
              </a:solidFill>
            </a:endParaRPr>
          </a:p>
        </p:txBody>
      </p:sp>
      <p:sp>
        <p:nvSpPr>
          <p:cNvPr id="16406" name="Text Box 33">
            <a:extLst>
              <a:ext uri="{FF2B5EF4-FFF2-40B4-BE49-F238E27FC236}">
                <a16:creationId xmlns:a16="http://schemas.microsoft.com/office/drawing/2014/main" id="{EF662FF5-C172-48B7-9216-3461BC220354}"/>
              </a:ext>
            </a:extLst>
          </p:cNvPr>
          <p:cNvSpPr txBox="1">
            <a:spLocks noChangeArrowheads="1"/>
          </p:cNvSpPr>
          <p:nvPr/>
        </p:nvSpPr>
        <p:spPr bwMode="auto">
          <a:xfrm>
            <a:off x="1758950" y="2708275"/>
            <a:ext cx="125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l-GR" altLang="el-GR" sz="2000"/>
              <a:t>Πυρήνας</a:t>
            </a:r>
          </a:p>
        </p:txBody>
      </p:sp>
      <p:sp>
        <p:nvSpPr>
          <p:cNvPr id="16407" name="Text Box 34">
            <a:extLst>
              <a:ext uri="{FF2B5EF4-FFF2-40B4-BE49-F238E27FC236}">
                <a16:creationId xmlns:a16="http://schemas.microsoft.com/office/drawing/2014/main" id="{C9EFCD14-A06A-4A7A-BCAF-E7CA96AEF3B3}"/>
              </a:ext>
            </a:extLst>
          </p:cNvPr>
          <p:cNvSpPr txBox="1">
            <a:spLocks noChangeArrowheads="1"/>
          </p:cNvSpPr>
          <p:nvPr/>
        </p:nvSpPr>
        <p:spPr bwMode="auto">
          <a:xfrm>
            <a:off x="4856163" y="2708275"/>
            <a:ext cx="125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l-GR" altLang="el-GR" sz="2000"/>
              <a:t>Πυρήνας</a:t>
            </a:r>
          </a:p>
        </p:txBody>
      </p:sp>
      <p:sp>
        <p:nvSpPr>
          <p:cNvPr id="16408" name="Text Box 35">
            <a:extLst>
              <a:ext uri="{FF2B5EF4-FFF2-40B4-BE49-F238E27FC236}">
                <a16:creationId xmlns:a16="http://schemas.microsoft.com/office/drawing/2014/main" id="{FF46B624-69E7-4B07-924A-6FCB233CAE52}"/>
              </a:ext>
            </a:extLst>
          </p:cNvPr>
          <p:cNvSpPr txBox="1">
            <a:spLocks noChangeArrowheads="1"/>
          </p:cNvSpPr>
          <p:nvPr/>
        </p:nvSpPr>
        <p:spPr bwMode="auto">
          <a:xfrm>
            <a:off x="7807325" y="2816225"/>
            <a:ext cx="12573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l-GR" altLang="el-GR" sz="2000"/>
              <a:t>Πυρήνας</a:t>
            </a:r>
          </a:p>
        </p:txBody>
      </p:sp>
      <p:sp>
        <p:nvSpPr>
          <p:cNvPr id="16409" name="Text Box 37">
            <a:extLst>
              <a:ext uri="{FF2B5EF4-FFF2-40B4-BE49-F238E27FC236}">
                <a16:creationId xmlns:a16="http://schemas.microsoft.com/office/drawing/2014/main" id="{3A1B673B-BEA5-495F-B2EC-4CA30A3BF9F6}"/>
              </a:ext>
            </a:extLst>
          </p:cNvPr>
          <p:cNvSpPr txBox="1">
            <a:spLocks noChangeArrowheads="1"/>
          </p:cNvSpPr>
          <p:nvPr/>
        </p:nvSpPr>
        <p:spPr bwMode="auto">
          <a:xfrm>
            <a:off x="606425" y="5438775"/>
            <a:ext cx="877252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2000"/>
              <a:t>M</a:t>
            </a:r>
            <a:r>
              <a:rPr lang="el-GR" altLang="el-GR" sz="2000"/>
              <a:t>ακροχρόνια καταστολή</a:t>
            </a:r>
            <a:r>
              <a:rPr lang="en-US" altLang="el-GR" sz="2000"/>
              <a:t>  </a:t>
            </a:r>
            <a:r>
              <a:rPr lang="el-GR" altLang="el-GR" sz="2000"/>
              <a:t>  Μακροχρόνια καταστολή  </a:t>
            </a:r>
            <a:r>
              <a:rPr lang="en-US" altLang="el-GR" sz="2000"/>
              <a:t>       </a:t>
            </a:r>
            <a:r>
              <a:rPr lang="el-GR" altLang="el-GR" sz="2000"/>
              <a:t>Εκρίζωση ιού</a:t>
            </a:r>
          </a:p>
          <a:p>
            <a:r>
              <a:rPr lang="el-GR" altLang="el-GR" sz="2000"/>
              <a:t> ιικού πολλαπλασιασμού</a:t>
            </a:r>
            <a:r>
              <a:rPr lang="en-US" altLang="el-GR" sz="2000"/>
              <a:t>    </a:t>
            </a:r>
            <a:r>
              <a:rPr lang="el-GR" altLang="el-GR" sz="2000"/>
              <a:t> ιικού πολλαπλασιασμού</a:t>
            </a:r>
            <a:r>
              <a:rPr lang="en-US" altLang="el-GR" sz="2000"/>
              <a:t>   </a:t>
            </a:r>
            <a:r>
              <a:rPr lang="el-GR" altLang="el-GR" sz="2000"/>
              <a:t> </a:t>
            </a:r>
            <a:r>
              <a:rPr lang="en-US" altLang="el-GR" sz="2000"/>
              <a:t>          = </a:t>
            </a:r>
            <a:r>
              <a:rPr lang="el-GR" altLang="el-GR" sz="2000"/>
              <a:t>Ίαση</a:t>
            </a:r>
          </a:p>
        </p:txBody>
      </p:sp>
      <p:sp>
        <p:nvSpPr>
          <p:cNvPr id="16410" name="Text Box 38">
            <a:extLst>
              <a:ext uri="{FF2B5EF4-FFF2-40B4-BE49-F238E27FC236}">
                <a16:creationId xmlns:a16="http://schemas.microsoft.com/office/drawing/2014/main" id="{128E42D9-9C77-4C6C-BFF0-D355A7D4B452}"/>
              </a:ext>
            </a:extLst>
          </p:cNvPr>
          <p:cNvSpPr txBox="1">
            <a:spLocks noChangeArrowheads="1"/>
          </p:cNvSpPr>
          <p:nvPr/>
        </p:nvSpPr>
        <p:spPr bwMode="auto">
          <a:xfrm>
            <a:off x="831850" y="6453188"/>
            <a:ext cx="89074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1600">
                <a:solidFill>
                  <a:schemeClr val="accent2"/>
                </a:solidFill>
              </a:rPr>
              <a:t>Pawlotsky JM. J Hepatol 2006,44:S10-3; Lucas GM. J Antimicrob Chemother 2005,55:413-6</a:t>
            </a:r>
            <a:endParaRPr lang="el-GR" altLang="el-GR" sz="1600">
              <a:solidFill>
                <a:schemeClr val="accent2"/>
              </a:solidFill>
            </a:endParaRPr>
          </a:p>
        </p:txBody>
      </p:sp>
      <p:sp>
        <p:nvSpPr>
          <p:cNvPr id="16411" name="Text Box 39">
            <a:extLst>
              <a:ext uri="{FF2B5EF4-FFF2-40B4-BE49-F238E27FC236}">
                <a16:creationId xmlns:a16="http://schemas.microsoft.com/office/drawing/2014/main" id="{95A48118-8C05-4429-B5DD-2CC6FEC9090F}"/>
              </a:ext>
            </a:extLst>
          </p:cNvPr>
          <p:cNvSpPr txBox="1">
            <a:spLocks noChangeArrowheads="1"/>
          </p:cNvSpPr>
          <p:nvPr/>
        </p:nvSpPr>
        <p:spPr bwMode="auto">
          <a:xfrm>
            <a:off x="4754563" y="3933825"/>
            <a:ext cx="15414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1800">
                <a:solidFill>
                  <a:schemeClr val="bg2"/>
                </a:solidFill>
              </a:rPr>
              <a:t>DNA</a:t>
            </a:r>
            <a:r>
              <a:rPr lang="el-GR" altLang="el-GR" sz="1800">
                <a:solidFill>
                  <a:schemeClr val="bg2"/>
                </a:solidFill>
              </a:rPr>
              <a:t> ξενιστή</a:t>
            </a:r>
          </a:p>
        </p:txBody>
      </p:sp>
      <p:sp>
        <p:nvSpPr>
          <p:cNvPr id="16412" name="Text Box 40">
            <a:extLst>
              <a:ext uri="{FF2B5EF4-FFF2-40B4-BE49-F238E27FC236}">
                <a16:creationId xmlns:a16="http://schemas.microsoft.com/office/drawing/2014/main" id="{DF7D1176-7BB9-41C6-B38A-E8FE85F29F6B}"/>
              </a:ext>
            </a:extLst>
          </p:cNvPr>
          <p:cNvSpPr txBox="1">
            <a:spLocks noChangeArrowheads="1"/>
          </p:cNvSpPr>
          <p:nvPr/>
        </p:nvSpPr>
        <p:spPr bwMode="auto">
          <a:xfrm>
            <a:off x="7705725" y="3933825"/>
            <a:ext cx="154146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a:solidFill>
                  <a:schemeClr val="tx1"/>
                </a:solidFill>
                <a:latin typeface="Arial Greek" panose="020B0604020202020204" pitchFamily="34" charset="0"/>
              </a:defRPr>
            </a:lvl1pPr>
            <a:lvl2pPr marL="742950" indent="-285750">
              <a:defRPr sz="2400">
                <a:solidFill>
                  <a:schemeClr val="tx1"/>
                </a:solidFill>
                <a:latin typeface="Arial Greek" panose="020B0604020202020204" pitchFamily="34" charset="0"/>
              </a:defRPr>
            </a:lvl2pPr>
            <a:lvl3pPr marL="1143000" indent="-228600">
              <a:defRPr sz="2400">
                <a:solidFill>
                  <a:schemeClr val="tx1"/>
                </a:solidFill>
                <a:latin typeface="Arial Greek" panose="020B0604020202020204" pitchFamily="34" charset="0"/>
              </a:defRPr>
            </a:lvl3pPr>
            <a:lvl4pPr marL="1600200" indent="-228600">
              <a:defRPr sz="2400">
                <a:solidFill>
                  <a:schemeClr val="tx1"/>
                </a:solidFill>
                <a:latin typeface="Arial Greek" panose="020B0604020202020204" pitchFamily="34" charset="0"/>
              </a:defRPr>
            </a:lvl4pPr>
            <a:lvl5pPr marL="2057400" indent="-228600">
              <a:defRPr sz="2400">
                <a:solidFill>
                  <a:schemeClr val="tx1"/>
                </a:solidFill>
                <a:latin typeface="Arial Greek" panose="020B0604020202020204" pitchFamily="34" charset="0"/>
              </a:defRPr>
            </a:lvl5pPr>
            <a:lvl6pPr marL="2514600" indent="-228600" eaLnBrk="0" fontAlgn="base" hangingPunct="0">
              <a:spcBef>
                <a:spcPct val="0"/>
              </a:spcBef>
              <a:spcAft>
                <a:spcPct val="0"/>
              </a:spcAft>
              <a:defRPr sz="2400">
                <a:solidFill>
                  <a:schemeClr val="tx1"/>
                </a:solidFill>
                <a:latin typeface="Arial Greek" panose="020B0604020202020204" pitchFamily="34" charset="0"/>
              </a:defRPr>
            </a:lvl6pPr>
            <a:lvl7pPr marL="2971800" indent="-228600" eaLnBrk="0" fontAlgn="base" hangingPunct="0">
              <a:spcBef>
                <a:spcPct val="0"/>
              </a:spcBef>
              <a:spcAft>
                <a:spcPct val="0"/>
              </a:spcAft>
              <a:defRPr sz="2400">
                <a:solidFill>
                  <a:schemeClr val="tx1"/>
                </a:solidFill>
                <a:latin typeface="Arial Greek" panose="020B0604020202020204" pitchFamily="34" charset="0"/>
              </a:defRPr>
            </a:lvl7pPr>
            <a:lvl8pPr marL="3429000" indent="-228600" eaLnBrk="0" fontAlgn="base" hangingPunct="0">
              <a:spcBef>
                <a:spcPct val="0"/>
              </a:spcBef>
              <a:spcAft>
                <a:spcPct val="0"/>
              </a:spcAft>
              <a:defRPr sz="2400">
                <a:solidFill>
                  <a:schemeClr val="tx1"/>
                </a:solidFill>
                <a:latin typeface="Arial Greek" panose="020B0604020202020204" pitchFamily="34" charset="0"/>
              </a:defRPr>
            </a:lvl8pPr>
            <a:lvl9pPr marL="3886200" indent="-228600" eaLnBrk="0" fontAlgn="base" hangingPunct="0">
              <a:spcBef>
                <a:spcPct val="0"/>
              </a:spcBef>
              <a:spcAft>
                <a:spcPct val="0"/>
              </a:spcAft>
              <a:defRPr sz="2400">
                <a:solidFill>
                  <a:schemeClr val="tx1"/>
                </a:solidFill>
                <a:latin typeface="Arial Greek" panose="020B0604020202020204" pitchFamily="34" charset="0"/>
              </a:defRPr>
            </a:lvl9pPr>
          </a:lstStyle>
          <a:p>
            <a:r>
              <a:rPr lang="en-US" altLang="el-GR" sz="1800">
                <a:solidFill>
                  <a:schemeClr val="bg2"/>
                </a:solidFill>
              </a:rPr>
              <a:t>DNA</a:t>
            </a:r>
            <a:r>
              <a:rPr lang="el-GR" altLang="el-GR" sz="1800">
                <a:solidFill>
                  <a:schemeClr val="bg2"/>
                </a:solidFill>
              </a:rPr>
              <a:t> ξενιστή</a:t>
            </a:r>
          </a:p>
        </p:txBody>
      </p:sp>
    </p:spTree>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018" name="Rectangle 2"/>
          <p:cNvSpPr>
            <a:spLocks noChangeArrowheads="1"/>
          </p:cNvSpPr>
          <p:nvPr/>
        </p:nvSpPr>
        <p:spPr bwMode="auto">
          <a:xfrm>
            <a:off x="0" y="304800"/>
            <a:ext cx="10287000" cy="1295400"/>
          </a:xfrm>
          <a:prstGeom prst="rect">
            <a:avLst/>
          </a:prstGeom>
          <a:gradFill rotWithShape="0">
            <a:gsLst>
              <a:gs pos="0">
                <a:schemeClr val="bg1"/>
              </a:gs>
              <a:gs pos="50000">
                <a:schemeClr val="bg1">
                  <a:gamma/>
                  <a:shade val="40000"/>
                  <a:invGamma/>
                </a:schemeClr>
              </a:gs>
              <a:gs pos="100000">
                <a:schemeClr val="bg1"/>
              </a:gs>
            </a:gsLst>
            <a:lin ang="5400000" scaled="1"/>
          </a:gradFill>
          <a:ln w="9525">
            <a:noFill/>
            <a:miter lim="800000"/>
            <a:headEnd/>
            <a:tailEnd/>
          </a:ln>
          <a:effectLst/>
        </p:spPr>
        <p:txBody>
          <a:bodyPr lIns="92075" tIns="46038" rIns="92075" bIns="46038" anchor="ctr"/>
          <a:lstStyle/>
          <a:p>
            <a:pPr algn="ctr" defTabSz="762000">
              <a:defRPr/>
            </a:pPr>
            <a:r>
              <a:rPr lang="el-GR" sz="3600" dirty="0">
                <a:solidFill>
                  <a:schemeClr val="tx2"/>
                </a:solidFill>
              </a:rPr>
              <a:t>ΚΥΡΙΟΣ ΣΤΟΧΟΣ ΑΝΤΙΙΚΗΣ ΘΕΡΑΠΕΙΑΣ </a:t>
            </a:r>
            <a:br>
              <a:rPr lang="el-GR" sz="3600" dirty="0">
                <a:solidFill>
                  <a:schemeClr val="tx2"/>
                </a:solidFill>
              </a:rPr>
            </a:br>
            <a:r>
              <a:rPr lang="el-GR" sz="3600" dirty="0">
                <a:solidFill>
                  <a:schemeClr val="tx2"/>
                </a:solidFill>
              </a:rPr>
              <a:t>ΣΕ ΧΡΟΝΙΑ ΗΠΑΤΙΤΙΔΑ C</a:t>
            </a:r>
          </a:p>
        </p:txBody>
      </p:sp>
      <p:sp>
        <p:nvSpPr>
          <p:cNvPr id="32771" name="Rectangle 3"/>
          <p:cNvSpPr>
            <a:spLocks noChangeArrowheads="1"/>
          </p:cNvSpPr>
          <p:nvPr/>
        </p:nvSpPr>
        <p:spPr bwMode="auto">
          <a:xfrm>
            <a:off x="1319213" y="1905000"/>
            <a:ext cx="8001000" cy="3810000"/>
          </a:xfrm>
          <a:prstGeom prst="rect">
            <a:avLst/>
          </a:prstGeom>
          <a:noFill/>
          <a:ln w="9525">
            <a:noFill/>
            <a:miter lim="800000"/>
            <a:headEnd/>
            <a:tailEnd/>
          </a:ln>
        </p:spPr>
        <p:txBody>
          <a:bodyPr lIns="92075" tIns="46038" rIns="92075" bIns="46038"/>
          <a:lstStyle/>
          <a:p>
            <a:pPr marL="342900" indent="-342900" defTabSz="762000">
              <a:lnSpc>
                <a:spcPct val="90000"/>
              </a:lnSpc>
              <a:spcBef>
                <a:spcPct val="20000"/>
              </a:spcBef>
              <a:buFontTx/>
              <a:buChar char="•"/>
            </a:pPr>
            <a:r>
              <a:rPr lang="el-GR" sz="2800">
                <a:solidFill>
                  <a:schemeClr val="tx2"/>
                </a:solidFill>
              </a:rPr>
              <a:t>Ιολογική κάθαρση</a:t>
            </a:r>
            <a:endParaRPr lang="el-GR" sz="2800"/>
          </a:p>
        </p:txBody>
      </p:sp>
      <p:sp>
        <p:nvSpPr>
          <p:cNvPr id="32772" name="Line 4"/>
          <p:cNvSpPr>
            <a:spLocks noChangeShapeType="1"/>
          </p:cNvSpPr>
          <p:nvPr/>
        </p:nvSpPr>
        <p:spPr bwMode="auto">
          <a:xfrm>
            <a:off x="3033713" y="2438400"/>
            <a:ext cx="0" cy="381000"/>
          </a:xfrm>
          <a:prstGeom prst="line">
            <a:avLst/>
          </a:prstGeom>
          <a:noFill/>
          <a:ln w="57150">
            <a:solidFill>
              <a:schemeClr val="tx2"/>
            </a:solidFill>
            <a:round/>
            <a:headEnd type="none" w="sm" len="sm"/>
            <a:tailEnd type="none" w="sm" len="sm"/>
          </a:ln>
        </p:spPr>
        <p:txBody>
          <a:bodyPr wrap="none" anchor="ctr"/>
          <a:lstStyle/>
          <a:p>
            <a:endParaRPr lang="el-GR"/>
          </a:p>
        </p:txBody>
      </p:sp>
      <p:sp>
        <p:nvSpPr>
          <p:cNvPr id="32773" name="Line 5"/>
          <p:cNvSpPr>
            <a:spLocks noChangeShapeType="1"/>
          </p:cNvSpPr>
          <p:nvPr/>
        </p:nvSpPr>
        <p:spPr bwMode="auto">
          <a:xfrm>
            <a:off x="3186113" y="2438400"/>
            <a:ext cx="0" cy="381000"/>
          </a:xfrm>
          <a:prstGeom prst="line">
            <a:avLst/>
          </a:prstGeom>
          <a:noFill/>
          <a:ln w="57150">
            <a:solidFill>
              <a:schemeClr val="tx2"/>
            </a:solidFill>
            <a:round/>
            <a:headEnd type="none" w="sm" len="sm"/>
            <a:tailEnd type="none" w="sm" len="sm"/>
          </a:ln>
        </p:spPr>
        <p:txBody>
          <a:bodyPr wrap="none" anchor="ctr"/>
          <a:lstStyle/>
          <a:p>
            <a:endParaRPr lang="el-GR"/>
          </a:p>
        </p:txBody>
      </p:sp>
      <p:sp>
        <p:nvSpPr>
          <p:cNvPr id="32774" name="Rectangle 6"/>
          <p:cNvSpPr>
            <a:spLocks noChangeArrowheads="1"/>
          </p:cNvSpPr>
          <p:nvPr/>
        </p:nvSpPr>
        <p:spPr bwMode="auto">
          <a:xfrm>
            <a:off x="1204913" y="2362200"/>
            <a:ext cx="8001000" cy="2435225"/>
          </a:xfrm>
          <a:prstGeom prst="rect">
            <a:avLst/>
          </a:prstGeom>
          <a:noFill/>
          <a:ln w="9525">
            <a:noFill/>
            <a:miter lim="800000"/>
            <a:headEnd/>
            <a:tailEnd/>
          </a:ln>
        </p:spPr>
        <p:txBody>
          <a:bodyPr lIns="92075" tIns="46038" rIns="92075" bIns="46038"/>
          <a:lstStyle/>
          <a:p>
            <a:pPr marL="342900" indent="-342900" defTabSz="762000">
              <a:lnSpc>
                <a:spcPct val="90000"/>
              </a:lnSpc>
              <a:spcBef>
                <a:spcPct val="20000"/>
              </a:spcBef>
            </a:pPr>
            <a:endParaRPr lang="el-GR" sz="2800"/>
          </a:p>
          <a:p>
            <a:pPr marL="342900" indent="-342900" defTabSz="762000">
              <a:spcBef>
                <a:spcPct val="20000"/>
              </a:spcBef>
              <a:buFontTx/>
              <a:buChar char="•"/>
            </a:pPr>
            <a:r>
              <a:rPr lang="el-GR" sz="2800">
                <a:solidFill>
                  <a:schemeClr val="tx2"/>
                </a:solidFill>
              </a:rPr>
              <a:t>Μακροχρόνια ιολογική ανταπόκριση (</a:t>
            </a:r>
            <a:r>
              <a:rPr lang="en-US" sz="2800">
                <a:solidFill>
                  <a:schemeClr val="tx2"/>
                </a:solidFill>
              </a:rPr>
              <a:t>SVR)</a:t>
            </a:r>
            <a:r>
              <a:rPr lang="en-US" sz="3200">
                <a:sym typeface="Symbol" pitchFamily="18" charset="2"/>
              </a:rPr>
              <a:t> </a:t>
            </a:r>
          </a:p>
          <a:p>
            <a:pPr marL="342900" indent="-342900" defTabSz="762000">
              <a:lnSpc>
                <a:spcPct val="110000"/>
              </a:lnSpc>
              <a:spcBef>
                <a:spcPct val="20000"/>
              </a:spcBef>
            </a:pPr>
            <a:r>
              <a:rPr lang="en-US" sz="3200">
                <a:sym typeface="Symbol" pitchFamily="18" charset="2"/>
              </a:rPr>
              <a:t>   </a:t>
            </a:r>
            <a:r>
              <a:rPr lang="el-GR">
                <a:sym typeface="Symbol" pitchFamily="18" charset="2"/>
              </a:rPr>
              <a:t>Μη ανιχνεύσιμο </a:t>
            </a:r>
            <a:r>
              <a:rPr lang="en-US">
                <a:sym typeface="Symbol" pitchFamily="18" charset="2"/>
              </a:rPr>
              <a:t>HCV RNA </a:t>
            </a:r>
            <a:r>
              <a:rPr lang="el-GR"/>
              <a:t>ορού (</a:t>
            </a:r>
            <a:r>
              <a:rPr lang="el-GR">
                <a:sym typeface="Symbol" pitchFamily="18" charset="2"/>
              </a:rPr>
              <a:t></a:t>
            </a:r>
            <a:r>
              <a:rPr lang="el-GR"/>
              <a:t>50 IU/ml)            στις 24 εβδομάδες μετά τη διακοπή της θεραπείας</a:t>
            </a:r>
          </a:p>
        </p:txBody>
      </p:sp>
      <p:sp>
        <p:nvSpPr>
          <p:cNvPr id="13321" name="Text Box 9"/>
          <p:cNvSpPr txBox="1">
            <a:spLocks noChangeArrowheads="1"/>
          </p:cNvSpPr>
          <p:nvPr/>
        </p:nvSpPr>
        <p:spPr bwMode="auto">
          <a:xfrm>
            <a:off x="1447800" y="4797425"/>
            <a:ext cx="7851775" cy="1468438"/>
          </a:xfrm>
          <a:prstGeom prst="rect">
            <a:avLst/>
          </a:prstGeom>
          <a:noFill/>
          <a:ln w="12700">
            <a:noFill/>
            <a:miter lim="800000"/>
            <a:headEnd type="none" w="sm" len="sm"/>
            <a:tailEnd type="none" w="sm" len="sm"/>
          </a:ln>
          <a:effectLst>
            <a:prstShdw prst="shdw17" dist="17961" dir="2700000">
              <a:schemeClr val="accent1">
                <a:gamma/>
                <a:shade val="60000"/>
                <a:invGamma/>
              </a:schemeClr>
            </a:prstShdw>
          </a:effectLst>
        </p:spPr>
        <p:txBody>
          <a:bodyPr wrap="none">
            <a:spAutoFit/>
          </a:bodyPr>
          <a:lstStyle/>
          <a:p>
            <a:pPr>
              <a:defRPr/>
            </a:pPr>
            <a:r>
              <a:rPr lang="en-US" sz="2800" dirty="0">
                <a:solidFill>
                  <a:schemeClr val="tx2"/>
                </a:solidFill>
                <a:sym typeface="Symbol" pitchFamily="18" charset="2"/>
              </a:rPr>
              <a:t>SVR (</a:t>
            </a:r>
            <a:r>
              <a:rPr lang="el-GR" sz="2800" dirty="0">
                <a:solidFill>
                  <a:schemeClr val="tx2"/>
                </a:solidFill>
                <a:sym typeface="Symbol" pitchFamily="18" charset="2"/>
              </a:rPr>
              <a:t>&gt;</a:t>
            </a:r>
            <a:r>
              <a:rPr lang="en-US" sz="2800" dirty="0">
                <a:solidFill>
                  <a:schemeClr val="tx2"/>
                </a:solidFill>
                <a:sym typeface="Symbol" pitchFamily="18" charset="2"/>
              </a:rPr>
              <a:t>2012)</a:t>
            </a:r>
            <a:endParaRPr lang="el-GR" sz="2800" dirty="0">
              <a:solidFill>
                <a:schemeClr val="tx2"/>
              </a:solidFill>
              <a:sym typeface="Symbol" pitchFamily="18" charset="2"/>
            </a:endParaRPr>
          </a:p>
          <a:p>
            <a:pPr>
              <a:lnSpc>
                <a:spcPct val="120000"/>
              </a:lnSpc>
              <a:defRPr/>
            </a:pPr>
            <a:r>
              <a:rPr lang="el-GR" dirty="0">
                <a:sym typeface="Symbol" pitchFamily="18" charset="2"/>
              </a:rPr>
              <a:t>Μη ανιχνεύσιμο </a:t>
            </a:r>
            <a:r>
              <a:rPr lang="en-US" dirty="0">
                <a:sym typeface="Symbol" pitchFamily="18" charset="2"/>
              </a:rPr>
              <a:t>HCV RNA </a:t>
            </a:r>
            <a:r>
              <a:rPr lang="el-GR" dirty="0"/>
              <a:t>ορού (</a:t>
            </a:r>
            <a:r>
              <a:rPr lang="el-GR" dirty="0">
                <a:sym typeface="Symbol" pitchFamily="18" charset="2"/>
              </a:rPr>
              <a:t>1</a:t>
            </a:r>
            <a:r>
              <a:rPr lang="el-GR" dirty="0"/>
              <a:t>0-15 IU/ml)            </a:t>
            </a:r>
          </a:p>
          <a:p>
            <a:pPr>
              <a:lnSpc>
                <a:spcPct val="140000"/>
              </a:lnSpc>
              <a:defRPr/>
            </a:pPr>
            <a:r>
              <a:rPr lang="el-GR" dirty="0"/>
              <a:t>στις 12 εβδομάδες μετά τη διακοπή της θεραπείας</a:t>
            </a:r>
          </a:p>
        </p:txBody>
      </p:sp>
    </p:spTree>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4"/>
          <p:cNvGraphicFramePr>
            <a:graphicFrameLocks noChangeAspect="1"/>
          </p:cNvGraphicFramePr>
          <p:nvPr/>
        </p:nvGraphicFramePr>
        <p:xfrm>
          <a:off x="873125" y="1031875"/>
          <a:ext cx="8828088" cy="5083175"/>
        </p:xfrm>
        <a:graphic>
          <a:graphicData uri="http://schemas.openxmlformats.org/drawingml/2006/chart">
            <c:chart xmlns:c="http://schemas.openxmlformats.org/drawingml/2006/chart" xmlns:r="http://schemas.openxmlformats.org/officeDocument/2006/relationships" r:id="rId2"/>
          </a:graphicData>
        </a:graphic>
      </p:graphicFrame>
      <p:sp>
        <p:nvSpPr>
          <p:cNvPr id="130053" name="Text Box 5"/>
          <p:cNvSpPr txBox="1">
            <a:spLocks noChangeArrowheads="1"/>
          </p:cNvSpPr>
          <p:nvPr/>
        </p:nvSpPr>
        <p:spPr bwMode="auto">
          <a:xfrm>
            <a:off x="1759124" y="6021388"/>
            <a:ext cx="7762318" cy="400110"/>
          </a:xfrm>
          <a:prstGeom prst="rect">
            <a:avLst/>
          </a:prstGeom>
          <a:noFill/>
          <a:ln w="12700">
            <a:noFill/>
            <a:miter lim="800000"/>
            <a:headEnd type="none" w="sm" len="sm"/>
            <a:tailEnd type="none" w="sm" len="sm"/>
          </a:ln>
          <a:effectLst>
            <a:prstShdw prst="shdw17" dist="17961" dir="2700000">
              <a:schemeClr val="accent1">
                <a:gamma/>
                <a:shade val="60000"/>
                <a:invGamma/>
              </a:schemeClr>
            </a:prstShdw>
          </a:effectLst>
        </p:spPr>
        <p:txBody>
          <a:bodyPr wrap="none">
            <a:spAutoFit/>
          </a:bodyPr>
          <a:lstStyle/>
          <a:p>
            <a:pPr>
              <a:defRPr/>
            </a:pPr>
            <a:r>
              <a:rPr lang="el-GR" sz="2000" dirty="0"/>
              <a:t>199</a:t>
            </a:r>
            <a:r>
              <a:rPr lang="en-US" sz="2000" dirty="0"/>
              <a:t>2</a:t>
            </a:r>
            <a:r>
              <a:rPr lang="el-GR" sz="2000" dirty="0"/>
              <a:t>         1996         1998        2001  </a:t>
            </a:r>
            <a:r>
              <a:rPr lang="en-US" sz="2000" dirty="0"/>
              <a:t> </a:t>
            </a:r>
            <a:r>
              <a:rPr lang="el-GR" sz="2000" dirty="0"/>
              <a:t> </a:t>
            </a:r>
            <a:r>
              <a:rPr lang="en-US" sz="2000" dirty="0"/>
              <a:t> </a:t>
            </a:r>
            <a:r>
              <a:rPr lang="el-GR" sz="2000" dirty="0"/>
              <a:t>    2011</a:t>
            </a:r>
            <a:r>
              <a:rPr lang="en-US" sz="2000" dirty="0"/>
              <a:t>        2013       2014</a:t>
            </a:r>
            <a:endParaRPr lang="el-GR" sz="2000" dirty="0"/>
          </a:p>
        </p:txBody>
      </p:sp>
      <p:sp>
        <p:nvSpPr>
          <p:cNvPr id="130054" name="Text Box 6"/>
          <p:cNvSpPr txBox="1">
            <a:spLocks noChangeArrowheads="1"/>
          </p:cNvSpPr>
          <p:nvPr/>
        </p:nvSpPr>
        <p:spPr bwMode="auto">
          <a:xfrm>
            <a:off x="390525" y="3232150"/>
            <a:ext cx="777875" cy="701675"/>
          </a:xfrm>
          <a:prstGeom prst="rect">
            <a:avLst/>
          </a:prstGeom>
          <a:noFill/>
          <a:ln w="12700">
            <a:noFill/>
            <a:miter lim="800000"/>
            <a:headEnd type="none" w="sm" len="sm"/>
            <a:tailEnd type="none" w="sm" len="sm"/>
          </a:ln>
          <a:effectLst>
            <a:prstShdw prst="shdw17" dist="17961" dir="2700000">
              <a:schemeClr val="accent1">
                <a:gamma/>
                <a:shade val="60000"/>
                <a:invGamma/>
              </a:schemeClr>
            </a:prstShdw>
          </a:effectLst>
        </p:spPr>
        <p:txBody>
          <a:bodyPr wrap="none">
            <a:spAutoFit/>
          </a:bodyPr>
          <a:lstStyle/>
          <a:p>
            <a:pPr algn="ctr">
              <a:defRPr/>
            </a:pPr>
            <a:r>
              <a:rPr lang="en-US" sz="2000"/>
              <a:t>SVR,</a:t>
            </a:r>
          </a:p>
          <a:p>
            <a:pPr algn="ctr">
              <a:defRPr/>
            </a:pPr>
            <a:r>
              <a:rPr lang="en-US" sz="2000"/>
              <a:t>%</a:t>
            </a:r>
            <a:endParaRPr lang="el-GR" sz="2000"/>
          </a:p>
        </p:txBody>
      </p:sp>
      <p:sp>
        <p:nvSpPr>
          <p:cNvPr id="7" name="6 - TextBox"/>
          <p:cNvSpPr txBox="1"/>
          <p:nvPr/>
        </p:nvSpPr>
        <p:spPr>
          <a:xfrm>
            <a:off x="8671892" y="1156682"/>
            <a:ext cx="333746" cy="400110"/>
          </a:xfrm>
          <a:prstGeom prst="rect">
            <a:avLst/>
          </a:prstGeom>
          <a:noFill/>
        </p:spPr>
        <p:txBody>
          <a:bodyPr wrap="none" rtlCol="0">
            <a:spAutoFit/>
          </a:bodyPr>
          <a:lstStyle/>
          <a:p>
            <a:r>
              <a:rPr lang="en-US" sz="2000" b="1" dirty="0"/>
              <a:t>&gt;</a:t>
            </a:r>
            <a:endParaRPr lang="el-GR" sz="2000" b="1" dirty="0"/>
          </a:p>
        </p:txBody>
      </p:sp>
      <p:sp>
        <p:nvSpPr>
          <p:cNvPr id="10" name="Line 14"/>
          <p:cNvSpPr>
            <a:spLocks noChangeShapeType="1"/>
          </p:cNvSpPr>
          <p:nvPr/>
        </p:nvSpPr>
        <p:spPr bwMode="auto">
          <a:xfrm flipV="1">
            <a:off x="2478634" y="2780926"/>
            <a:ext cx="1656754" cy="1430739"/>
          </a:xfrm>
          <a:prstGeom prst="line">
            <a:avLst/>
          </a:prstGeom>
          <a:noFill/>
          <a:ln w="38100">
            <a:solidFill>
              <a:schemeClr val="tx1"/>
            </a:solidFill>
            <a:round/>
            <a:headEnd/>
            <a:tailEnd type="triangle" w="med" len="med"/>
          </a:ln>
        </p:spPr>
        <p:txBody>
          <a:bodyPr/>
          <a:lstStyle/>
          <a:p>
            <a:endParaRPr lang="en-US"/>
          </a:p>
        </p:txBody>
      </p:sp>
      <p:sp>
        <p:nvSpPr>
          <p:cNvPr id="13" name="Line 17"/>
          <p:cNvSpPr>
            <a:spLocks noChangeShapeType="1"/>
          </p:cNvSpPr>
          <p:nvPr/>
        </p:nvSpPr>
        <p:spPr bwMode="auto">
          <a:xfrm flipV="1">
            <a:off x="4639444" y="2245940"/>
            <a:ext cx="576065" cy="246956"/>
          </a:xfrm>
          <a:prstGeom prst="line">
            <a:avLst/>
          </a:prstGeom>
          <a:noFill/>
          <a:ln w="38100">
            <a:solidFill>
              <a:schemeClr val="tx1"/>
            </a:solidFill>
            <a:round/>
            <a:headEnd/>
            <a:tailEnd type="triangle" w="med" len="med"/>
          </a:ln>
        </p:spPr>
        <p:txBody>
          <a:bodyPr/>
          <a:lstStyle/>
          <a:p>
            <a:endParaRPr lang="en-US"/>
          </a:p>
        </p:txBody>
      </p:sp>
      <p:sp>
        <p:nvSpPr>
          <p:cNvPr id="14" name="Line 18"/>
          <p:cNvSpPr>
            <a:spLocks noChangeShapeType="1"/>
          </p:cNvSpPr>
          <p:nvPr/>
        </p:nvSpPr>
        <p:spPr bwMode="auto">
          <a:xfrm flipV="1">
            <a:off x="6079604" y="1669876"/>
            <a:ext cx="432048" cy="390971"/>
          </a:xfrm>
          <a:prstGeom prst="line">
            <a:avLst/>
          </a:prstGeom>
          <a:noFill/>
          <a:ln w="38100">
            <a:solidFill>
              <a:schemeClr val="tx1"/>
            </a:solidFill>
            <a:round/>
            <a:headEnd/>
            <a:tailEnd type="triangle" w="med" len="med"/>
          </a:ln>
        </p:spPr>
        <p:txBody>
          <a:bodyPr/>
          <a:lstStyle/>
          <a:p>
            <a:endParaRPr lang="en-US"/>
          </a:p>
        </p:txBody>
      </p:sp>
      <p:sp>
        <p:nvSpPr>
          <p:cNvPr id="15" name="Rectangle 19"/>
          <p:cNvSpPr>
            <a:spLocks noChangeArrowheads="1"/>
          </p:cNvSpPr>
          <p:nvPr/>
        </p:nvSpPr>
        <p:spPr bwMode="auto">
          <a:xfrm>
            <a:off x="1615108" y="4211667"/>
            <a:ext cx="1275159" cy="534987"/>
          </a:xfrm>
          <a:prstGeom prst="rect">
            <a:avLst/>
          </a:prstGeom>
          <a:noFill/>
          <a:ln w="9525">
            <a:noFill/>
            <a:miter lim="800000"/>
            <a:headEnd/>
            <a:tailEnd/>
          </a:ln>
        </p:spPr>
        <p:txBody>
          <a:bodyPr>
            <a:spAutoFit/>
          </a:bodyPr>
          <a:lstStyle/>
          <a:p>
            <a:pPr eaLnBrk="1" hangingPunct="1">
              <a:lnSpc>
                <a:spcPct val="90000"/>
              </a:lnSpc>
              <a:buClr>
                <a:schemeClr val="folHlink"/>
              </a:buClr>
              <a:buFont typeface="Arial" charset="0"/>
              <a:buNone/>
            </a:pPr>
            <a:r>
              <a:rPr lang="en-US" altLang="en-US" sz="1600" dirty="0">
                <a:solidFill>
                  <a:srgbClr val="5AAACE"/>
                </a:solidFill>
                <a:cs typeface="Arial" charset="0"/>
              </a:rPr>
              <a:t>Standard</a:t>
            </a:r>
          </a:p>
          <a:p>
            <a:pPr algn="ctr" eaLnBrk="1" hangingPunct="1">
              <a:lnSpc>
                <a:spcPct val="90000"/>
              </a:lnSpc>
              <a:buClr>
                <a:schemeClr val="folHlink"/>
              </a:buClr>
              <a:buFont typeface="Arial" charset="0"/>
              <a:buNone/>
            </a:pPr>
            <a:r>
              <a:rPr lang="en-US" altLang="en-US" sz="1600" dirty="0" err="1">
                <a:solidFill>
                  <a:srgbClr val="5AAACE"/>
                </a:solidFill>
                <a:cs typeface="Arial" charset="0"/>
              </a:rPr>
              <a:t>IFNa</a:t>
            </a:r>
            <a:endParaRPr lang="en-US" altLang="en-US" sz="1600" dirty="0">
              <a:solidFill>
                <a:srgbClr val="5AAACE"/>
              </a:solidFill>
              <a:cs typeface="Arial" charset="0"/>
            </a:endParaRPr>
          </a:p>
        </p:txBody>
      </p:sp>
      <p:sp>
        <p:nvSpPr>
          <p:cNvPr id="16" name="Rectangle 20"/>
          <p:cNvSpPr>
            <a:spLocks noChangeArrowheads="1"/>
          </p:cNvSpPr>
          <p:nvPr/>
        </p:nvSpPr>
        <p:spPr bwMode="auto">
          <a:xfrm>
            <a:off x="4063380" y="2492896"/>
            <a:ext cx="615874" cy="313932"/>
          </a:xfrm>
          <a:prstGeom prst="rect">
            <a:avLst/>
          </a:prstGeom>
          <a:noFill/>
          <a:ln w="9525">
            <a:noFill/>
            <a:miter lim="800000"/>
            <a:headEnd/>
            <a:tailEnd/>
          </a:ln>
        </p:spPr>
        <p:txBody>
          <a:bodyPr wrap="none">
            <a:spAutoFit/>
          </a:bodyPr>
          <a:lstStyle/>
          <a:p>
            <a:pPr eaLnBrk="1" hangingPunct="1">
              <a:lnSpc>
                <a:spcPct val="90000"/>
              </a:lnSpc>
              <a:spcBef>
                <a:spcPct val="35000"/>
              </a:spcBef>
              <a:spcAft>
                <a:spcPct val="25000"/>
              </a:spcAft>
              <a:buClr>
                <a:schemeClr val="folHlink"/>
              </a:buClr>
              <a:buFont typeface="Arial" charset="0"/>
              <a:buNone/>
            </a:pPr>
            <a:r>
              <a:rPr lang="en-US" altLang="en-US" sz="1600" dirty="0">
                <a:solidFill>
                  <a:srgbClr val="F6A108"/>
                </a:solidFill>
                <a:cs typeface="Arial" charset="0"/>
              </a:rPr>
              <a:t>RBV</a:t>
            </a:r>
          </a:p>
        </p:txBody>
      </p:sp>
      <p:sp>
        <p:nvSpPr>
          <p:cNvPr id="17" name="Rectangle 21"/>
          <p:cNvSpPr>
            <a:spLocks noChangeArrowheads="1"/>
          </p:cNvSpPr>
          <p:nvPr/>
        </p:nvSpPr>
        <p:spPr bwMode="auto">
          <a:xfrm>
            <a:off x="5143500" y="2029917"/>
            <a:ext cx="1003801" cy="313932"/>
          </a:xfrm>
          <a:prstGeom prst="rect">
            <a:avLst/>
          </a:prstGeom>
          <a:noFill/>
          <a:ln w="9525">
            <a:noFill/>
            <a:miter lim="800000"/>
            <a:headEnd/>
            <a:tailEnd/>
          </a:ln>
        </p:spPr>
        <p:txBody>
          <a:bodyPr wrap="none">
            <a:spAutoFit/>
          </a:bodyPr>
          <a:lstStyle/>
          <a:p>
            <a:pPr eaLnBrk="1" hangingPunct="1">
              <a:lnSpc>
                <a:spcPct val="90000"/>
              </a:lnSpc>
              <a:spcBef>
                <a:spcPct val="35000"/>
              </a:spcBef>
              <a:spcAft>
                <a:spcPct val="25000"/>
              </a:spcAft>
              <a:buClr>
                <a:schemeClr val="folHlink"/>
              </a:buClr>
              <a:buFont typeface="Arial" charset="0"/>
              <a:buNone/>
            </a:pPr>
            <a:r>
              <a:rPr lang="en-US" altLang="en-US" sz="1600" dirty="0" err="1">
                <a:solidFill>
                  <a:srgbClr val="12AD2B"/>
                </a:solidFill>
                <a:cs typeface="Arial" charset="0"/>
              </a:rPr>
              <a:t>PegIFNa</a:t>
            </a:r>
            <a:endParaRPr lang="en-US" altLang="en-US" sz="1600" dirty="0">
              <a:solidFill>
                <a:srgbClr val="12AD2B"/>
              </a:solidFill>
              <a:cs typeface="Arial" charset="0"/>
            </a:endParaRPr>
          </a:p>
        </p:txBody>
      </p:sp>
      <p:sp>
        <p:nvSpPr>
          <p:cNvPr id="19" name="Rectangle 23"/>
          <p:cNvSpPr>
            <a:spLocks noChangeArrowheads="1"/>
          </p:cNvSpPr>
          <p:nvPr/>
        </p:nvSpPr>
        <p:spPr bwMode="auto">
          <a:xfrm>
            <a:off x="6439644" y="1381845"/>
            <a:ext cx="740908" cy="313932"/>
          </a:xfrm>
          <a:prstGeom prst="rect">
            <a:avLst/>
          </a:prstGeom>
          <a:noFill/>
          <a:ln w="9525">
            <a:noFill/>
            <a:miter lim="800000"/>
            <a:headEnd/>
            <a:tailEnd/>
          </a:ln>
        </p:spPr>
        <p:txBody>
          <a:bodyPr wrap="square">
            <a:spAutoFit/>
          </a:bodyPr>
          <a:lstStyle/>
          <a:p>
            <a:pPr algn="ctr" eaLnBrk="1" hangingPunct="1">
              <a:lnSpc>
                <a:spcPct val="90000"/>
              </a:lnSpc>
              <a:buClr>
                <a:schemeClr val="folHlink"/>
              </a:buClr>
              <a:buFont typeface="Arial" charset="0"/>
              <a:buNone/>
            </a:pPr>
            <a:r>
              <a:rPr lang="en-US" altLang="en-US" sz="1600" dirty="0">
                <a:solidFill>
                  <a:srgbClr val="F8F45A"/>
                </a:solidFill>
                <a:cs typeface="Arial" charset="0"/>
              </a:rPr>
              <a:t>DAAs</a:t>
            </a:r>
          </a:p>
        </p:txBody>
      </p:sp>
      <p:cxnSp>
        <p:nvCxnSpPr>
          <p:cNvPr id="22" name="Straight Connector 51"/>
          <p:cNvCxnSpPr>
            <a:cxnSpLocks noChangeShapeType="1"/>
          </p:cNvCxnSpPr>
          <p:nvPr/>
        </p:nvCxnSpPr>
        <p:spPr bwMode="auto">
          <a:xfrm flipV="1">
            <a:off x="1291233" y="1412776"/>
            <a:ext cx="71438" cy="0"/>
          </a:xfrm>
          <a:prstGeom prst="line">
            <a:avLst/>
          </a:prstGeom>
          <a:noFill/>
          <a:ln w="28575">
            <a:solidFill>
              <a:schemeClr val="tx1"/>
            </a:solidFill>
            <a:round/>
            <a:headEnd/>
            <a:tailEnd/>
          </a:ln>
        </p:spPr>
      </p:cxnSp>
      <p:cxnSp>
        <p:nvCxnSpPr>
          <p:cNvPr id="23" name="Straight Connector 52"/>
          <p:cNvCxnSpPr>
            <a:cxnSpLocks noChangeShapeType="1"/>
          </p:cNvCxnSpPr>
          <p:nvPr/>
        </p:nvCxnSpPr>
        <p:spPr bwMode="auto">
          <a:xfrm flipV="1">
            <a:off x="1291233" y="1766416"/>
            <a:ext cx="71438" cy="0"/>
          </a:xfrm>
          <a:prstGeom prst="line">
            <a:avLst/>
          </a:prstGeom>
          <a:noFill/>
          <a:ln w="28575">
            <a:solidFill>
              <a:schemeClr val="tx1"/>
            </a:solidFill>
            <a:round/>
            <a:headEnd/>
            <a:tailEnd/>
          </a:ln>
        </p:spPr>
      </p:cxnSp>
      <p:cxnSp>
        <p:nvCxnSpPr>
          <p:cNvPr id="24" name="Straight Connector 53"/>
          <p:cNvCxnSpPr>
            <a:cxnSpLocks noChangeShapeType="1"/>
          </p:cNvCxnSpPr>
          <p:nvPr/>
        </p:nvCxnSpPr>
        <p:spPr bwMode="auto">
          <a:xfrm flipV="1">
            <a:off x="1291233" y="2428404"/>
            <a:ext cx="71438" cy="0"/>
          </a:xfrm>
          <a:prstGeom prst="line">
            <a:avLst/>
          </a:prstGeom>
          <a:noFill/>
          <a:ln w="28575">
            <a:solidFill>
              <a:schemeClr val="tx1"/>
            </a:solidFill>
            <a:round/>
            <a:headEnd/>
            <a:tailEnd/>
          </a:ln>
        </p:spPr>
      </p:cxnSp>
      <p:cxnSp>
        <p:nvCxnSpPr>
          <p:cNvPr id="25" name="Straight Connector 54"/>
          <p:cNvCxnSpPr>
            <a:cxnSpLocks noChangeShapeType="1"/>
          </p:cNvCxnSpPr>
          <p:nvPr/>
        </p:nvCxnSpPr>
        <p:spPr bwMode="auto">
          <a:xfrm flipV="1">
            <a:off x="1291233" y="3091979"/>
            <a:ext cx="71438" cy="0"/>
          </a:xfrm>
          <a:prstGeom prst="line">
            <a:avLst/>
          </a:prstGeom>
          <a:noFill/>
          <a:ln w="28575">
            <a:solidFill>
              <a:schemeClr val="tx1"/>
            </a:solidFill>
            <a:round/>
            <a:headEnd/>
            <a:tailEnd/>
          </a:ln>
        </p:spPr>
      </p:cxnSp>
      <p:sp>
        <p:nvSpPr>
          <p:cNvPr id="28" name="Line 18"/>
          <p:cNvSpPr>
            <a:spLocks noChangeShapeType="1"/>
          </p:cNvSpPr>
          <p:nvPr/>
        </p:nvSpPr>
        <p:spPr bwMode="auto">
          <a:xfrm flipV="1">
            <a:off x="7231732" y="836712"/>
            <a:ext cx="1728192" cy="648072"/>
          </a:xfrm>
          <a:prstGeom prst="line">
            <a:avLst/>
          </a:prstGeom>
          <a:noFill/>
          <a:ln w="38100">
            <a:solidFill>
              <a:schemeClr val="tx1"/>
            </a:solidFill>
            <a:round/>
            <a:headEnd/>
            <a:tailEnd type="triangle" w="med" len="med"/>
          </a:ln>
        </p:spPr>
        <p:txBody>
          <a:bodyPr/>
          <a:lstStyle/>
          <a:p>
            <a:endParaRPr lang="en-US"/>
          </a:p>
        </p:txBody>
      </p:sp>
      <p:sp>
        <p:nvSpPr>
          <p:cNvPr id="32" name="Title 10"/>
          <p:cNvSpPr txBox="1">
            <a:spLocks/>
          </p:cNvSpPr>
          <p:nvPr/>
        </p:nvSpPr>
        <p:spPr>
          <a:xfrm>
            <a:off x="751012" y="44624"/>
            <a:ext cx="8743950" cy="1143000"/>
          </a:xfrm>
          <a:prstGeom prst="rect">
            <a:avLst/>
          </a:prstGeom>
        </p:spPr>
        <p:txBody>
          <a:bodyPr anchor="ctr"/>
          <a:lstStyle/>
          <a:p>
            <a:pPr marL="0" marR="0" lvl="0" indent="0" algn="ctr" defTabSz="762000" rtl="0" eaLnBrk="1" fontAlgn="base" latinLnBrk="0" hangingPunct="1">
              <a:lnSpc>
                <a:spcPct val="100000"/>
              </a:lnSpc>
              <a:spcBef>
                <a:spcPct val="0"/>
              </a:spcBef>
              <a:spcAft>
                <a:spcPct val="0"/>
              </a:spcAft>
              <a:buClrTx/>
              <a:buSzTx/>
              <a:buFontTx/>
              <a:buNone/>
              <a:tabLst/>
              <a:defRPr/>
            </a:pPr>
            <a:r>
              <a:rPr kumimoji="0" lang="en-US" altLang="en-US" sz="4400" b="1" i="0" u="none" strike="noStrike" kern="0" cap="none" spc="0" normalizeH="0" baseline="0" noProof="0" dirty="0">
                <a:ln>
                  <a:noFill/>
                </a:ln>
                <a:solidFill>
                  <a:schemeClr val="tx2"/>
                </a:solidFill>
                <a:effectLst/>
                <a:uLnTx/>
                <a:uFillTx/>
                <a:latin typeface="+mj-lt"/>
                <a:ea typeface="+mj-ea"/>
                <a:cs typeface="Arial" charset="0"/>
              </a:rPr>
              <a:t>The “success story”</a:t>
            </a:r>
            <a:endParaRPr kumimoji="0" lang="en-US" altLang="en-US" sz="2200" b="1" i="0" u="none" strike="noStrike" kern="0" cap="none" spc="0" normalizeH="0" baseline="0" noProof="0" dirty="0">
              <a:ln>
                <a:noFill/>
              </a:ln>
              <a:solidFill>
                <a:srgbClr val="EF5E0A"/>
              </a:solidFill>
              <a:effectLst/>
              <a:uLnTx/>
              <a:uFillTx/>
              <a:latin typeface="+mj-lt"/>
              <a:ea typeface="+mj-ea"/>
              <a:cs typeface="Arial" charset="0"/>
            </a:endParaRPr>
          </a:p>
        </p:txBody>
      </p:sp>
    </p:spTree>
  </p:cSld>
  <p:clrMapOvr>
    <a:masterClrMapping/>
  </p:clrMapOvr>
  <p:transition spd="med">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355C9-93A0-4196-A273-EF4ACD269B11}"/>
              </a:ext>
            </a:extLst>
          </p:cNvPr>
          <p:cNvSpPr txBox="1">
            <a:spLocks noChangeArrowheads="1"/>
          </p:cNvSpPr>
          <p:nvPr/>
        </p:nvSpPr>
        <p:spPr bwMode="auto">
          <a:xfrm>
            <a:off x="0" y="333375"/>
            <a:ext cx="10287000" cy="1143000"/>
          </a:xfrm>
          <a:prstGeom prst="rect">
            <a:avLst/>
          </a:prstGeom>
          <a:gradFill rotWithShape="1">
            <a:gsLst>
              <a:gs pos="0">
                <a:schemeClr val="bg1"/>
              </a:gs>
              <a:gs pos="50000">
                <a:schemeClr val="bg1">
                  <a:gamma/>
                  <a:shade val="46275"/>
                  <a:invGamma/>
                </a:schemeClr>
              </a:gs>
              <a:gs pos="100000">
                <a:schemeClr val="bg1"/>
              </a:gs>
            </a:gsLst>
            <a:lin ang="5400000" scaled="1"/>
          </a:gradFill>
          <a:ln w="9525">
            <a:noFill/>
            <a:miter lim="800000"/>
            <a:headEnd/>
            <a:tailEnd/>
          </a:ln>
        </p:spPr>
        <p:txBody>
          <a:bodyPr lIns="92075" tIns="46038" rIns="92075" bIns="46038" anchor="ctr"/>
          <a:lstStyle/>
          <a:p>
            <a:pPr algn="ctr" defTabSz="762000">
              <a:lnSpc>
                <a:spcPct val="90000"/>
              </a:lnSpc>
              <a:defRPr/>
            </a:pPr>
            <a:r>
              <a:rPr lang="en-US" sz="3600" b="1" dirty="0">
                <a:solidFill>
                  <a:schemeClr val="tx2"/>
                </a:solidFill>
                <a:latin typeface="+mj-lt"/>
                <a:ea typeface="+mj-ea"/>
                <a:cs typeface="+mj-cs"/>
              </a:rPr>
              <a:t>Late 2013-Early 2014: </a:t>
            </a:r>
          </a:p>
          <a:p>
            <a:pPr algn="ctr" defTabSz="762000">
              <a:lnSpc>
                <a:spcPct val="90000"/>
              </a:lnSpc>
              <a:defRPr/>
            </a:pPr>
            <a:r>
              <a:rPr lang="en-US" sz="3600" b="1" dirty="0">
                <a:solidFill>
                  <a:schemeClr val="tx2"/>
                </a:solidFill>
                <a:latin typeface="+mj-lt"/>
                <a:ea typeface="+mj-ea"/>
                <a:cs typeface="+mj-cs"/>
              </a:rPr>
              <a:t>The “</a:t>
            </a:r>
            <a:r>
              <a:rPr lang="en-US" sz="3600" b="1" dirty="0" err="1">
                <a:solidFill>
                  <a:schemeClr val="tx2"/>
                </a:solidFill>
                <a:latin typeface="+mj-lt"/>
                <a:ea typeface="+mj-ea"/>
                <a:cs typeface="+mj-cs"/>
              </a:rPr>
              <a:t>Sovaldi</a:t>
            </a:r>
            <a:r>
              <a:rPr lang="en-US" sz="3600" b="1" baseline="30000" dirty="0">
                <a:solidFill>
                  <a:schemeClr val="tx2"/>
                </a:solidFill>
                <a:latin typeface="+mj-lt"/>
                <a:ea typeface="+mj-ea"/>
                <a:cs typeface="+mj-cs"/>
              </a:rPr>
              <a:t>®</a:t>
            </a:r>
            <a:r>
              <a:rPr lang="en-US" sz="3600" b="1" dirty="0">
                <a:solidFill>
                  <a:schemeClr val="tx2"/>
                </a:solidFill>
                <a:latin typeface="+mj-lt"/>
                <a:ea typeface="+mj-ea"/>
                <a:cs typeface="+mj-cs"/>
              </a:rPr>
              <a:t>” revolution</a:t>
            </a:r>
            <a:endParaRPr lang="el-GR" sz="3600" b="1" dirty="0">
              <a:solidFill>
                <a:schemeClr val="tx2"/>
              </a:solidFill>
              <a:latin typeface="+mj-lt"/>
              <a:ea typeface="+mj-ea"/>
              <a:cs typeface="+mj-cs"/>
            </a:endParaRPr>
          </a:p>
        </p:txBody>
      </p:sp>
      <p:pic>
        <p:nvPicPr>
          <p:cNvPr id="32771" name="3 - Εικόνα" descr="sovaldi-lawsuit.jpg">
            <a:extLst>
              <a:ext uri="{FF2B5EF4-FFF2-40B4-BE49-F238E27FC236}">
                <a16:creationId xmlns:a16="http://schemas.microsoft.com/office/drawing/2014/main" id="{684FDC07-8947-4C6D-82E2-30F7D312E31C}"/>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30613" y="2205038"/>
            <a:ext cx="2286000" cy="334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4 - Εικόνα" descr="magic pill 2.bmp">
            <a:extLst>
              <a:ext uri="{FF2B5EF4-FFF2-40B4-BE49-F238E27FC236}">
                <a16:creationId xmlns:a16="http://schemas.microsoft.com/office/drawing/2014/main" id="{3FE68EF8-893E-4664-9D80-82C664B4F7F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9450" y="2781300"/>
            <a:ext cx="2592388" cy="251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5 - Εικόνα" descr="magic pill 1.bmp">
            <a:extLst>
              <a:ext uri="{FF2B5EF4-FFF2-40B4-BE49-F238E27FC236}">
                <a16:creationId xmlns:a16="http://schemas.microsoft.com/office/drawing/2014/main" id="{B78975B5-E6A7-47FA-927D-D63D6D9902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51563" y="2924175"/>
            <a:ext cx="3832225"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p:cNvSpPr>
            <a:spLocks noGrp="1"/>
          </p:cNvSpPr>
          <p:nvPr>
            <p:ph type="title"/>
          </p:nvPr>
        </p:nvSpPr>
        <p:spPr>
          <a:xfrm>
            <a:off x="0" y="260648"/>
            <a:ext cx="10286999" cy="533400"/>
          </a:xfrm>
        </p:spPr>
        <p:txBody>
          <a:bodyPr/>
          <a:lstStyle/>
          <a:p>
            <a:pPr eaLnBrk="1" hangingPunct="1"/>
            <a:r>
              <a:rPr lang="el-GR" altLang="en-US" sz="3200" b="1" dirty="0">
                <a:solidFill>
                  <a:schemeClr val="tx2"/>
                </a:solidFill>
              </a:rPr>
              <a:t>Φάρμακα που </a:t>
            </a:r>
            <a:r>
              <a:rPr lang="el-GR" altLang="en-US" sz="3200" b="1" dirty="0"/>
              <a:t>κυκλοφορού</a:t>
            </a:r>
            <a:r>
              <a:rPr lang="el-GR" altLang="en-US" sz="3200" b="1" dirty="0">
                <a:solidFill>
                  <a:schemeClr val="tx2"/>
                </a:solidFill>
              </a:rPr>
              <a:t>ν στην Ελλάδα το 2023</a:t>
            </a:r>
            <a:endParaRPr lang="en-US" altLang="en-US" sz="3200" b="1" dirty="0">
              <a:solidFill>
                <a:schemeClr val="tx2"/>
              </a:solidFill>
            </a:endParaRPr>
          </a:p>
        </p:txBody>
      </p:sp>
      <p:sp>
        <p:nvSpPr>
          <p:cNvPr id="18" name="Oval 2"/>
          <p:cNvSpPr>
            <a:spLocks noChangeArrowheads="1"/>
          </p:cNvSpPr>
          <p:nvPr/>
        </p:nvSpPr>
        <p:spPr bwMode="auto">
          <a:xfrm>
            <a:off x="7018198" y="915887"/>
            <a:ext cx="2435686" cy="3198733"/>
          </a:xfrm>
          <a:prstGeom prst="ellipse">
            <a:avLst/>
          </a:prstGeom>
          <a:solidFill>
            <a:schemeClr val="accent5">
              <a:lumMod val="75000"/>
            </a:schemeClr>
          </a:solidFill>
          <a:ln w="9525">
            <a:noFill/>
            <a:round/>
            <a:headEnd/>
            <a:tailEnd/>
          </a:ln>
          <a:effectLst/>
        </p:spPr>
        <p:txBody>
          <a:bodyPr wrap="none" anchor="ctr"/>
          <a:lstStyle/>
          <a:p>
            <a:pPr algn="ctr">
              <a:buFont typeface="Arial" charset="0"/>
              <a:buNone/>
              <a:defRPr/>
            </a:pPr>
            <a:r>
              <a:rPr lang="en-US" sz="2000" dirty="0" err="1">
                <a:solidFill>
                  <a:schemeClr val="bg2">
                    <a:lumMod val="10000"/>
                  </a:schemeClr>
                </a:solidFill>
              </a:rPr>
              <a:t>Velpatasvir</a:t>
            </a:r>
            <a:endParaRPr lang="en-US" sz="2000" dirty="0">
              <a:solidFill>
                <a:schemeClr val="bg2">
                  <a:lumMod val="10000"/>
                </a:schemeClr>
              </a:solidFill>
            </a:endParaRPr>
          </a:p>
          <a:p>
            <a:pPr algn="ctr">
              <a:defRPr/>
            </a:pPr>
            <a:r>
              <a:rPr lang="el-GR" sz="1600" dirty="0">
                <a:solidFill>
                  <a:schemeClr val="bg2">
                    <a:lumMod val="10000"/>
                  </a:schemeClr>
                </a:solidFill>
              </a:rPr>
              <a:t>Αναστολέας </a:t>
            </a:r>
            <a:r>
              <a:rPr lang="en-US" sz="1600" dirty="0">
                <a:solidFill>
                  <a:schemeClr val="bg2">
                    <a:lumMod val="10000"/>
                  </a:schemeClr>
                </a:solidFill>
              </a:rPr>
              <a:t>NS5A</a:t>
            </a:r>
          </a:p>
          <a:p>
            <a:pPr algn="ctr">
              <a:buFont typeface="Arial" charset="0"/>
              <a:buNone/>
              <a:defRPr/>
            </a:pPr>
            <a:r>
              <a:rPr lang="en-US" sz="2000" dirty="0">
                <a:solidFill>
                  <a:schemeClr val="bg2">
                    <a:lumMod val="10000"/>
                  </a:schemeClr>
                </a:solidFill>
              </a:rPr>
              <a:t>+</a:t>
            </a:r>
            <a:r>
              <a:rPr lang="en-US" sz="2000" dirty="0" err="1">
                <a:solidFill>
                  <a:schemeClr val="bg2">
                    <a:lumMod val="10000"/>
                  </a:schemeClr>
                </a:solidFill>
              </a:rPr>
              <a:t>Sofosbuvir</a:t>
            </a:r>
            <a:endParaRPr lang="en-US" sz="2000" dirty="0">
              <a:solidFill>
                <a:schemeClr val="bg2">
                  <a:lumMod val="10000"/>
                </a:schemeClr>
              </a:solidFill>
            </a:endParaRPr>
          </a:p>
          <a:p>
            <a:pPr algn="ctr">
              <a:buFont typeface="Arial" charset="0"/>
              <a:buNone/>
              <a:defRPr/>
            </a:pPr>
            <a:r>
              <a:rPr lang="el-GR" sz="1600" dirty="0">
                <a:solidFill>
                  <a:schemeClr val="bg2">
                    <a:lumMod val="10000"/>
                  </a:schemeClr>
                </a:solidFill>
              </a:rPr>
              <a:t>Αναστολέας </a:t>
            </a:r>
            <a:r>
              <a:rPr lang="en-US" sz="1600" dirty="0">
                <a:solidFill>
                  <a:schemeClr val="bg2">
                    <a:lumMod val="10000"/>
                  </a:schemeClr>
                </a:solidFill>
              </a:rPr>
              <a:t>NS5B </a:t>
            </a:r>
          </a:p>
          <a:p>
            <a:pPr algn="ctr">
              <a:buFont typeface="Arial" charset="0"/>
              <a:buNone/>
              <a:defRPr/>
            </a:pPr>
            <a:r>
              <a:rPr lang="el-GR" sz="1600" dirty="0">
                <a:solidFill>
                  <a:schemeClr val="bg2">
                    <a:lumMod val="10000"/>
                  </a:schemeClr>
                </a:solidFill>
              </a:rPr>
              <a:t>Πολυμεράσης</a:t>
            </a:r>
          </a:p>
          <a:p>
            <a:pPr algn="ctr">
              <a:buFont typeface="Arial" charset="0"/>
              <a:buNone/>
              <a:defRPr/>
            </a:pPr>
            <a:r>
              <a:rPr lang="el-GR" sz="2000" dirty="0">
                <a:solidFill>
                  <a:schemeClr val="bg2">
                    <a:lumMod val="10000"/>
                  </a:schemeClr>
                </a:solidFill>
              </a:rPr>
              <a:t>+</a:t>
            </a:r>
            <a:r>
              <a:rPr lang="en-US" sz="2000" dirty="0" err="1">
                <a:solidFill>
                  <a:schemeClr val="bg2">
                    <a:lumMod val="10000"/>
                  </a:schemeClr>
                </a:solidFill>
              </a:rPr>
              <a:t>Voxilaprevir</a:t>
            </a:r>
            <a:r>
              <a:rPr lang="en-US" sz="2000" dirty="0">
                <a:solidFill>
                  <a:schemeClr val="bg2">
                    <a:lumMod val="10000"/>
                  </a:schemeClr>
                </a:solidFill>
              </a:rPr>
              <a:t> </a:t>
            </a:r>
          </a:p>
          <a:p>
            <a:pPr algn="ctr">
              <a:buFont typeface="Arial" charset="0"/>
              <a:buNone/>
              <a:defRPr/>
            </a:pPr>
            <a:r>
              <a:rPr lang="el-GR" sz="1600" dirty="0">
                <a:solidFill>
                  <a:schemeClr val="bg2">
                    <a:lumMod val="10000"/>
                  </a:schemeClr>
                </a:solidFill>
              </a:rPr>
              <a:t>Αναστολέας </a:t>
            </a:r>
            <a:r>
              <a:rPr lang="en-US" sz="1600" dirty="0">
                <a:solidFill>
                  <a:schemeClr val="bg2">
                    <a:lumMod val="10000"/>
                  </a:schemeClr>
                </a:solidFill>
              </a:rPr>
              <a:t>NS3/4A  </a:t>
            </a:r>
          </a:p>
          <a:p>
            <a:pPr algn="ctr">
              <a:buFont typeface="Arial" charset="0"/>
              <a:buNone/>
              <a:defRPr/>
            </a:pPr>
            <a:r>
              <a:rPr lang="el-GR" sz="1600" dirty="0">
                <a:solidFill>
                  <a:schemeClr val="bg2">
                    <a:lumMod val="10000"/>
                  </a:schemeClr>
                </a:solidFill>
              </a:rPr>
              <a:t>πρωτεάσης</a:t>
            </a:r>
          </a:p>
        </p:txBody>
      </p:sp>
      <p:sp>
        <p:nvSpPr>
          <p:cNvPr id="19" name="Oval 2"/>
          <p:cNvSpPr>
            <a:spLocks noChangeArrowheads="1"/>
          </p:cNvSpPr>
          <p:nvPr/>
        </p:nvSpPr>
        <p:spPr bwMode="auto">
          <a:xfrm>
            <a:off x="3973058" y="1093282"/>
            <a:ext cx="2303933" cy="2904287"/>
          </a:xfrm>
          <a:prstGeom prst="ellipse">
            <a:avLst/>
          </a:prstGeom>
          <a:solidFill>
            <a:schemeClr val="tx1">
              <a:lumMod val="75000"/>
            </a:schemeClr>
          </a:solidFill>
          <a:ln w="9525">
            <a:noFill/>
            <a:round/>
            <a:headEnd/>
            <a:tailEnd/>
          </a:ln>
          <a:effectLst/>
        </p:spPr>
        <p:txBody>
          <a:bodyPr wrap="none" anchor="ctr"/>
          <a:lstStyle/>
          <a:p>
            <a:pPr algn="ctr">
              <a:buFont typeface="Arial" charset="0"/>
              <a:buNone/>
              <a:defRPr/>
            </a:pPr>
            <a:r>
              <a:rPr lang="en-US" sz="2000" dirty="0" err="1">
                <a:solidFill>
                  <a:schemeClr val="bg2">
                    <a:lumMod val="10000"/>
                  </a:schemeClr>
                </a:solidFill>
              </a:rPr>
              <a:t>Glecaprevir</a:t>
            </a:r>
            <a:r>
              <a:rPr lang="en-US" sz="2000" dirty="0">
                <a:solidFill>
                  <a:schemeClr val="bg2">
                    <a:lumMod val="10000"/>
                  </a:schemeClr>
                </a:solidFill>
              </a:rPr>
              <a:t> </a:t>
            </a:r>
          </a:p>
          <a:p>
            <a:pPr algn="ctr">
              <a:buFont typeface="Arial" charset="0"/>
              <a:buNone/>
              <a:defRPr/>
            </a:pPr>
            <a:r>
              <a:rPr lang="el-GR" sz="1600" dirty="0">
                <a:solidFill>
                  <a:schemeClr val="bg2">
                    <a:lumMod val="10000"/>
                  </a:schemeClr>
                </a:solidFill>
              </a:rPr>
              <a:t>Αναστολέας </a:t>
            </a:r>
            <a:r>
              <a:rPr lang="en-US" sz="1600" dirty="0">
                <a:solidFill>
                  <a:schemeClr val="bg2">
                    <a:lumMod val="10000"/>
                  </a:schemeClr>
                </a:solidFill>
              </a:rPr>
              <a:t>NS3/4A  </a:t>
            </a:r>
          </a:p>
          <a:p>
            <a:pPr algn="ctr">
              <a:buFont typeface="Arial" charset="0"/>
              <a:buNone/>
              <a:defRPr/>
            </a:pPr>
            <a:r>
              <a:rPr lang="el-GR" sz="1600" dirty="0">
                <a:solidFill>
                  <a:schemeClr val="bg2">
                    <a:lumMod val="10000"/>
                  </a:schemeClr>
                </a:solidFill>
              </a:rPr>
              <a:t>πρωτεάσης</a:t>
            </a:r>
          </a:p>
          <a:p>
            <a:pPr algn="ctr">
              <a:defRPr/>
            </a:pPr>
            <a:r>
              <a:rPr lang="en-US" sz="2000" dirty="0">
                <a:solidFill>
                  <a:schemeClr val="bg2">
                    <a:lumMod val="10000"/>
                  </a:schemeClr>
                </a:solidFill>
              </a:rPr>
              <a:t>+</a:t>
            </a:r>
            <a:r>
              <a:rPr lang="en-US" sz="2000" dirty="0" err="1">
                <a:solidFill>
                  <a:schemeClr val="bg2">
                    <a:lumMod val="10000"/>
                  </a:schemeClr>
                </a:solidFill>
              </a:rPr>
              <a:t>Pibrentasvir</a:t>
            </a:r>
            <a:endParaRPr lang="en-US" sz="2000" dirty="0">
              <a:solidFill>
                <a:schemeClr val="bg2">
                  <a:lumMod val="10000"/>
                </a:schemeClr>
              </a:solidFill>
            </a:endParaRPr>
          </a:p>
          <a:p>
            <a:pPr algn="ctr">
              <a:defRPr/>
            </a:pPr>
            <a:r>
              <a:rPr lang="el-GR" sz="1600" dirty="0">
                <a:solidFill>
                  <a:schemeClr val="bg2">
                    <a:lumMod val="10000"/>
                  </a:schemeClr>
                </a:solidFill>
              </a:rPr>
              <a:t>Αναστολέας </a:t>
            </a:r>
            <a:r>
              <a:rPr lang="en-US" sz="1600" dirty="0">
                <a:solidFill>
                  <a:schemeClr val="bg2">
                    <a:lumMod val="10000"/>
                  </a:schemeClr>
                </a:solidFill>
              </a:rPr>
              <a:t>NS5A</a:t>
            </a:r>
            <a:endParaRPr lang="el-GR" sz="1600" dirty="0">
              <a:solidFill>
                <a:schemeClr val="bg2">
                  <a:lumMod val="10000"/>
                </a:schemeClr>
              </a:solidFill>
            </a:endParaRPr>
          </a:p>
        </p:txBody>
      </p:sp>
      <p:sp>
        <p:nvSpPr>
          <p:cNvPr id="21" name="11 - Στρογγυλεμένο ορθογώνιο"/>
          <p:cNvSpPr/>
          <p:nvPr/>
        </p:nvSpPr>
        <p:spPr bwMode="auto">
          <a:xfrm>
            <a:off x="3289500" y="4593163"/>
            <a:ext cx="3566312" cy="1584771"/>
          </a:xfrm>
          <a:prstGeom prst="roundRect">
            <a:avLst/>
          </a:prstGeom>
          <a:noFill/>
          <a:ln>
            <a:solidFill>
              <a:schemeClr val="tx1"/>
            </a:solidFill>
          </a:ln>
          <a:effectLst>
            <a:prstShdw prst="shdw17" dist="17961" dir="2700000">
              <a:schemeClr val="accent1">
                <a:gamma/>
                <a:shade val="60000"/>
                <a:invGamma/>
              </a:schemeClr>
            </a:prstShdw>
          </a:effectLst>
        </p:spPr>
        <p:txBody>
          <a:bodyPr lIns="90488" tIns="44450" rIns="90488" bIns="44450"/>
          <a:lstStyle/>
          <a:p>
            <a:pPr marL="285750" indent="-285750">
              <a:lnSpc>
                <a:spcPct val="150000"/>
              </a:lnSpc>
              <a:spcBef>
                <a:spcPts val="600"/>
              </a:spcBef>
              <a:spcAft>
                <a:spcPts val="0"/>
              </a:spcAft>
              <a:buFont typeface="Arial" pitchFamily="34" charset="0"/>
              <a:buChar char="•"/>
              <a:defRPr/>
            </a:pPr>
            <a:r>
              <a:rPr lang="en-US" sz="1600" dirty="0"/>
              <a:t>[100/</a:t>
            </a:r>
            <a:r>
              <a:rPr lang="el-GR" sz="1600" dirty="0"/>
              <a:t>4</a:t>
            </a:r>
            <a:r>
              <a:rPr lang="en-US" sz="1600" dirty="0"/>
              <a:t>0 mg] x3 </a:t>
            </a:r>
            <a:r>
              <a:rPr lang="el-GR" sz="1600" dirty="0">
                <a:solidFill>
                  <a:srgbClr val="FFFFFF"/>
                </a:solidFill>
              </a:rPr>
              <a:t>/24</a:t>
            </a:r>
            <a:r>
              <a:rPr lang="en-US" sz="1600" dirty="0">
                <a:solidFill>
                  <a:srgbClr val="FFFFFF"/>
                </a:solidFill>
              </a:rPr>
              <a:t>h</a:t>
            </a:r>
            <a:r>
              <a:rPr lang="el-GR" sz="1600" dirty="0">
                <a:solidFill>
                  <a:srgbClr val="FFFFFF"/>
                </a:solidFill>
              </a:rPr>
              <a:t> </a:t>
            </a:r>
            <a:r>
              <a:rPr lang="el-GR" sz="1600" dirty="0"/>
              <a:t>με τροφή</a:t>
            </a:r>
            <a:endParaRPr lang="en-US" sz="1600" dirty="0"/>
          </a:p>
          <a:p>
            <a:pPr marL="285750" indent="-285750">
              <a:lnSpc>
                <a:spcPct val="150000"/>
              </a:lnSpc>
              <a:spcBef>
                <a:spcPts val="600"/>
              </a:spcBef>
              <a:spcAft>
                <a:spcPts val="0"/>
              </a:spcAft>
              <a:buFont typeface="Arial" pitchFamily="34" charset="0"/>
              <a:buChar char="•"/>
              <a:defRPr/>
            </a:pPr>
            <a:r>
              <a:rPr lang="el-GR" sz="1600" dirty="0"/>
              <a:t>Για όλους τους γονοτύπους</a:t>
            </a:r>
            <a:endParaRPr lang="en-US" sz="1600" dirty="0"/>
          </a:p>
          <a:p>
            <a:pPr marL="285750" indent="-285750">
              <a:lnSpc>
                <a:spcPct val="150000"/>
              </a:lnSpc>
              <a:spcBef>
                <a:spcPts val="600"/>
              </a:spcBef>
              <a:spcAft>
                <a:spcPts val="0"/>
              </a:spcAft>
              <a:buFont typeface="Arial" pitchFamily="34" charset="0"/>
              <a:buChar char="•"/>
              <a:defRPr/>
            </a:pPr>
            <a:r>
              <a:rPr lang="el-GR" sz="1600" dirty="0">
                <a:solidFill>
                  <a:srgbClr val="FFFFFF"/>
                </a:solidFill>
                <a:ea typeface="ＭＳ Ｐゴシック" charset="0"/>
              </a:rPr>
              <a:t>Υψηλός γενετικός φραγμός</a:t>
            </a:r>
            <a:endParaRPr lang="en-US" sz="1600" dirty="0">
              <a:solidFill>
                <a:srgbClr val="FFFFFF"/>
              </a:solidFill>
              <a:ea typeface="ＭＳ Ｐゴシック" charset="0"/>
            </a:endParaRPr>
          </a:p>
        </p:txBody>
      </p:sp>
      <p:sp>
        <p:nvSpPr>
          <p:cNvPr id="22" name="11 - Στρογγυλεμένο ορθογώνιο"/>
          <p:cNvSpPr/>
          <p:nvPr/>
        </p:nvSpPr>
        <p:spPr bwMode="auto">
          <a:xfrm>
            <a:off x="6948022" y="4610041"/>
            <a:ext cx="3309899" cy="1584771"/>
          </a:xfrm>
          <a:prstGeom prst="roundRect">
            <a:avLst/>
          </a:prstGeom>
          <a:noFill/>
          <a:ln>
            <a:solidFill>
              <a:schemeClr val="tx1"/>
            </a:solidFill>
          </a:ln>
          <a:effectLst>
            <a:prstShdw prst="shdw17" dist="17961" dir="2700000">
              <a:schemeClr val="accent1">
                <a:gamma/>
                <a:shade val="60000"/>
                <a:invGamma/>
              </a:schemeClr>
            </a:prstShdw>
          </a:effectLst>
        </p:spPr>
        <p:txBody>
          <a:bodyPr lIns="90488" tIns="44450" rIns="90488" bIns="44450"/>
          <a:lstStyle/>
          <a:p>
            <a:pPr marL="285750" indent="-285750">
              <a:lnSpc>
                <a:spcPct val="150000"/>
              </a:lnSpc>
              <a:spcBef>
                <a:spcPts val="600"/>
              </a:spcBef>
              <a:spcAft>
                <a:spcPts val="0"/>
              </a:spcAft>
              <a:buFont typeface="Arial" pitchFamily="34" charset="0"/>
              <a:buChar char="•"/>
              <a:defRPr/>
            </a:pPr>
            <a:r>
              <a:rPr lang="en-US" sz="1600" dirty="0"/>
              <a:t>100/</a:t>
            </a:r>
            <a:r>
              <a:rPr lang="el-GR" sz="1600" dirty="0"/>
              <a:t>4</a:t>
            </a:r>
            <a:r>
              <a:rPr lang="en-US" sz="1600" dirty="0"/>
              <a:t>00/100 mg /</a:t>
            </a:r>
            <a:r>
              <a:rPr lang="el-GR" sz="1600" dirty="0">
                <a:solidFill>
                  <a:srgbClr val="FFFFFF"/>
                </a:solidFill>
              </a:rPr>
              <a:t>24</a:t>
            </a:r>
            <a:r>
              <a:rPr lang="en-US" sz="1600" dirty="0">
                <a:solidFill>
                  <a:srgbClr val="FFFFFF"/>
                </a:solidFill>
              </a:rPr>
              <a:t>h</a:t>
            </a:r>
            <a:r>
              <a:rPr lang="el-GR" sz="1600" dirty="0">
                <a:solidFill>
                  <a:srgbClr val="FFFFFF"/>
                </a:solidFill>
              </a:rPr>
              <a:t> </a:t>
            </a:r>
            <a:endParaRPr lang="en-US" sz="1600" dirty="0"/>
          </a:p>
          <a:p>
            <a:pPr marL="285750" indent="-285750">
              <a:lnSpc>
                <a:spcPct val="150000"/>
              </a:lnSpc>
              <a:spcBef>
                <a:spcPts val="600"/>
              </a:spcBef>
              <a:spcAft>
                <a:spcPts val="0"/>
              </a:spcAft>
              <a:buFont typeface="Arial" pitchFamily="34" charset="0"/>
              <a:buChar char="•"/>
              <a:defRPr/>
            </a:pPr>
            <a:r>
              <a:rPr lang="el-GR" sz="1600" dirty="0"/>
              <a:t>Για όλους τους γονοτύπους</a:t>
            </a:r>
            <a:endParaRPr lang="en-US" sz="1600" dirty="0"/>
          </a:p>
          <a:p>
            <a:pPr marL="285750" indent="-285750">
              <a:lnSpc>
                <a:spcPct val="150000"/>
              </a:lnSpc>
              <a:spcBef>
                <a:spcPts val="600"/>
              </a:spcBef>
              <a:spcAft>
                <a:spcPts val="0"/>
              </a:spcAft>
              <a:buFont typeface="Arial" pitchFamily="34" charset="0"/>
              <a:buChar char="•"/>
              <a:defRPr/>
            </a:pPr>
            <a:r>
              <a:rPr lang="el-GR" sz="1600" dirty="0">
                <a:solidFill>
                  <a:srgbClr val="FFFFFF"/>
                </a:solidFill>
                <a:ea typeface="ＭＳ Ｐゴシック" charset="0"/>
              </a:rPr>
              <a:t>Υψηλός γενετικός φραγμός</a:t>
            </a:r>
            <a:endParaRPr lang="en-US" sz="1600" dirty="0">
              <a:solidFill>
                <a:srgbClr val="FFFFFF"/>
              </a:solidFill>
              <a:ea typeface="ＭＳ Ｐゴシック" charset="0"/>
            </a:endParaRPr>
          </a:p>
        </p:txBody>
      </p:sp>
      <p:sp>
        <p:nvSpPr>
          <p:cNvPr id="5" name="TextBox 4"/>
          <p:cNvSpPr txBox="1"/>
          <p:nvPr/>
        </p:nvSpPr>
        <p:spPr>
          <a:xfrm>
            <a:off x="833116" y="4100209"/>
            <a:ext cx="10039958" cy="461665"/>
          </a:xfrm>
          <a:prstGeom prst="rect">
            <a:avLst/>
          </a:prstGeom>
          <a:noFill/>
        </p:spPr>
        <p:txBody>
          <a:bodyPr wrap="square" rtlCol="0">
            <a:spAutoFit/>
          </a:bodyPr>
          <a:lstStyle/>
          <a:p>
            <a:r>
              <a:rPr lang="en-US" dirty="0"/>
              <a:t>Epclusa</a:t>
            </a:r>
            <a:r>
              <a:rPr lang="en-US" baseline="30000" dirty="0"/>
              <a:t>® </a:t>
            </a:r>
            <a:r>
              <a:rPr lang="el-GR" baseline="30000" dirty="0"/>
              <a:t>                                        </a:t>
            </a:r>
            <a:r>
              <a:rPr lang="en-US" dirty="0" err="1"/>
              <a:t>Maviret</a:t>
            </a:r>
            <a:r>
              <a:rPr lang="en-US" baseline="30000" dirty="0"/>
              <a:t>®</a:t>
            </a:r>
            <a:r>
              <a:rPr lang="en-US" dirty="0"/>
              <a:t>                       </a:t>
            </a:r>
            <a:r>
              <a:rPr lang="en-US" dirty="0" err="1"/>
              <a:t>Vosevi</a:t>
            </a:r>
            <a:r>
              <a:rPr lang="en-US" baseline="30000" dirty="0"/>
              <a:t>®</a:t>
            </a:r>
            <a:endParaRPr lang="en-US" dirty="0"/>
          </a:p>
        </p:txBody>
      </p:sp>
      <p:sp>
        <p:nvSpPr>
          <p:cNvPr id="2" name="TextBox 1">
            <a:extLst>
              <a:ext uri="{FF2B5EF4-FFF2-40B4-BE49-F238E27FC236}">
                <a16:creationId xmlns:a16="http://schemas.microsoft.com/office/drawing/2014/main" id="{9B539909-6146-484F-B4CF-4F5A0FA76C40}"/>
              </a:ext>
            </a:extLst>
          </p:cNvPr>
          <p:cNvSpPr txBox="1"/>
          <p:nvPr/>
        </p:nvSpPr>
        <p:spPr>
          <a:xfrm>
            <a:off x="8983373" y="3313129"/>
            <a:ext cx="1359667" cy="923330"/>
          </a:xfrm>
          <a:prstGeom prst="rect">
            <a:avLst/>
          </a:prstGeom>
          <a:noFill/>
        </p:spPr>
        <p:txBody>
          <a:bodyPr wrap="none" rtlCol="0">
            <a:spAutoFit/>
          </a:bodyPr>
          <a:lstStyle/>
          <a:p>
            <a:pPr algn="ctr"/>
            <a:r>
              <a:rPr lang="el-GR" sz="1800" dirty="0">
                <a:solidFill>
                  <a:schemeClr val="tx2"/>
                </a:solidFill>
              </a:rPr>
              <a:t>Για </a:t>
            </a:r>
          </a:p>
          <a:p>
            <a:pPr algn="ctr"/>
            <a:r>
              <a:rPr lang="el-GR" sz="1800" dirty="0">
                <a:solidFill>
                  <a:schemeClr val="tx2"/>
                </a:solidFill>
              </a:rPr>
              <a:t>αποτυχίες </a:t>
            </a:r>
          </a:p>
          <a:p>
            <a:pPr algn="ctr"/>
            <a:r>
              <a:rPr lang="el-GR" sz="1800" dirty="0">
                <a:solidFill>
                  <a:schemeClr val="tx2"/>
                </a:solidFill>
              </a:rPr>
              <a:t>σε </a:t>
            </a:r>
            <a:r>
              <a:rPr lang="en-US" sz="1800" dirty="0">
                <a:solidFill>
                  <a:schemeClr val="tx2"/>
                </a:solidFill>
              </a:rPr>
              <a:t>DDAs</a:t>
            </a:r>
            <a:r>
              <a:rPr lang="el-GR" sz="1800" dirty="0">
                <a:solidFill>
                  <a:schemeClr val="tx2"/>
                </a:solidFill>
              </a:rPr>
              <a:t> </a:t>
            </a:r>
          </a:p>
        </p:txBody>
      </p:sp>
      <p:sp>
        <p:nvSpPr>
          <p:cNvPr id="9" name="9 - TextBox">
            <a:extLst>
              <a:ext uri="{FF2B5EF4-FFF2-40B4-BE49-F238E27FC236}">
                <a16:creationId xmlns:a16="http://schemas.microsoft.com/office/drawing/2014/main" id="{DAA74F9B-F56A-4D38-8BC1-80A67B9F9551}"/>
              </a:ext>
            </a:extLst>
          </p:cNvPr>
          <p:cNvSpPr txBox="1">
            <a:spLocks noChangeArrowheads="1"/>
          </p:cNvSpPr>
          <p:nvPr/>
        </p:nvSpPr>
        <p:spPr bwMode="auto">
          <a:xfrm>
            <a:off x="7663780" y="6228020"/>
            <a:ext cx="1890261" cy="369332"/>
          </a:xfrm>
          <a:prstGeom prst="rect">
            <a:avLst/>
          </a:prstGeom>
          <a:noFill/>
          <a:ln w="9525">
            <a:noFill/>
            <a:miter lim="800000"/>
            <a:headEnd/>
            <a:tailEnd/>
          </a:ln>
        </p:spPr>
        <p:txBody>
          <a:bodyPr wrap="none">
            <a:spAutoFit/>
          </a:bodyPr>
          <a:lstStyle/>
          <a:p>
            <a:r>
              <a:rPr lang="en-US" sz="1800" dirty="0"/>
              <a:t>26</a:t>
            </a:r>
            <a:r>
              <a:rPr lang="el-GR" sz="1800" dirty="0"/>
              <a:t> Ιουλίου</a:t>
            </a:r>
            <a:r>
              <a:rPr lang="en-US" sz="1800" dirty="0"/>
              <a:t> 2017</a:t>
            </a:r>
            <a:endParaRPr lang="el-GR" sz="1800" dirty="0"/>
          </a:p>
        </p:txBody>
      </p:sp>
      <p:sp>
        <p:nvSpPr>
          <p:cNvPr id="10" name="9 - TextBox">
            <a:extLst>
              <a:ext uri="{FF2B5EF4-FFF2-40B4-BE49-F238E27FC236}">
                <a16:creationId xmlns:a16="http://schemas.microsoft.com/office/drawing/2014/main" id="{8D6F45C8-14BA-44C5-AD43-079727AFA7C9}"/>
              </a:ext>
            </a:extLst>
          </p:cNvPr>
          <p:cNvSpPr txBox="1">
            <a:spLocks noChangeArrowheads="1"/>
          </p:cNvSpPr>
          <p:nvPr/>
        </p:nvSpPr>
        <p:spPr bwMode="auto">
          <a:xfrm>
            <a:off x="4179895" y="6236171"/>
            <a:ext cx="1890261" cy="369332"/>
          </a:xfrm>
          <a:prstGeom prst="rect">
            <a:avLst/>
          </a:prstGeom>
          <a:noFill/>
          <a:ln w="9525">
            <a:noFill/>
            <a:miter lim="800000"/>
            <a:headEnd/>
            <a:tailEnd/>
          </a:ln>
        </p:spPr>
        <p:txBody>
          <a:bodyPr wrap="none">
            <a:spAutoFit/>
          </a:bodyPr>
          <a:lstStyle/>
          <a:p>
            <a:r>
              <a:rPr lang="en-US" sz="1800" dirty="0"/>
              <a:t>26</a:t>
            </a:r>
            <a:r>
              <a:rPr lang="el-GR" sz="1800" dirty="0"/>
              <a:t> Ιουλίου</a:t>
            </a:r>
            <a:r>
              <a:rPr lang="en-US" sz="1800" dirty="0"/>
              <a:t> 2017</a:t>
            </a:r>
            <a:endParaRPr lang="el-GR" sz="1800" dirty="0"/>
          </a:p>
        </p:txBody>
      </p:sp>
      <p:sp>
        <p:nvSpPr>
          <p:cNvPr id="3" name="Oval 2">
            <a:extLst>
              <a:ext uri="{FF2B5EF4-FFF2-40B4-BE49-F238E27FC236}">
                <a16:creationId xmlns:a16="http://schemas.microsoft.com/office/drawing/2014/main" id="{0356F59D-0DD0-486B-FBE3-4748F3CAEABD}"/>
              </a:ext>
            </a:extLst>
          </p:cNvPr>
          <p:cNvSpPr>
            <a:spLocks noChangeArrowheads="1"/>
          </p:cNvSpPr>
          <p:nvPr/>
        </p:nvSpPr>
        <p:spPr bwMode="auto">
          <a:xfrm>
            <a:off x="623793" y="1102306"/>
            <a:ext cx="2304255" cy="2860229"/>
          </a:xfrm>
          <a:prstGeom prst="ellipse">
            <a:avLst/>
          </a:prstGeom>
          <a:solidFill>
            <a:schemeClr val="accent5">
              <a:lumMod val="90000"/>
            </a:schemeClr>
          </a:solidFill>
          <a:ln w="9525">
            <a:noFill/>
            <a:round/>
            <a:headEnd/>
            <a:tailEnd/>
          </a:ln>
          <a:effectLst/>
        </p:spPr>
        <p:txBody>
          <a:bodyPr wrap="none" anchor="ctr"/>
          <a:lstStyle/>
          <a:p>
            <a:pPr algn="ctr">
              <a:buFont typeface="Arial" charset="0"/>
              <a:buNone/>
              <a:defRPr/>
            </a:pPr>
            <a:r>
              <a:rPr lang="en-US" sz="2000" dirty="0" err="1">
                <a:solidFill>
                  <a:schemeClr val="bg2">
                    <a:lumMod val="10000"/>
                  </a:schemeClr>
                </a:solidFill>
              </a:rPr>
              <a:t>Velpatasvir</a:t>
            </a:r>
            <a:endParaRPr lang="en-US" sz="2000" dirty="0">
              <a:solidFill>
                <a:schemeClr val="bg2">
                  <a:lumMod val="10000"/>
                </a:schemeClr>
              </a:solidFill>
            </a:endParaRPr>
          </a:p>
          <a:p>
            <a:pPr algn="ctr">
              <a:defRPr/>
            </a:pPr>
            <a:r>
              <a:rPr lang="el-GR" sz="1600" dirty="0">
                <a:solidFill>
                  <a:schemeClr val="bg2">
                    <a:lumMod val="10000"/>
                  </a:schemeClr>
                </a:solidFill>
              </a:rPr>
              <a:t>Αναστολέας </a:t>
            </a:r>
            <a:r>
              <a:rPr lang="en-US" sz="1600" dirty="0">
                <a:solidFill>
                  <a:schemeClr val="bg2">
                    <a:lumMod val="10000"/>
                  </a:schemeClr>
                </a:solidFill>
              </a:rPr>
              <a:t>NS5A</a:t>
            </a:r>
          </a:p>
          <a:p>
            <a:pPr algn="ctr">
              <a:buFont typeface="Arial" charset="0"/>
              <a:buNone/>
              <a:defRPr/>
            </a:pPr>
            <a:r>
              <a:rPr lang="en-US" sz="2000" dirty="0">
                <a:solidFill>
                  <a:schemeClr val="bg2">
                    <a:lumMod val="10000"/>
                  </a:schemeClr>
                </a:solidFill>
              </a:rPr>
              <a:t>+</a:t>
            </a:r>
            <a:r>
              <a:rPr lang="en-US" sz="2000" dirty="0" err="1">
                <a:solidFill>
                  <a:schemeClr val="bg2">
                    <a:lumMod val="10000"/>
                  </a:schemeClr>
                </a:solidFill>
              </a:rPr>
              <a:t>Sofosbuvir</a:t>
            </a:r>
            <a:endParaRPr lang="en-US" sz="2000" dirty="0">
              <a:solidFill>
                <a:schemeClr val="bg2">
                  <a:lumMod val="10000"/>
                </a:schemeClr>
              </a:solidFill>
            </a:endParaRPr>
          </a:p>
          <a:p>
            <a:pPr algn="ctr">
              <a:buFont typeface="Arial" charset="0"/>
              <a:buNone/>
              <a:defRPr/>
            </a:pPr>
            <a:r>
              <a:rPr lang="el-GR" sz="1600" dirty="0">
                <a:solidFill>
                  <a:schemeClr val="bg2">
                    <a:lumMod val="10000"/>
                  </a:schemeClr>
                </a:solidFill>
              </a:rPr>
              <a:t>Αναστολέας </a:t>
            </a:r>
            <a:r>
              <a:rPr lang="en-US" sz="1600" dirty="0">
                <a:solidFill>
                  <a:schemeClr val="bg2">
                    <a:lumMod val="10000"/>
                  </a:schemeClr>
                </a:solidFill>
              </a:rPr>
              <a:t>NS5B </a:t>
            </a:r>
          </a:p>
          <a:p>
            <a:pPr algn="ctr">
              <a:buFont typeface="Arial" charset="0"/>
              <a:buNone/>
              <a:defRPr/>
            </a:pPr>
            <a:r>
              <a:rPr lang="el-GR" sz="1600" dirty="0" err="1">
                <a:solidFill>
                  <a:schemeClr val="bg2">
                    <a:lumMod val="10000"/>
                  </a:schemeClr>
                </a:solidFill>
              </a:rPr>
              <a:t>πολυμεράσης</a:t>
            </a:r>
            <a:endParaRPr lang="en-US" sz="1600" dirty="0">
              <a:solidFill>
                <a:schemeClr val="bg2">
                  <a:lumMod val="10000"/>
                </a:schemeClr>
              </a:solidFill>
            </a:endParaRPr>
          </a:p>
          <a:p>
            <a:pPr algn="ctr">
              <a:buFont typeface="Arial" charset="0"/>
              <a:buNone/>
              <a:defRPr/>
            </a:pPr>
            <a:endParaRPr lang="en-US" sz="1600" dirty="0">
              <a:solidFill>
                <a:schemeClr val="bg2">
                  <a:lumMod val="10000"/>
                </a:schemeClr>
              </a:solidFill>
            </a:endParaRPr>
          </a:p>
        </p:txBody>
      </p:sp>
      <p:sp>
        <p:nvSpPr>
          <p:cNvPr id="4" name="12 - Στρογγυλεμένο ορθογώνιο">
            <a:extLst>
              <a:ext uri="{FF2B5EF4-FFF2-40B4-BE49-F238E27FC236}">
                <a16:creationId xmlns:a16="http://schemas.microsoft.com/office/drawing/2014/main" id="{FD07F9EC-3586-E988-262B-15893D90CD4C}"/>
              </a:ext>
            </a:extLst>
          </p:cNvPr>
          <p:cNvSpPr/>
          <p:nvPr/>
        </p:nvSpPr>
        <p:spPr bwMode="auto">
          <a:xfrm>
            <a:off x="30932" y="4604296"/>
            <a:ext cx="3168352" cy="1573638"/>
          </a:xfrm>
          <a:prstGeom prst="roundRect">
            <a:avLst/>
          </a:prstGeom>
          <a:noFill/>
          <a:ln>
            <a:solidFill>
              <a:schemeClr val="tx1"/>
            </a:solidFill>
          </a:ln>
          <a:effectLst>
            <a:prstShdw prst="shdw17" dist="17961" dir="2700000">
              <a:schemeClr val="accent1">
                <a:gamma/>
                <a:shade val="60000"/>
                <a:invGamma/>
              </a:schemeClr>
            </a:prstShdw>
          </a:effectLst>
        </p:spPr>
        <p:txBody>
          <a:bodyPr lIns="90488" tIns="44450" rIns="90488" bIns="44450"/>
          <a:lstStyle/>
          <a:p>
            <a:pPr>
              <a:spcBef>
                <a:spcPct val="75000"/>
              </a:spcBef>
              <a:buClr>
                <a:srgbClr val="FAFD00"/>
              </a:buClr>
              <a:buSzPct val="117000"/>
              <a:buFont typeface="Symbol" charset="0"/>
              <a:buChar char="·"/>
              <a:defRPr/>
            </a:pPr>
            <a:r>
              <a:rPr lang="en-US" sz="1600" dirty="0">
                <a:solidFill>
                  <a:srgbClr val="FFFFFF"/>
                </a:solidFill>
                <a:ea typeface="ＭＳ Ｐゴシック" charset="0"/>
              </a:rPr>
              <a:t> 100/400 mg</a:t>
            </a:r>
            <a:r>
              <a:rPr lang="el-GR" sz="1600" dirty="0">
                <a:solidFill>
                  <a:srgbClr val="FFFFFF"/>
                </a:solidFill>
                <a:ea typeface="ＭＳ Ｐゴシック" charset="0"/>
              </a:rPr>
              <a:t>/</a:t>
            </a:r>
            <a:r>
              <a:rPr lang="en-US" sz="1600" dirty="0">
                <a:solidFill>
                  <a:srgbClr val="FFFFFF"/>
                </a:solidFill>
                <a:ea typeface="ＭＳ Ｐゴシック" charset="0"/>
              </a:rPr>
              <a:t>24h</a:t>
            </a:r>
          </a:p>
          <a:p>
            <a:pPr>
              <a:spcBef>
                <a:spcPct val="75000"/>
              </a:spcBef>
              <a:buClr>
                <a:srgbClr val="FAFD00"/>
              </a:buClr>
              <a:buSzPct val="117000"/>
              <a:buFont typeface="Symbol" charset="0"/>
              <a:buChar char="·"/>
              <a:defRPr/>
            </a:pPr>
            <a:r>
              <a:rPr lang="en-US" sz="1600" dirty="0">
                <a:solidFill>
                  <a:srgbClr val="FFFFFF"/>
                </a:solidFill>
                <a:ea typeface="ＭＳ Ｐゴシック" charset="0"/>
              </a:rPr>
              <a:t> </a:t>
            </a:r>
            <a:r>
              <a:rPr lang="el-GR" sz="1600" b="1" dirty="0">
                <a:solidFill>
                  <a:srgbClr val="FFFFFF"/>
                </a:solidFill>
                <a:latin typeface="Arial" charset="0"/>
                <a:cs typeface="Arial" charset="0"/>
              </a:rPr>
              <a:t>Για όλους τους γονοτύπους</a:t>
            </a:r>
            <a:endParaRPr lang="en-US" sz="1600" b="1">
              <a:solidFill>
                <a:srgbClr val="FFFFFF"/>
              </a:solidFill>
              <a:latin typeface="Arial" charset="0"/>
              <a:cs typeface="Arial" charset="0"/>
            </a:endParaRPr>
          </a:p>
          <a:p>
            <a:pPr marL="169863" indent="-169863">
              <a:spcBef>
                <a:spcPct val="75000"/>
              </a:spcBef>
              <a:buClr>
                <a:srgbClr val="FAFD00"/>
              </a:buClr>
              <a:buSzPct val="117000"/>
              <a:buFont typeface="Symbol" charset="0"/>
              <a:buChar char="·"/>
              <a:defRPr/>
            </a:pPr>
            <a:r>
              <a:rPr lang="el-GR" sz="1600">
                <a:solidFill>
                  <a:srgbClr val="FFFFFF"/>
                </a:solidFill>
                <a:ea typeface="ＭＳ Ｐゴシック" charset="0"/>
              </a:rPr>
              <a:t>Υψηλός </a:t>
            </a:r>
            <a:r>
              <a:rPr lang="el-GR" sz="1600" dirty="0">
                <a:solidFill>
                  <a:srgbClr val="FFFFFF"/>
                </a:solidFill>
                <a:ea typeface="ＭＳ Ｐゴシック" charset="0"/>
              </a:rPr>
              <a:t>γενετικός φραγμός</a:t>
            </a:r>
            <a:endParaRPr lang="en-US" sz="1600" dirty="0">
              <a:solidFill>
                <a:srgbClr val="FFFFFF"/>
              </a:solidFill>
              <a:ea typeface="ＭＳ Ｐゴシック" charset="0"/>
            </a:endParaRPr>
          </a:p>
        </p:txBody>
      </p:sp>
      <p:sp>
        <p:nvSpPr>
          <p:cNvPr id="6" name="9 - TextBox">
            <a:extLst>
              <a:ext uri="{FF2B5EF4-FFF2-40B4-BE49-F238E27FC236}">
                <a16:creationId xmlns:a16="http://schemas.microsoft.com/office/drawing/2014/main" id="{3E474043-B89E-117A-4572-A9A87B9D66A2}"/>
              </a:ext>
            </a:extLst>
          </p:cNvPr>
          <p:cNvSpPr txBox="1">
            <a:spLocks noChangeArrowheads="1"/>
          </p:cNvSpPr>
          <p:nvPr/>
        </p:nvSpPr>
        <p:spPr bwMode="auto">
          <a:xfrm>
            <a:off x="779112" y="6240512"/>
            <a:ext cx="1762021" cy="369332"/>
          </a:xfrm>
          <a:prstGeom prst="rect">
            <a:avLst/>
          </a:prstGeom>
          <a:noFill/>
          <a:ln w="9525">
            <a:noFill/>
            <a:miter lim="800000"/>
            <a:headEnd/>
            <a:tailEnd/>
          </a:ln>
        </p:spPr>
        <p:txBody>
          <a:bodyPr wrap="none">
            <a:spAutoFit/>
          </a:bodyPr>
          <a:lstStyle/>
          <a:p>
            <a:r>
              <a:rPr lang="en-US" sz="1800" dirty="0"/>
              <a:t>6</a:t>
            </a:r>
            <a:r>
              <a:rPr lang="el-GR" sz="1800" dirty="0"/>
              <a:t> Ιουλίου</a:t>
            </a:r>
            <a:r>
              <a:rPr lang="en-US" sz="1800" dirty="0"/>
              <a:t> 201</a:t>
            </a:r>
            <a:r>
              <a:rPr lang="el-GR" sz="1800" dirty="0"/>
              <a:t>6</a:t>
            </a:r>
          </a:p>
        </p:txBody>
      </p:sp>
      <p:cxnSp>
        <p:nvCxnSpPr>
          <p:cNvPr id="8" name="Straight Connector 7">
            <a:extLst>
              <a:ext uri="{FF2B5EF4-FFF2-40B4-BE49-F238E27FC236}">
                <a16:creationId xmlns:a16="http://schemas.microsoft.com/office/drawing/2014/main" id="{85732A96-7481-C823-3290-9331A23C2F83}"/>
              </a:ext>
            </a:extLst>
          </p:cNvPr>
          <p:cNvCxnSpPr/>
          <p:nvPr/>
        </p:nvCxnSpPr>
        <p:spPr bwMode="auto">
          <a:xfrm>
            <a:off x="6851490" y="915887"/>
            <a:ext cx="92210" cy="5825481"/>
          </a:xfrm>
          <a:prstGeom prst="line">
            <a:avLst/>
          </a:prstGeom>
          <a:solidFill>
            <a:schemeClr val="accent1"/>
          </a:solidFill>
          <a:ln w="28575" cap="flat" cmpd="sng" algn="ctr">
            <a:solidFill>
              <a:schemeClr val="tx1"/>
            </a:solidFill>
            <a:prstDash val="dash"/>
            <a:round/>
            <a:headEnd type="none" w="sm" len="sm"/>
            <a:tailEnd type="none" w="sm" len="sm"/>
          </a:ln>
          <a:effectLst/>
        </p:spPr>
      </p:cxnSp>
    </p:spTree>
    <p:extLst>
      <p:ext uri="{BB962C8B-B14F-4D97-AF65-F5344CB8AC3E}">
        <p14:creationId xmlns:p14="http://schemas.microsoft.com/office/powerpoint/2010/main" val="1126001529"/>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p:cNvSpPr>
            <a:spLocks noGrp="1"/>
          </p:cNvSpPr>
          <p:nvPr>
            <p:ph type="title"/>
          </p:nvPr>
        </p:nvSpPr>
        <p:spPr>
          <a:xfrm>
            <a:off x="514350" y="304800"/>
            <a:ext cx="9429750" cy="676275"/>
          </a:xfrm>
        </p:spPr>
        <p:txBody>
          <a:bodyPr/>
          <a:lstStyle/>
          <a:p>
            <a:pPr eaLnBrk="1" hangingPunct="1"/>
            <a:r>
              <a:rPr lang="en-US" b="1"/>
              <a:t>ASTRAL-1, ASTRAL-2, ASTRAL-3, ASTRAL-4, ASTRAL-5: Efficacy Summary (ITT Analysis)</a:t>
            </a:r>
            <a:endParaRPr lang="en-GB" b="1"/>
          </a:p>
        </p:txBody>
      </p:sp>
      <p:graphicFrame>
        <p:nvGraphicFramePr>
          <p:cNvPr id="117763" name="Content Placeholder 5"/>
          <p:cNvGraphicFramePr>
            <a:graphicFrameLocks noGrp="1"/>
          </p:cNvGraphicFramePr>
          <p:nvPr>
            <p:ph idx="1"/>
          </p:nvPr>
        </p:nvGraphicFramePr>
        <p:xfrm>
          <a:off x="457200" y="1730378"/>
          <a:ext cx="9372600" cy="4733925"/>
        </p:xfrm>
        <a:graphic>
          <a:graphicData uri="http://schemas.openxmlformats.org/presentationml/2006/ole">
            <mc:AlternateContent xmlns:mc="http://schemas.openxmlformats.org/markup-compatibility/2006">
              <mc:Choice xmlns:v="urn:schemas-microsoft-com:vml" Requires="v">
                <p:oleObj spid="_x0000_s5122" r:id="rId3" imgW="8327858" imgH="4730906" progId="Excel.Chart.8">
                  <p:embed/>
                </p:oleObj>
              </mc:Choice>
              <mc:Fallback>
                <p:oleObj r:id="rId3" imgW="8327858" imgH="4730906" progId="Excel.Chart.8">
                  <p:embed/>
                  <p:pic>
                    <p:nvPicPr>
                      <p:cNvPr id="117763" name="Content Placeholder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730378"/>
                        <a:ext cx="9372600" cy="473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7764" name="Text Placeholder 53"/>
          <p:cNvSpPr>
            <a:spLocks noGrp="1"/>
          </p:cNvSpPr>
          <p:nvPr>
            <p:ph type="body" sz="quarter" idx="10"/>
          </p:nvPr>
        </p:nvSpPr>
        <p:spPr>
          <a:xfrm>
            <a:off x="-16074" y="6572253"/>
            <a:ext cx="10217349" cy="250825"/>
          </a:xfrm>
        </p:spPr>
        <p:txBody>
          <a:bodyPr/>
          <a:lstStyle/>
          <a:p>
            <a:pPr algn="r" eaLnBrk="1" hangingPunct="1">
              <a:spcBef>
                <a:spcPct val="0"/>
              </a:spcBef>
            </a:pPr>
            <a:r>
              <a:rPr lang="en-US" sz="1400" dirty="0">
                <a:solidFill>
                  <a:srgbClr val="000000"/>
                </a:solidFill>
              </a:rPr>
              <a:t>Feld JJ, et al. NEJM 2015; Foster GR, et al. NEJM 2015; Curry MP, et al. NEJM 2015. </a:t>
            </a:r>
          </a:p>
        </p:txBody>
      </p:sp>
      <p:sp>
        <p:nvSpPr>
          <p:cNvPr id="117765" name="Text Placeholder 54"/>
          <p:cNvSpPr>
            <a:spLocks noGrp="1"/>
          </p:cNvSpPr>
          <p:nvPr>
            <p:ph type="body" sz="quarter" idx="11"/>
          </p:nvPr>
        </p:nvSpPr>
        <p:spPr>
          <a:xfrm>
            <a:off x="1409105" y="6172203"/>
            <a:ext cx="6391870" cy="390525"/>
          </a:xfrm>
        </p:spPr>
        <p:txBody>
          <a:bodyPr/>
          <a:lstStyle/>
          <a:p>
            <a:pPr eaLnBrk="1" hangingPunct="1">
              <a:spcBef>
                <a:spcPct val="0"/>
              </a:spcBef>
            </a:pPr>
            <a:r>
              <a:rPr lang="en-GB" sz="1400"/>
              <a:t>RBV: ribavirin; SOF: sofosbuvir; VEL: velpatasvir</a:t>
            </a:r>
          </a:p>
        </p:txBody>
      </p:sp>
      <p:sp>
        <p:nvSpPr>
          <p:cNvPr id="117766" name="TextBox 4"/>
          <p:cNvSpPr txBox="1">
            <a:spLocks noChangeArrowheads="1"/>
          </p:cNvSpPr>
          <p:nvPr/>
        </p:nvSpPr>
        <p:spPr bwMode="auto">
          <a:xfrm rot="-5400000">
            <a:off x="-308272" y="3360272"/>
            <a:ext cx="1325562"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charset="0"/>
                <a:ea typeface="+mn-ea"/>
                <a:cs typeface="Arial" charset="0"/>
              </a:rPr>
              <a:t>SVR12 (%)</a:t>
            </a:r>
          </a:p>
        </p:txBody>
      </p:sp>
      <p:sp>
        <p:nvSpPr>
          <p:cNvPr id="117767" name="TextBox 5"/>
          <p:cNvSpPr txBox="1">
            <a:spLocks noChangeArrowheads="1"/>
          </p:cNvSpPr>
          <p:nvPr/>
        </p:nvSpPr>
        <p:spPr bwMode="auto">
          <a:xfrm>
            <a:off x="1400175" y="5756275"/>
            <a:ext cx="2102049"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charset="0"/>
                <a:ea typeface="+mn-ea"/>
                <a:cs typeface="Arial" charset="0"/>
              </a:rPr>
              <a:t>ASTRAL-1</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1, 2, 4‒6)</a:t>
            </a:r>
          </a:p>
        </p:txBody>
      </p:sp>
      <p:sp>
        <p:nvSpPr>
          <p:cNvPr id="117768" name="TextBox 6"/>
          <p:cNvSpPr txBox="1">
            <a:spLocks noChangeArrowheads="1"/>
          </p:cNvSpPr>
          <p:nvPr/>
        </p:nvSpPr>
        <p:spPr bwMode="auto">
          <a:xfrm>
            <a:off x="3859411" y="5756275"/>
            <a:ext cx="2100263"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charset="0"/>
                <a:ea typeface="+mn-ea"/>
                <a:cs typeface="Arial" charset="0"/>
              </a:rPr>
              <a:t>ASTRAL-2</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2)</a:t>
            </a:r>
          </a:p>
        </p:txBody>
      </p:sp>
      <p:sp>
        <p:nvSpPr>
          <p:cNvPr id="117769" name="TextBox 7"/>
          <p:cNvSpPr txBox="1">
            <a:spLocks noChangeArrowheads="1"/>
          </p:cNvSpPr>
          <p:nvPr/>
        </p:nvSpPr>
        <p:spPr bwMode="auto">
          <a:xfrm>
            <a:off x="5238157" y="5756275"/>
            <a:ext cx="2102048"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charset="0"/>
                <a:ea typeface="+mn-ea"/>
                <a:cs typeface="Arial" charset="0"/>
              </a:rPr>
              <a:t>ASTRAL-3</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3)</a:t>
            </a:r>
          </a:p>
        </p:txBody>
      </p:sp>
      <p:sp>
        <p:nvSpPr>
          <p:cNvPr id="117770" name="TextBox 8"/>
          <p:cNvSpPr txBox="1">
            <a:spLocks noChangeArrowheads="1"/>
          </p:cNvSpPr>
          <p:nvPr/>
        </p:nvSpPr>
        <p:spPr bwMode="auto">
          <a:xfrm>
            <a:off x="6986587" y="5761041"/>
            <a:ext cx="18716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charset="0"/>
                <a:ea typeface="+mn-ea"/>
                <a:cs typeface="Arial" charset="0"/>
              </a:rPr>
              <a:t>ASTRAL-4</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1‒6</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CTP-B Cirrhosis)</a:t>
            </a:r>
          </a:p>
        </p:txBody>
      </p:sp>
      <p:sp>
        <p:nvSpPr>
          <p:cNvPr id="117771" name="TextBox 9"/>
          <p:cNvSpPr txBox="1">
            <a:spLocks noChangeArrowheads="1"/>
          </p:cNvSpPr>
          <p:nvPr/>
        </p:nvSpPr>
        <p:spPr bwMode="auto">
          <a:xfrm>
            <a:off x="1284090" y="5413375"/>
            <a:ext cx="612576"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Overall</a:t>
            </a:r>
          </a:p>
        </p:txBody>
      </p:sp>
      <p:sp>
        <p:nvSpPr>
          <p:cNvPr id="117772" name="TextBox 10"/>
          <p:cNvSpPr txBox="1">
            <a:spLocks noChangeArrowheads="1"/>
          </p:cNvSpPr>
          <p:nvPr/>
        </p:nvSpPr>
        <p:spPr bwMode="auto">
          <a:xfrm>
            <a:off x="1753790" y="5413375"/>
            <a:ext cx="614363"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1</a:t>
            </a:r>
          </a:p>
        </p:txBody>
      </p:sp>
      <p:sp>
        <p:nvSpPr>
          <p:cNvPr id="117773" name="TextBox 11"/>
          <p:cNvSpPr txBox="1">
            <a:spLocks noChangeArrowheads="1"/>
          </p:cNvSpPr>
          <p:nvPr/>
        </p:nvSpPr>
        <p:spPr bwMode="auto">
          <a:xfrm>
            <a:off x="2221708" y="5413375"/>
            <a:ext cx="612577"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2</a:t>
            </a:r>
          </a:p>
        </p:txBody>
      </p:sp>
      <p:sp>
        <p:nvSpPr>
          <p:cNvPr id="117774" name="TextBox 12"/>
          <p:cNvSpPr txBox="1">
            <a:spLocks noChangeArrowheads="1"/>
          </p:cNvSpPr>
          <p:nvPr/>
        </p:nvSpPr>
        <p:spPr bwMode="auto">
          <a:xfrm>
            <a:off x="2668192" y="5413375"/>
            <a:ext cx="612577"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4</a:t>
            </a:r>
          </a:p>
        </p:txBody>
      </p:sp>
      <p:sp>
        <p:nvSpPr>
          <p:cNvPr id="117775" name="TextBox 13"/>
          <p:cNvSpPr txBox="1">
            <a:spLocks noChangeArrowheads="1"/>
          </p:cNvSpPr>
          <p:nvPr/>
        </p:nvSpPr>
        <p:spPr bwMode="auto">
          <a:xfrm>
            <a:off x="3125392" y="5413375"/>
            <a:ext cx="612577"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5</a:t>
            </a:r>
          </a:p>
        </p:txBody>
      </p:sp>
      <p:sp>
        <p:nvSpPr>
          <p:cNvPr id="117776" name="TextBox 14"/>
          <p:cNvSpPr txBox="1">
            <a:spLocks noChangeArrowheads="1"/>
          </p:cNvSpPr>
          <p:nvPr/>
        </p:nvSpPr>
        <p:spPr bwMode="auto">
          <a:xfrm>
            <a:off x="3629026" y="5413375"/>
            <a:ext cx="614363"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6</a:t>
            </a:r>
          </a:p>
        </p:txBody>
      </p:sp>
      <p:sp>
        <p:nvSpPr>
          <p:cNvPr id="16" name="Rectangle 15"/>
          <p:cNvSpPr/>
          <p:nvPr/>
        </p:nvSpPr>
        <p:spPr>
          <a:xfrm>
            <a:off x="3411140" y="1362078"/>
            <a:ext cx="185738" cy="207963"/>
          </a:xfrm>
          <a:prstGeom prst="rect">
            <a:avLst/>
          </a:prstGeom>
          <a:solidFill>
            <a:srgbClr val="97BAFF"/>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7778" name="TextBox 16"/>
          <p:cNvSpPr txBox="1">
            <a:spLocks noChangeArrowheads="1"/>
          </p:cNvSpPr>
          <p:nvPr/>
        </p:nvSpPr>
        <p:spPr bwMode="auto">
          <a:xfrm>
            <a:off x="3657600" y="1352553"/>
            <a:ext cx="978694"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charset="0"/>
                <a:ea typeface="+mn-ea"/>
                <a:cs typeface="Arial" charset="0"/>
              </a:rPr>
              <a:t>SOF/VEL</a:t>
            </a:r>
          </a:p>
        </p:txBody>
      </p:sp>
      <p:sp>
        <p:nvSpPr>
          <p:cNvPr id="18" name="Rectangle 17"/>
          <p:cNvSpPr/>
          <p:nvPr/>
        </p:nvSpPr>
        <p:spPr>
          <a:xfrm>
            <a:off x="4775597" y="1362078"/>
            <a:ext cx="185738" cy="207963"/>
          </a:xfrm>
          <a:prstGeom prst="rect">
            <a:avLst/>
          </a:prstGeom>
          <a:solidFill>
            <a:schemeClr val="accent3">
              <a:lumMod val="75000"/>
              <a:lumOff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7780" name="TextBox 18"/>
          <p:cNvSpPr txBox="1">
            <a:spLocks noChangeArrowheads="1"/>
          </p:cNvSpPr>
          <p:nvPr/>
        </p:nvSpPr>
        <p:spPr bwMode="auto">
          <a:xfrm>
            <a:off x="5023844" y="1352553"/>
            <a:ext cx="976907"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charset="0"/>
                <a:ea typeface="+mn-ea"/>
                <a:cs typeface="Arial" charset="0"/>
              </a:rPr>
              <a:t>SOF+RBV</a:t>
            </a:r>
          </a:p>
        </p:txBody>
      </p:sp>
      <p:sp>
        <p:nvSpPr>
          <p:cNvPr id="20" name="Rectangle 19"/>
          <p:cNvSpPr/>
          <p:nvPr/>
        </p:nvSpPr>
        <p:spPr>
          <a:xfrm>
            <a:off x="6198989" y="1362078"/>
            <a:ext cx="185738" cy="207963"/>
          </a:xfrm>
          <a:prstGeom prst="rect">
            <a:avLst/>
          </a:prstGeom>
          <a:solidFill>
            <a:schemeClr val="accent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7782" name="TextBox 20"/>
          <p:cNvSpPr txBox="1">
            <a:spLocks noChangeArrowheads="1"/>
          </p:cNvSpPr>
          <p:nvPr/>
        </p:nvSpPr>
        <p:spPr bwMode="auto">
          <a:xfrm>
            <a:off x="6431161" y="1352553"/>
            <a:ext cx="1626989"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charset="0"/>
                <a:ea typeface="+mn-ea"/>
                <a:cs typeface="Arial" charset="0"/>
              </a:rPr>
              <a:t>SOF/VEL + RBV</a:t>
            </a:r>
          </a:p>
        </p:txBody>
      </p:sp>
      <p:sp>
        <p:nvSpPr>
          <p:cNvPr id="117783" name="TextBox 21"/>
          <p:cNvSpPr txBox="1">
            <a:spLocks noChangeArrowheads="1"/>
          </p:cNvSpPr>
          <p:nvPr/>
        </p:nvSpPr>
        <p:spPr bwMode="auto">
          <a:xfrm>
            <a:off x="4436271" y="5413375"/>
            <a:ext cx="1005483"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12 Weeks</a:t>
            </a:r>
          </a:p>
        </p:txBody>
      </p:sp>
      <p:sp>
        <p:nvSpPr>
          <p:cNvPr id="117784" name="TextBox 22"/>
          <p:cNvSpPr txBox="1">
            <a:spLocks noChangeArrowheads="1"/>
          </p:cNvSpPr>
          <p:nvPr/>
        </p:nvSpPr>
        <p:spPr bwMode="auto">
          <a:xfrm>
            <a:off x="5672138" y="5418141"/>
            <a:ext cx="644724"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12</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Weeks</a:t>
            </a:r>
          </a:p>
        </p:txBody>
      </p:sp>
      <p:sp>
        <p:nvSpPr>
          <p:cNvPr id="117785" name="TextBox 23"/>
          <p:cNvSpPr txBox="1">
            <a:spLocks noChangeArrowheads="1"/>
          </p:cNvSpPr>
          <p:nvPr/>
        </p:nvSpPr>
        <p:spPr bwMode="auto">
          <a:xfrm>
            <a:off x="6270429" y="5418141"/>
            <a:ext cx="623292"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24</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Weeks</a:t>
            </a:r>
          </a:p>
        </p:txBody>
      </p:sp>
      <p:sp>
        <p:nvSpPr>
          <p:cNvPr id="117786" name="TextBox 24"/>
          <p:cNvSpPr txBox="1">
            <a:spLocks noChangeArrowheads="1"/>
          </p:cNvSpPr>
          <p:nvPr/>
        </p:nvSpPr>
        <p:spPr bwMode="auto">
          <a:xfrm>
            <a:off x="7184827" y="5397500"/>
            <a:ext cx="1005482"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12 Weeks</a:t>
            </a:r>
          </a:p>
        </p:txBody>
      </p:sp>
      <p:sp>
        <p:nvSpPr>
          <p:cNvPr id="117787" name="TextBox 25"/>
          <p:cNvSpPr txBox="1">
            <a:spLocks noChangeArrowheads="1"/>
          </p:cNvSpPr>
          <p:nvPr/>
        </p:nvSpPr>
        <p:spPr bwMode="auto">
          <a:xfrm>
            <a:off x="7834910" y="5380041"/>
            <a:ext cx="1039416"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24 </a:t>
            </a:r>
            <a:br>
              <a:rPr kumimoji="0" lang="en-US" sz="1200" b="0" i="0" u="none" strike="noStrike" kern="1200" cap="none" spc="0" normalizeH="0" baseline="0" noProof="0">
                <a:ln>
                  <a:noFill/>
                </a:ln>
                <a:solidFill>
                  <a:srgbClr val="000000"/>
                </a:solidFill>
                <a:effectLst/>
                <a:uLnTx/>
                <a:uFillTx/>
                <a:latin typeface="Arial" charset="0"/>
                <a:ea typeface="+mn-ea"/>
                <a:cs typeface="Arial" charset="0"/>
              </a:rPr>
            </a:b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Weeks</a:t>
            </a:r>
          </a:p>
        </p:txBody>
      </p:sp>
      <p:sp>
        <p:nvSpPr>
          <p:cNvPr id="117788" name="TextBox 26"/>
          <p:cNvSpPr txBox="1">
            <a:spLocks noChangeArrowheads="1"/>
          </p:cNvSpPr>
          <p:nvPr/>
        </p:nvSpPr>
        <p:spPr bwMode="auto">
          <a:xfrm>
            <a:off x="2153843" y="5597525"/>
            <a:ext cx="1005483"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12 Weeks</a:t>
            </a:r>
          </a:p>
        </p:txBody>
      </p:sp>
      <p:sp>
        <p:nvSpPr>
          <p:cNvPr id="117789" name="TextBox 27"/>
          <p:cNvSpPr txBox="1">
            <a:spLocks noChangeArrowheads="1"/>
          </p:cNvSpPr>
          <p:nvPr/>
        </p:nvSpPr>
        <p:spPr bwMode="auto">
          <a:xfrm>
            <a:off x="1337669" y="5013328"/>
            <a:ext cx="41969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618/</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624</a:t>
            </a:r>
          </a:p>
        </p:txBody>
      </p:sp>
      <p:sp>
        <p:nvSpPr>
          <p:cNvPr id="117790" name="TextBox 28"/>
          <p:cNvSpPr txBox="1">
            <a:spLocks noChangeArrowheads="1"/>
          </p:cNvSpPr>
          <p:nvPr/>
        </p:nvSpPr>
        <p:spPr bwMode="auto">
          <a:xfrm>
            <a:off x="1809157" y="5013328"/>
            <a:ext cx="417909"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323/</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328</a:t>
            </a:r>
          </a:p>
        </p:txBody>
      </p:sp>
      <p:sp>
        <p:nvSpPr>
          <p:cNvPr id="117791" name="TextBox 29"/>
          <p:cNvSpPr txBox="1">
            <a:spLocks noChangeArrowheads="1"/>
          </p:cNvSpPr>
          <p:nvPr/>
        </p:nvSpPr>
        <p:spPr bwMode="auto">
          <a:xfrm>
            <a:off x="2273500" y="5013328"/>
            <a:ext cx="41969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104/</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104</a:t>
            </a:r>
          </a:p>
        </p:txBody>
      </p:sp>
      <p:sp>
        <p:nvSpPr>
          <p:cNvPr id="117792" name="TextBox 30"/>
          <p:cNvSpPr txBox="1">
            <a:spLocks noChangeArrowheads="1"/>
          </p:cNvSpPr>
          <p:nvPr/>
        </p:nvSpPr>
        <p:spPr bwMode="auto">
          <a:xfrm>
            <a:off x="2711055" y="5013328"/>
            <a:ext cx="419696"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116/</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116</a:t>
            </a:r>
          </a:p>
        </p:txBody>
      </p:sp>
      <p:sp>
        <p:nvSpPr>
          <p:cNvPr id="117793" name="TextBox 31"/>
          <p:cNvSpPr txBox="1">
            <a:spLocks noChangeArrowheads="1"/>
          </p:cNvSpPr>
          <p:nvPr/>
        </p:nvSpPr>
        <p:spPr bwMode="auto">
          <a:xfrm>
            <a:off x="3136108" y="5013328"/>
            <a:ext cx="419696"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34/</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35</a:t>
            </a:r>
          </a:p>
        </p:txBody>
      </p:sp>
      <p:sp>
        <p:nvSpPr>
          <p:cNvPr id="117794" name="TextBox 32"/>
          <p:cNvSpPr txBox="1">
            <a:spLocks noChangeArrowheads="1"/>
          </p:cNvSpPr>
          <p:nvPr/>
        </p:nvSpPr>
        <p:spPr bwMode="auto">
          <a:xfrm>
            <a:off x="3618311" y="5013328"/>
            <a:ext cx="419696"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41/</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41</a:t>
            </a:r>
          </a:p>
        </p:txBody>
      </p:sp>
      <p:sp>
        <p:nvSpPr>
          <p:cNvPr id="117795" name="TextBox 33"/>
          <p:cNvSpPr txBox="1">
            <a:spLocks noChangeArrowheads="1"/>
          </p:cNvSpPr>
          <p:nvPr/>
        </p:nvSpPr>
        <p:spPr bwMode="auto">
          <a:xfrm>
            <a:off x="4466630" y="5013328"/>
            <a:ext cx="41969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133/</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134</a:t>
            </a:r>
          </a:p>
        </p:txBody>
      </p:sp>
      <p:sp>
        <p:nvSpPr>
          <p:cNvPr id="117796" name="TextBox 34"/>
          <p:cNvSpPr txBox="1">
            <a:spLocks noChangeArrowheads="1"/>
          </p:cNvSpPr>
          <p:nvPr/>
        </p:nvSpPr>
        <p:spPr bwMode="auto">
          <a:xfrm>
            <a:off x="4952405" y="5013328"/>
            <a:ext cx="41969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charset="0"/>
                <a:ea typeface="+mn-ea"/>
                <a:cs typeface="Arial" charset="0"/>
              </a:rPr>
              <a:t>124/</a:t>
            </a:r>
            <a:br>
              <a:rPr kumimoji="0" lang="en-US" sz="1000" b="1" i="0" u="none" strike="noStrike" kern="1200" cap="none" spc="0" normalizeH="0" baseline="0" noProof="0">
                <a:ln>
                  <a:noFill/>
                </a:ln>
                <a:solidFill>
                  <a:srgbClr val="FFFFFF"/>
                </a:solidFill>
                <a:effectLst/>
                <a:uLnTx/>
                <a:uFillTx/>
                <a:latin typeface="Arial" charset="0"/>
                <a:ea typeface="+mn-ea"/>
                <a:cs typeface="Arial" charset="0"/>
              </a:rPr>
            </a:br>
            <a:r>
              <a:rPr kumimoji="0" lang="en-US" sz="1000" b="1" i="0" u="none" strike="noStrike" kern="1200" cap="none" spc="0" normalizeH="0" baseline="0" noProof="0">
                <a:ln>
                  <a:noFill/>
                </a:ln>
                <a:solidFill>
                  <a:srgbClr val="FFFFFF"/>
                </a:solidFill>
                <a:effectLst/>
                <a:uLnTx/>
                <a:uFillTx/>
                <a:latin typeface="Arial" charset="0"/>
                <a:ea typeface="+mn-ea"/>
                <a:cs typeface="Arial" charset="0"/>
              </a:rPr>
              <a:t>132</a:t>
            </a:r>
          </a:p>
        </p:txBody>
      </p:sp>
      <p:sp>
        <p:nvSpPr>
          <p:cNvPr id="117797" name="TextBox 35"/>
          <p:cNvSpPr txBox="1">
            <a:spLocks noChangeArrowheads="1"/>
          </p:cNvSpPr>
          <p:nvPr/>
        </p:nvSpPr>
        <p:spPr bwMode="auto">
          <a:xfrm>
            <a:off x="5911455" y="5013328"/>
            <a:ext cx="419696"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264/</a:t>
            </a:r>
            <a:br>
              <a:rPr kumimoji="0" lang="en-US" sz="1000" b="1" i="0" u="none" strike="noStrike" kern="1200" cap="none" spc="0" normalizeH="0" baseline="0" noProof="0">
                <a:ln>
                  <a:noFill/>
                </a:ln>
                <a:solidFill>
                  <a:srgbClr val="000000"/>
                </a:solidFill>
                <a:effectLst/>
                <a:uLnTx/>
                <a:uFillTx/>
                <a:latin typeface="Arial" charset="0"/>
                <a:ea typeface="+mn-ea"/>
                <a:cs typeface="Arial" charset="0"/>
              </a:rPr>
            </a:br>
            <a:r>
              <a:rPr kumimoji="0" lang="en-US" sz="1000" b="1" i="0" u="none" strike="noStrike" kern="1200" cap="none" spc="0" normalizeH="0" baseline="0" noProof="0">
                <a:ln>
                  <a:noFill/>
                </a:ln>
                <a:solidFill>
                  <a:srgbClr val="000000"/>
                </a:solidFill>
                <a:effectLst/>
                <a:uLnTx/>
                <a:uFillTx/>
                <a:latin typeface="Arial" charset="0"/>
                <a:ea typeface="+mn-ea"/>
                <a:cs typeface="Arial" charset="0"/>
              </a:rPr>
              <a:t>277</a:t>
            </a:r>
          </a:p>
        </p:txBody>
      </p:sp>
      <p:sp>
        <p:nvSpPr>
          <p:cNvPr id="117798" name="TextBox 36"/>
          <p:cNvSpPr txBox="1">
            <a:spLocks noChangeArrowheads="1"/>
          </p:cNvSpPr>
          <p:nvPr/>
        </p:nvSpPr>
        <p:spPr bwMode="auto">
          <a:xfrm>
            <a:off x="6361511" y="5013328"/>
            <a:ext cx="419696"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charset="0"/>
                <a:ea typeface="+mn-ea"/>
                <a:cs typeface="Arial" charset="0"/>
              </a:rPr>
              <a:t>221/</a:t>
            </a:r>
            <a:br>
              <a:rPr kumimoji="0" lang="en-US" sz="1000" b="1" i="0" u="none" strike="noStrike" kern="1200" cap="none" spc="0" normalizeH="0" baseline="0" noProof="0">
                <a:ln>
                  <a:noFill/>
                </a:ln>
                <a:solidFill>
                  <a:srgbClr val="FFFFFF"/>
                </a:solidFill>
                <a:effectLst/>
                <a:uLnTx/>
                <a:uFillTx/>
                <a:latin typeface="Arial" charset="0"/>
                <a:ea typeface="+mn-ea"/>
                <a:cs typeface="Arial" charset="0"/>
              </a:rPr>
            </a:br>
            <a:r>
              <a:rPr kumimoji="0" lang="en-US" sz="1000" b="1" i="0" u="none" strike="noStrike" kern="1200" cap="none" spc="0" normalizeH="0" baseline="0" noProof="0">
                <a:ln>
                  <a:noFill/>
                </a:ln>
                <a:solidFill>
                  <a:srgbClr val="FFFFFF"/>
                </a:solidFill>
                <a:effectLst/>
                <a:uLnTx/>
                <a:uFillTx/>
                <a:latin typeface="Arial" charset="0"/>
                <a:ea typeface="+mn-ea"/>
                <a:cs typeface="Arial" charset="0"/>
              </a:rPr>
              <a:t>275</a:t>
            </a:r>
          </a:p>
        </p:txBody>
      </p:sp>
      <p:sp>
        <p:nvSpPr>
          <p:cNvPr id="117799" name="TextBox 37"/>
          <p:cNvSpPr txBox="1">
            <a:spLocks noChangeArrowheads="1"/>
          </p:cNvSpPr>
          <p:nvPr/>
        </p:nvSpPr>
        <p:spPr bwMode="auto">
          <a:xfrm>
            <a:off x="7243764" y="5013328"/>
            <a:ext cx="417909"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75/</a:t>
            </a:r>
            <a:br>
              <a:rPr kumimoji="0" lang="en-US" sz="1000" b="1" i="0" u="none" strike="noStrike" kern="1200" cap="none" spc="0" normalizeH="0" baseline="0" noProof="0">
                <a:ln>
                  <a:noFill/>
                </a:ln>
                <a:solidFill>
                  <a:prstClr val="black"/>
                </a:solidFill>
                <a:effectLst/>
                <a:uLnTx/>
                <a:uFillTx/>
                <a:latin typeface="Arial" charset="0"/>
                <a:ea typeface="+mn-ea"/>
                <a:cs typeface="Arial" charset="0"/>
              </a:rPr>
            </a:b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90</a:t>
            </a:r>
          </a:p>
        </p:txBody>
      </p:sp>
      <p:sp>
        <p:nvSpPr>
          <p:cNvPr id="117800" name="TextBox 38"/>
          <p:cNvSpPr txBox="1">
            <a:spLocks noChangeArrowheads="1"/>
          </p:cNvSpPr>
          <p:nvPr/>
        </p:nvSpPr>
        <p:spPr bwMode="auto">
          <a:xfrm>
            <a:off x="7692033" y="5013328"/>
            <a:ext cx="41969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82/</a:t>
            </a:r>
            <a:br>
              <a:rPr kumimoji="0" lang="en-US" sz="1000" b="1" i="0" u="none" strike="noStrike" kern="1200" cap="none" spc="0" normalizeH="0" baseline="0" noProof="0">
                <a:ln>
                  <a:noFill/>
                </a:ln>
                <a:solidFill>
                  <a:prstClr val="black"/>
                </a:solidFill>
                <a:effectLst/>
                <a:uLnTx/>
                <a:uFillTx/>
                <a:latin typeface="Arial" charset="0"/>
                <a:ea typeface="+mn-ea"/>
                <a:cs typeface="Arial" charset="0"/>
              </a:rPr>
            </a:b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87</a:t>
            </a:r>
          </a:p>
        </p:txBody>
      </p:sp>
      <p:sp>
        <p:nvSpPr>
          <p:cNvPr id="117801" name="TextBox 39"/>
          <p:cNvSpPr txBox="1">
            <a:spLocks noChangeArrowheads="1"/>
          </p:cNvSpPr>
          <p:nvPr/>
        </p:nvSpPr>
        <p:spPr bwMode="auto">
          <a:xfrm>
            <a:off x="8140305" y="5013328"/>
            <a:ext cx="419696"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77/</a:t>
            </a:r>
            <a:br>
              <a:rPr kumimoji="0" lang="en-US" sz="1000" b="1" i="0" u="none" strike="noStrike" kern="1200" cap="none" spc="0" normalizeH="0" baseline="0" noProof="0">
                <a:ln>
                  <a:noFill/>
                </a:ln>
                <a:solidFill>
                  <a:prstClr val="black"/>
                </a:solidFill>
                <a:effectLst/>
                <a:uLnTx/>
                <a:uFillTx/>
                <a:latin typeface="Arial" charset="0"/>
                <a:ea typeface="+mn-ea"/>
                <a:cs typeface="Arial" charset="0"/>
              </a:rPr>
            </a:b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90</a:t>
            </a:r>
          </a:p>
        </p:txBody>
      </p:sp>
      <p:sp>
        <p:nvSpPr>
          <p:cNvPr id="117802" name="TextBox 40"/>
          <p:cNvSpPr txBox="1">
            <a:spLocks noChangeArrowheads="1"/>
          </p:cNvSpPr>
          <p:nvPr/>
        </p:nvSpPr>
        <p:spPr bwMode="auto">
          <a:xfrm>
            <a:off x="9074350" y="5013328"/>
            <a:ext cx="41969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99/</a:t>
            </a:r>
            <a:br>
              <a:rPr kumimoji="0" lang="en-US" sz="1000" b="1" i="0" u="none" strike="noStrike" kern="1200" cap="none" spc="0" normalizeH="0" baseline="0" noProof="0">
                <a:ln>
                  <a:noFill/>
                </a:ln>
                <a:solidFill>
                  <a:prstClr val="black"/>
                </a:solidFill>
                <a:effectLst/>
                <a:uLnTx/>
                <a:uFillTx/>
                <a:latin typeface="Arial" charset="0"/>
                <a:ea typeface="+mn-ea"/>
                <a:cs typeface="Arial" charset="0"/>
              </a:rPr>
            </a:br>
            <a:r>
              <a:rPr kumimoji="0" lang="en-US" sz="1000" b="1" i="0" u="none" strike="noStrike" kern="1200" cap="none" spc="0" normalizeH="0" baseline="0" noProof="0">
                <a:ln>
                  <a:noFill/>
                </a:ln>
                <a:solidFill>
                  <a:prstClr val="black"/>
                </a:solidFill>
                <a:effectLst/>
                <a:uLnTx/>
                <a:uFillTx/>
                <a:latin typeface="Arial" charset="0"/>
                <a:ea typeface="+mn-ea"/>
                <a:cs typeface="Arial" charset="0"/>
              </a:rPr>
              <a:t>104</a:t>
            </a:r>
          </a:p>
        </p:txBody>
      </p:sp>
      <p:sp>
        <p:nvSpPr>
          <p:cNvPr id="117803" name="TextBox 41"/>
          <p:cNvSpPr txBox="1">
            <a:spLocks noChangeArrowheads="1"/>
          </p:cNvSpPr>
          <p:nvPr/>
        </p:nvSpPr>
        <p:spPr bwMode="auto">
          <a:xfrm>
            <a:off x="8777884" y="5418141"/>
            <a:ext cx="1005482"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12 </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Weeks</a:t>
            </a:r>
          </a:p>
        </p:txBody>
      </p:sp>
      <p:sp>
        <p:nvSpPr>
          <p:cNvPr id="117804" name="TextBox 42"/>
          <p:cNvSpPr txBox="1">
            <a:spLocks noChangeArrowheads="1"/>
          </p:cNvSpPr>
          <p:nvPr/>
        </p:nvSpPr>
        <p:spPr bwMode="auto">
          <a:xfrm>
            <a:off x="8476061" y="5761041"/>
            <a:ext cx="165556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charset="0"/>
                <a:ea typeface="+mn-ea"/>
                <a:cs typeface="Arial" charset="0"/>
              </a:rPr>
              <a:t>ASTRAL-5</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mn-ea"/>
                <a:cs typeface="Arial" charset="0"/>
              </a:rPr>
              <a:t>(GT 1-6 HIV/HCV Coinfection)</a:t>
            </a:r>
          </a:p>
        </p:txBody>
      </p:sp>
      <p:sp>
        <p:nvSpPr>
          <p:cNvPr id="117805" name="Right Bracket 43"/>
          <p:cNvSpPr>
            <a:spLocks/>
          </p:cNvSpPr>
          <p:nvPr/>
        </p:nvSpPr>
        <p:spPr bwMode="auto">
          <a:xfrm rot="-5400000">
            <a:off x="4979294" y="1571328"/>
            <a:ext cx="87312" cy="548282"/>
          </a:xfrm>
          <a:prstGeom prst="rightBracket">
            <a:avLst>
              <a:gd name="adj" fmla="val 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25000"/>
              </a:spcAft>
              <a:buClrTx/>
              <a:buSzTx/>
              <a:buFontTx/>
              <a:buChar char="•"/>
              <a:tabLst/>
              <a:defRPr/>
            </a:pPr>
            <a:endParaRPr kumimoji="0" lang="en-US" sz="2400" b="1" i="0" u="none" strike="noStrike" kern="1200" cap="none" spc="0" normalizeH="0" baseline="-25000" noProof="0">
              <a:ln>
                <a:noFill/>
              </a:ln>
              <a:solidFill>
                <a:srgbClr val="000000"/>
              </a:solidFill>
              <a:effectLst/>
              <a:uLnTx/>
              <a:uFillTx/>
              <a:latin typeface="Arial" charset="0"/>
              <a:ea typeface="+mn-ea"/>
              <a:cs typeface="Arial" charset="0"/>
            </a:endParaRPr>
          </a:p>
        </p:txBody>
      </p:sp>
      <p:sp>
        <p:nvSpPr>
          <p:cNvPr id="117806" name="TextBox 44"/>
          <p:cNvSpPr txBox="1">
            <a:spLocks noChangeArrowheads="1"/>
          </p:cNvSpPr>
          <p:nvPr/>
        </p:nvSpPr>
        <p:spPr bwMode="auto">
          <a:xfrm>
            <a:off x="4611290" y="1508128"/>
            <a:ext cx="887612"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charset="0"/>
                <a:ea typeface="+mn-ea"/>
                <a:cs typeface="Arial" charset="0"/>
              </a:rPr>
              <a:t>P</a:t>
            </a:r>
            <a:r>
              <a:rPr kumimoji="0" lang="en-US" sz="1100" b="0" i="0" u="none" strike="noStrike" kern="1200" cap="none" spc="0" normalizeH="0" baseline="0" noProof="0">
                <a:ln>
                  <a:noFill/>
                </a:ln>
                <a:solidFill>
                  <a:srgbClr val="000000"/>
                </a:solidFill>
                <a:effectLst/>
                <a:uLnTx/>
                <a:uFillTx/>
                <a:latin typeface="Arial" charset="0"/>
                <a:ea typeface="+mn-ea"/>
                <a:cs typeface="Arial" charset="0"/>
              </a:rPr>
              <a:t>=0.018*</a:t>
            </a:r>
          </a:p>
        </p:txBody>
      </p:sp>
      <p:sp>
        <p:nvSpPr>
          <p:cNvPr id="117807" name="Right Bracket 45"/>
          <p:cNvSpPr>
            <a:spLocks/>
          </p:cNvSpPr>
          <p:nvPr/>
        </p:nvSpPr>
        <p:spPr bwMode="auto">
          <a:xfrm rot="-5400000">
            <a:off x="6401793" y="1646636"/>
            <a:ext cx="87312" cy="550069"/>
          </a:xfrm>
          <a:prstGeom prst="rightBracket">
            <a:avLst>
              <a:gd name="adj" fmla="val 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25000"/>
              </a:spcAft>
              <a:buClrTx/>
              <a:buSzTx/>
              <a:buFontTx/>
              <a:buChar char="•"/>
              <a:tabLst/>
              <a:defRPr/>
            </a:pPr>
            <a:endParaRPr kumimoji="0" lang="en-US" sz="2400" b="1" i="0" u="none" strike="noStrike" kern="1200" cap="none" spc="0" normalizeH="0" baseline="-25000" noProof="0">
              <a:ln>
                <a:noFill/>
              </a:ln>
              <a:solidFill>
                <a:srgbClr val="000000"/>
              </a:solidFill>
              <a:effectLst/>
              <a:uLnTx/>
              <a:uFillTx/>
              <a:latin typeface="Arial" charset="0"/>
              <a:ea typeface="+mn-ea"/>
              <a:cs typeface="Arial" charset="0"/>
            </a:endParaRPr>
          </a:p>
        </p:txBody>
      </p:sp>
      <p:sp>
        <p:nvSpPr>
          <p:cNvPr id="117808" name="TextBox 46"/>
          <p:cNvSpPr txBox="1">
            <a:spLocks noChangeArrowheads="1"/>
          </p:cNvSpPr>
          <p:nvPr/>
        </p:nvSpPr>
        <p:spPr bwMode="auto">
          <a:xfrm>
            <a:off x="6032899" y="1584328"/>
            <a:ext cx="889397"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1" u="none" strike="noStrike" kern="1200" cap="none" spc="0" normalizeH="0" baseline="0" noProof="0">
                <a:ln>
                  <a:noFill/>
                </a:ln>
                <a:solidFill>
                  <a:srgbClr val="000000"/>
                </a:solidFill>
                <a:effectLst/>
                <a:uLnTx/>
                <a:uFillTx/>
                <a:latin typeface="Arial" charset="0"/>
                <a:ea typeface="+mn-ea"/>
                <a:cs typeface="Arial" charset="0"/>
              </a:rPr>
              <a:t>P</a:t>
            </a:r>
            <a:r>
              <a:rPr kumimoji="0" lang="en-US" sz="1100" b="0" i="0" u="none" strike="noStrike" kern="1200" cap="none" spc="0" normalizeH="0" baseline="0" noProof="0">
                <a:ln>
                  <a:noFill/>
                </a:ln>
                <a:solidFill>
                  <a:srgbClr val="000000"/>
                </a:solidFill>
                <a:effectLst/>
                <a:uLnTx/>
                <a:uFillTx/>
                <a:latin typeface="Arial" charset="0"/>
                <a:ea typeface="+mn-ea"/>
                <a:cs typeface="Arial" charset="0"/>
              </a:rPr>
              <a:t>&lt;0.001*</a:t>
            </a:r>
          </a:p>
        </p:txBody>
      </p:sp>
      <p:sp>
        <p:nvSpPr>
          <p:cNvPr id="117809" name="Rectangle 47"/>
          <p:cNvSpPr>
            <a:spLocks noChangeArrowheads="1"/>
          </p:cNvSpPr>
          <p:nvPr/>
        </p:nvSpPr>
        <p:spPr bwMode="auto">
          <a:xfrm>
            <a:off x="85725" y="6181728"/>
            <a:ext cx="334684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charset="0"/>
                <a:ea typeface="+mn-ea"/>
                <a:cs typeface="Arial" charset="0"/>
              </a:rPr>
              <a:t>*</a:t>
            </a:r>
            <a:r>
              <a:rPr kumimoji="0" lang="en-US" sz="1400" b="0" i="1" u="none" strike="noStrike" kern="1200" cap="none" spc="0" normalizeH="0" baseline="0" noProof="0">
                <a:ln>
                  <a:noFill/>
                </a:ln>
                <a:solidFill>
                  <a:srgbClr val="000000"/>
                </a:solidFill>
                <a:effectLst/>
                <a:uLnTx/>
                <a:uFillTx/>
                <a:latin typeface="Arial" charset="0"/>
                <a:ea typeface="+mn-ea"/>
                <a:cs typeface="Arial" charset="0"/>
              </a:rPr>
              <a:t>P</a:t>
            </a:r>
            <a:r>
              <a:rPr kumimoji="0" lang="en-US" sz="1400" b="0" i="0" u="none" strike="noStrike" kern="1200" cap="none" spc="0" normalizeH="0" baseline="0" noProof="0">
                <a:ln>
                  <a:noFill/>
                </a:ln>
                <a:solidFill>
                  <a:srgbClr val="000000"/>
                </a:solidFill>
                <a:effectLst/>
                <a:uLnTx/>
                <a:uFillTx/>
                <a:latin typeface="Arial" charset="0"/>
                <a:ea typeface="+mn-ea"/>
                <a:cs typeface="Arial" charset="0"/>
              </a:rPr>
              <a:t>-value for superiority of SOF/VEL compared with SOF+RBV. </a:t>
            </a:r>
            <a:endParaRPr kumimoji="0" lang="en-US" sz="1400" b="0" i="0" u="none" strike="noStrike" kern="1200" cap="none" spc="0" normalizeH="0" baseline="0" noProof="0">
              <a:ln>
                <a:noFill/>
              </a:ln>
              <a:solidFill>
                <a:prstClr val="black"/>
              </a:solidFill>
              <a:effectLst/>
              <a:uLnTx/>
              <a:uFillTx/>
              <a:latin typeface="Arial" charset="0"/>
              <a:ea typeface="+mn-ea"/>
              <a:cs typeface="Arial" charset="0"/>
            </a:endParaRPr>
          </a:p>
        </p:txBody>
      </p:sp>
      <p:sp>
        <p:nvSpPr>
          <p:cNvPr id="117810" name="Text Placeholder 5"/>
          <p:cNvSpPr>
            <a:spLocks/>
          </p:cNvSpPr>
          <p:nvPr/>
        </p:nvSpPr>
        <p:spPr bwMode="auto">
          <a:xfrm>
            <a:off x="80368" y="6283328"/>
            <a:ext cx="7538442"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17811" name="Text Placeholder 6"/>
          <p:cNvSpPr>
            <a:spLocks/>
          </p:cNvSpPr>
          <p:nvPr/>
        </p:nvSpPr>
        <p:spPr bwMode="auto">
          <a:xfrm>
            <a:off x="7995643" y="5616578"/>
            <a:ext cx="4582716"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1448212485"/>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200" dirty="0"/>
              <a:t>Integrated Efficacy Analysis of 8 and 12 Weeks of G/P in </a:t>
            </a:r>
            <a:br>
              <a:rPr lang="en-GB" sz="2200" dirty="0"/>
            </a:br>
            <a:r>
              <a:rPr lang="en-GB" sz="2200" dirty="0"/>
              <a:t>HCV Genotype 1–6 Infected Patients without Cirrhosis (Efficacy ITT)</a:t>
            </a:r>
          </a:p>
        </p:txBody>
      </p:sp>
      <p:sp>
        <p:nvSpPr>
          <p:cNvPr id="4" name="Content Placeholder 3"/>
          <p:cNvSpPr>
            <a:spLocks noGrp="1"/>
          </p:cNvSpPr>
          <p:nvPr>
            <p:ph sz="quarter" idx="12"/>
          </p:nvPr>
        </p:nvSpPr>
        <p:spPr>
          <a:xfrm>
            <a:off x="466132" y="6064550"/>
            <a:ext cx="5131213" cy="461665"/>
          </a:xfrm>
        </p:spPr>
        <p:txBody>
          <a:bodyPr/>
          <a:lstStyle/>
          <a:p>
            <a:r>
              <a:rPr lang="en-GB" dirty="0"/>
              <a:t>ITT, intent-to-treat.</a:t>
            </a:r>
          </a:p>
          <a:p>
            <a:r>
              <a:rPr lang="en-GB" dirty="0"/>
              <a:t>* Includes only GT3 patients who were treatment-naïve; † Patient missing SVR data returned after </a:t>
            </a:r>
          </a:p>
          <a:p>
            <a:r>
              <a:rPr lang="en-GB" dirty="0"/>
              <a:t>post-treatment week 12 and had achieved HCV RNA &lt;lower limit of quantification.</a:t>
            </a:r>
          </a:p>
        </p:txBody>
      </p:sp>
      <p:graphicFrame>
        <p:nvGraphicFramePr>
          <p:cNvPr id="23" name="Chart 22"/>
          <p:cNvGraphicFramePr/>
          <p:nvPr/>
        </p:nvGraphicFramePr>
        <p:xfrm>
          <a:off x="211722" y="885825"/>
          <a:ext cx="9792318" cy="4631407"/>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p:cNvSpPr txBox="1"/>
          <p:nvPr/>
        </p:nvSpPr>
        <p:spPr>
          <a:xfrm>
            <a:off x="2672725" y="4253694"/>
            <a:ext cx="458780"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FFFFFF"/>
                </a:solidFill>
                <a:effectLst/>
                <a:uLnTx/>
                <a:uFillTx/>
                <a:latin typeface="Calibri"/>
                <a:ea typeface="+mn-ea"/>
                <a:cs typeface="Arial"/>
              </a:rPr>
              <a:t>383</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alibri"/>
                <a:ea typeface="+mn-ea"/>
                <a:cs typeface="Arial"/>
              </a:rPr>
              <a:t>387</a:t>
            </a:r>
            <a:endParaRPr kumimoji="0" lang="en-US" sz="1400" b="1" i="0" u="none" strike="noStrike" kern="0" cap="none" spc="0" normalizeH="0" baseline="0" noProof="0" dirty="0">
              <a:ln>
                <a:noFill/>
              </a:ln>
              <a:solidFill>
                <a:srgbClr val="FFFFFF"/>
              </a:solidFill>
              <a:effectLst/>
              <a:uLnTx/>
              <a:uFillTx/>
              <a:latin typeface="Calibri"/>
              <a:ea typeface="+mn-ea"/>
              <a:cs typeface="Arial"/>
            </a:endParaRPr>
          </a:p>
        </p:txBody>
      </p:sp>
      <p:sp>
        <p:nvSpPr>
          <p:cNvPr id="25" name="TextBox 24"/>
          <p:cNvSpPr txBox="1"/>
          <p:nvPr/>
        </p:nvSpPr>
        <p:spPr>
          <a:xfrm>
            <a:off x="3136475" y="4253694"/>
            <a:ext cx="458780"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400</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401</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26" name="TextBox 25"/>
          <p:cNvSpPr txBox="1"/>
          <p:nvPr/>
        </p:nvSpPr>
        <p:spPr>
          <a:xfrm>
            <a:off x="3874096" y="4253694"/>
            <a:ext cx="458780"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FFFFFF"/>
                </a:solidFill>
                <a:effectLst/>
                <a:uLnTx/>
                <a:uFillTx/>
                <a:latin typeface="Calibri"/>
                <a:ea typeface="+mn-ea"/>
                <a:cs typeface="Arial"/>
              </a:rPr>
              <a:t>193</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alibri"/>
                <a:ea typeface="+mn-ea"/>
                <a:cs typeface="Arial"/>
              </a:rPr>
              <a:t>197</a:t>
            </a:r>
            <a:endParaRPr kumimoji="0" lang="en-US" sz="1400" b="1" i="0" u="none" strike="noStrike" kern="0" cap="none" spc="0" normalizeH="0" baseline="0" noProof="0" dirty="0">
              <a:ln>
                <a:noFill/>
              </a:ln>
              <a:solidFill>
                <a:srgbClr val="FFFFFF"/>
              </a:solidFill>
              <a:effectLst/>
              <a:uLnTx/>
              <a:uFillTx/>
              <a:latin typeface="Calibri"/>
              <a:ea typeface="+mn-ea"/>
              <a:cs typeface="Arial"/>
            </a:endParaRPr>
          </a:p>
        </p:txBody>
      </p:sp>
      <p:sp>
        <p:nvSpPr>
          <p:cNvPr id="27" name="TextBox 26"/>
          <p:cNvSpPr txBox="1"/>
          <p:nvPr/>
        </p:nvSpPr>
        <p:spPr>
          <a:xfrm>
            <a:off x="4331314" y="4253694"/>
            <a:ext cx="458780"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232</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234</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28" name="TextBox 27"/>
          <p:cNvSpPr txBox="1"/>
          <p:nvPr/>
        </p:nvSpPr>
        <p:spPr>
          <a:xfrm>
            <a:off x="5083295" y="4253694"/>
            <a:ext cx="458780"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FFFFFF"/>
                </a:solidFill>
                <a:effectLst/>
                <a:uLnTx/>
                <a:uFillTx/>
                <a:latin typeface="Calibri"/>
                <a:ea typeface="+mn-ea"/>
                <a:cs typeface="Arial"/>
              </a:rPr>
              <a:t>177</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alibri"/>
                <a:ea typeface="+mn-ea"/>
                <a:cs typeface="Arial"/>
              </a:rPr>
              <a:t>186</a:t>
            </a:r>
            <a:endParaRPr kumimoji="0" lang="en-US" sz="1400" b="1" i="0" u="none" strike="noStrike" kern="0" cap="none" spc="0" normalizeH="0" baseline="0" noProof="0" dirty="0">
              <a:ln>
                <a:noFill/>
              </a:ln>
              <a:solidFill>
                <a:srgbClr val="FFFFFF"/>
              </a:solidFill>
              <a:effectLst/>
              <a:uLnTx/>
              <a:uFillTx/>
              <a:latin typeface="Calibri"/>
              <a:ea typeface="+mn-ea"/>
              <a:cs typeface="Arial"/>
            </a:endParaRPr>
          </a:p>
        </p:txBody>
      </p:sp>
      <p:sp>
        <p:nvSpPr>
          <p:cNvPr id="29" name="TextBox 28"/>
          <p:cNvSpPr txBox="1"/>
          <p:nvPr/>
        </p:nvSpPr>
        <p:spPr>
          <a:xfrm>
            <a:off x="5561272" y="4253694"/>
            <a:ext cx="458779"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258</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270</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30" name="TextBox 29"/>
          <p:cNvSpPr txBox="1"/>
          <p:nvPr/>
        </p:nvSpPr>
        <p:spPr>
          <a:xfrm>
            <a:off x="6313268" y="4253694"/>
            <a:ext cx="367408"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FFFFFF"/>
                </a:solidFill>
                <a:effectLst/>
                <a:uLnTx/>
                <a:uFillTx/>
                <a:latin typeface="Calibri"/>
                <a:ea typeface="+mn-ea"/>
                <a:cs typeface="Arial"/>
              </a:rPr>
              <a:t>43</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alibri"/>
                <a:ea typeface="+mn-ea"/>
                <a:cs typeface="Arial"/>
              </a:rPr>
              <a:t>46</a:t>
            </a:r>
            <a:endParaRPr kumimoji="0" lang="en-US" sz="1400" b="1" i="0" u="none" strike="noStrike" kern="0" cap="none" spc="0" normalizeH="0" baseline="0" noProof="0" dirty="0">
              <a:ln>
                <a:noFill/>
              </a:ln>
              <a:solidFill>
                <a:srgbClr val="FFFFFF"/>
              </a:solidFill>
              <a:effectLst/>
              <a:uLnTx/>
              <a:uFillTx/>
              <a:latin typeface="Calibri"/>
              <a:ea typeface="+mn-ea"/>
              <a:cs typeface="Arial"/>
            </a:endParaRPr>
          </a:p>
        </p:txBody>
      </p:sp>
      <p:sp>
        <p:nvSpPr>
          <p:cNvPr id="31" name="TextBox 30"/>
          <p:cNvSpPr txBox="1"/>
          <p:nvPr/>
        </p:nvSpPr>
        <p:spPr>
          <a:xfrm>
            <a:off x="6741403" y="4253694"/>
            <a:ext cx="458779"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111</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112</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32" name="TextBox 31"/>
          <p:cNvSpPr txBox="1"/>
          <p:nvPr/>
        </p:nvSpPr>
        <p:spPr>
          <a:xfrm>
            <a:off x="7575464" y="4253694"/>
            <a:ext cx="276037"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FFFFFF"/>
                </a:solidFill>
                <a:effectLst/>
                <a:uLnTx/>
                <a:uFillTx/>
                <a:latin typeface="Calibri"/>
                <a:ea typeface="+mn-ea"/>
                <a:cs typeface="Arial"/>
              </a:rPr>
              <a:t>2</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alibri"/>
                <a:ea typeface="+mn-ea"/>
                <a:cs typeface="Arial"/>
              </a:rPr>
              <a:t>2</a:t>
            </a:r>
            <a:endParaRPr kumimoji="0" lang="en-US" sz="1400" b="1" i="0" u="none" strike="noStrike" kern="0" cap="none" spc="0" normalizeH="0" baseline="0" noProof="0" dirty="0">
              <a:ln>
                <a:noFill/>
              </a:ln>
              <a:solidFill>
                <a:srgbClr val="FFFFFF"/>
              </a:solidFill>
              <a:effectLst/>
              <a:uLnTx/>
              <a:uFillTx/>
              <a:latin typeface="Calibri"/>
              <a:ea typeface="+mn-ea"/>
              <a:cs typeface="Arial"/>
            </a:endParaRPr>
          </a:p>
        </p:txBody>
      </p:sp>
      <p:sp>
        <p:nvSpPr>
          <p:cNvPr id="33" name="TextBox 32"/>
          <p:cNvSpPr txBox="1"/>
          <p:nvPr/>
        </p:nvSpPr>
        <p:spPr>
          <a:xfrm>
            <a:off x="7980501" y="4253694"/>
            <a:ext cx="367408"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28</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28</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34" name="TextBox 33"/>
          <p:cNvSpPr txBox="1"/>
          <p:nvPr/>
        </p:nvSpPr>
        <p:spPr>
          <a:xfrm>
            <a:off x="8736849" y="4253694"/>
            <a:ext cx="367408"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FFFFFF"/>
                </a:solidFill>
                <a:effectLst/>
                <a:uLnTx/>
                <a:uFillTx/>
                <a:latin typeface="Calibri"/>
                <a:ea typeface="+mn-ea"/>
                <a:cs typeface="Arial"/>
              </a:rPr>
              <a:t>9</a:t>
            </a:r>
            <a:r>
              <a:rPr kumimoji="0" lang="en-GB" sz="1400" b="1" i="0" u="sng" strike="noStrike" kern="0" cap="none" spc="0" normalizeH="0" baseline="30000" noProof="0" dirty="0">
                <a:ln>
                  <a:noFill/>
                </a:ln>
                <a:solidFill>
                  <a:srgbClr val="FFFFFF"/>
                </a:solidFill>
                <a:effectLst/>
                <a:uLnTx/>
                <a:uFillTx/>
                <a:latin typeface="Calibri"/>
                <a:ea typeface="+mn-ea"/>
                <a:cs typeface="Arial"/>
              </a:rPr>
              <a:t>†</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Calibri"/>
                <a:ea typeface="+mn-ea"/>
                <a:cs typeface="Arial"/>
              </a:rPr>
              <a:t>10</a:t>
            </a:r>
            <a:endParaRPr kumimoji="0" lang="en-US" sz="1400" b="1" i="0" u="none" strike="noStrike" kern="0" cap="none" spc="0" normalizeH="0" baseline="0" noProof="0" dirty="0">
              <a:ln>
                <a:noFill/>
              </a:ln>
              <a:solidFill>
                <a:srgbClr val="FFFFFF"/>
              </a:solidFill>
              <a:effectLst/>
              <a:uLnTx/>
              <a:uFillTx/>
              <a:latin typeface="Calibri"/>
              <a:ea typeface="+mn-ea"/>
              <a:cs typeface="Arial"/>
            </a:endParaRPr>
          </a:p>
        </p:txBody>
      </p:sp>
      <p:sp>
        <p:nvSpPr>
          <p:cNvPr id="35" name="TextBox 34"/>
          <p:cNvSpPr txBox="1"/>
          <p:nvPr/>
        </p:nvSpPr>
        <p:spPr>
          <a:xfrm>
            <a:off x="9191296" y="4253694"/>
            <a:ext cx="367408" cy="523220"/>
          </a:xfrm>
          <a:prstGeom prst="rect">
            <a:avLst/>
          </a:prstGeom>
          <a:noFill/>
        </p:spPr>
        <p:txBody>
          <a:bodyPr wrap="none" rtlCol="0">
            <a:spAutoFit/>
          </a:bodyPr>
          <a:lstStyle/>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31</a:t>
            </a:r>
          </a:p>
          <a:p>
            <a:pPr marL="0" marR="0" lvl="0" indent="0" algn="ctr"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31</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36" name="TextBox 35"/>
          <p:cNvSpPr txBox="1"/>
          <p:nvPr/>
        </p:nvSpPr>
        <p:spPr>
          <a:xfrm>
            <a:off x="1448525" y="4251995"/>
            <a:ext cx="458780"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US" sz="1400" b="1" i="0" u="sng" strike="noStrike" kern="0" cap="none" spc="0" normalizeH="0" baseline="0" noProof="0" dirty="0">
                <a:ln>
                  <a:noFill/>
                </a:ln>
                <a:solidFill>
                  <a:srgbClr val="FFFFFF"/>
                </a:solidFill>
                <a:effectLst/>
                <a:uLnTx/>
                <a:uFillTx/>
                <a:latin typeface="Calibri"/>
                <a:ea typeface="+mn-ea"/>
                <a:cs typeface="Arial"/>
              </a:rPr>
              <a:t>943</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ea typeface="+mn-ea"/>
                <a:cs typeface="Arial"/>
              </a:rPr>
              <a:t>965</a:t>
            </a:r>
          </a:p>
        </p:txBody>
      </p:sp>
      <p:sp>
        <p:nvSpPr>
          <p:cNvPr id="37" name="TextBox 36"/>
          <p:cNvSpPr txBox="1"/>
          <p:nvPr/>
        </p:nvSpPr>
        <p:spPr>
          <a:xfrm>
            <a:off x="1862637" y="4251995"/>
            <a:ext cx="550151"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1D49"/>
                </a:solidFill>
                <a:effectLst/>
                <a:uLnTx/>
                <a:uFillTx/>
                <a:latin typeface="Calibri"/>
                <a:ea typeface="+mn-ea"/>
                <a:cs typeface="Arial"/>
              </a:rPr>
              <a:t>1060</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1D49"/>
                </a:solidFill>
                <a:effectLst/>
                <a:uLnTx/>
                <a:uFillTx/>
                <a:latin typeface="Calibri"/>
                <a:ea typeface="+mn-ea"/>
                <a:cs typeface="Arial"/>
              </a:rPr>
              <a:t>1076</a:t>
            </a:r>
            <a:endParaRPr kumimoji="0" lang="en-US" sz="1400" b="1" i="0" u="none" strike="noStrike" kern="0" cap="none" spc="0" normalizeH="0" baseline="0" noProof="0" dirty="0">
              <a:ln>
                <a:noFill/>
              </a:ln>
              <a:solidFill>
                <a:srgbClr val="071D49"/>
              </a:solidFill>
              <a:effectLst/>
              <a:uLnTx/>
              <a:uFillTx/>
              <a:latin typeface="Calibri"/>
              <a:ea typeface="+mn-ea"/>
              <a:cs typeface="Arial"/>
            </a:endParaRPr>
          </a:p>
        </p:txBody>
      </p:sp>
      <p:sp>
        <p:nvSpPr>
          <p:cNvPr id="38" name="TextBox 37"/>
          <p:cNvSpPr txBox="1"/>
          <p:nvPr/>
        </p:nvSpPr>
        <p:spPr>
          <a:xfrm>
            <a:off x="1095436" y="4255393"/>
            <a:ext cx="303288" cy="523220"/>
          </a:xfrm>
          <a:prstGeom prst="rect">
            <a:avLst/>
          </a:prstGeom>
          <a:noFill/>
        </p:spPr>
        <p:txBody>
          <a:bodyPr wrap="none" rtlCol="0">
            <a:spAutoFit/>
          </a:bodyPr>
          <a:lstStyle/>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sng" strike="noStrike" kern="0" cap="none" spc="0" normalizeH="0" baseline="0" noProof="0" dirty="0">
                <a:ln>
                  <a:noFill/>
                </a:ln>
                <a:solidFill>
                  <a:srgbClr val="070605"/>
                </a:solidFill>
                <a:effectLst/>
                <a:uLnTx/>
                <a:uFillTx/>
                <a:latin typeface="Calibri"/>
                <a:ea typeface="+mn-ea"/>
                <a:cs typeface="Arial"/>
              </a:rPr>
              <a:t>n</a:t>
            </a:r>
          </a:p>
          <a:p>
            <a:pPr marL="0" marR="0" lvl="0" indent="0" algn="l" defTabSz="45713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70605"/>
                </a:solidFill>
                <a:effectLst/>
                <a:uLnTx/>
                <a:uFillTx/>
                <a:latin typeface="Calibri"/>
                <a:ea typeface="+mn-ea"/>
                <a:cs typeface="Arial"/>
              </a:rPr>
              <a:t>N</a:t>
            </a:r>
            <a:endParaRPr kumimoji="0" lang="en-US" sz="1400" b="1" i="0" u="none" strike="noStrike" kern="0" cap="none" spc="0" normalizeH="0" baseline="0" noProof="0" dirty="0">
              <a:ln>
                <a:noFill/>
              </a:ln>
              <a:solidFill>
                <a:srgbClr val="070605"/>
              </a:solidFill>
              <a:effectLst/>
              <a:uLnTx/>
              <a:uFillTx/>
              <a:latin typeface="Calibri"/>
              <a:ea typeface="+mn-ea"/>
              <a:cs typeface="Arial"/>
            </a:endParaRPr>
          </a:p>
        </p:txBody>
      </p:sp>
      <p:sp>
        <p:nvSpPr>
          <p:cNvPr id="39" name="Rounded Rectangle 9"/>
          <p:cNvSpPr/>
          <p:nvPr/>
        </p:nvSpPr>
        <p:spPr>
          <a:xfrm>
            <a:off x="1518347" y="5301211"/>
            <a:ext cx="7250306" cy="546461"/>
          </a:xfrm>
          <a:prstGeom prst="roundRect">
            <a:avLst/>
          </a:prstGeom>
          <a:solidFill>
            <a:srgbClr val="84BD00">
              <a:lumMod val="20000"/>
              <a:lumOff val="80000"/>
            </a:srgbClr>
          </a:solidFill>
          <a:ln w="38100" cap="flat" cmpd="sng" algn="ctr">
            <a:solidFill>
              <a:srgbClr val="84BD00"/>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70605"/>
                </a:solidFill>
                <a:effectLst/>
                <a:uLnTx/>
                <a:uFillTx/>
                <a:latin typeface="Calibri"/>
                <a:ea typeface="+mn-ea"/>
                <a:cs typeface="Arial"/>
              </a:rPr>
              <a:t>High overall SVR12 rates (≥98%) after 8 and 12 weeks G/P</a:t>
            </a:r>
          </a:p>
        </p:txBody>
      </p:sp>
      <p:sp>
        <p:nvSpPr>
          <p:cNvPr id="40" name="Content Placeholder 5"/>
          <p:cNvSpPr>
            <a:spLocks noGrp="1"/>
          </p:cNvSpPr>
          <p:nvPr>
            <p:ph sz="quarter" idx="11"/>
          </p:nvPr>
        </p:nvSpPr>
        <p:spPr>
          <a:xfrm>
            <a:off x="7452505" y="6372324"/>
            <a:ext cx="2361223" cy="153888"/>
          </a:xfrm>
        </p:spPr>
        <p:txBody>
          <a:bodyPr/>
          <a:lstStyle/>
          <a:p>
            <a:r>
              <a:rPr lang="nl-NL" dirty="0"/>
              <a:t>Puoti et al, J Hepatol 2018, Vol 69(2):293-300</a:t>
            </a:r>
            <a:endParaRPr lang="el-GR" dirty="0"/>
          </a:p>
        </p:txBody>
      </p:sp>
      <p:sp>
        <p:nvSpPr>
          <p:cNvPr id="3" name="Rectangle 2"/>
          <p:cNvSpPr/>
          <p:nvPr/>
        </p:nvSpPr>
        <p:spPr bwMode="auto">
          <a:xfrm>
            <a:off x="0" y="6525344"/>
            <a:ext cx="10287000" cy="332656"/>
          </a:xfrm>
          <a:prstGeom prst="rect">
            <a:avLst/>
          </a:prstGeom>
          <a:solidFill>
            <a:schemeClr val="bg1"/>
          </a:solidFill>
          <a:ln>
            <a:solidFill>
              <a:schemeClr val="bg1"/>
            </a:solid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0" tIns="0" rIns="0" bIns="0" numCol="1" rtlCol="0" anchor="ctr" anchorCtr="0" compatLnSpc="1">
            <a:prstTxWarp prst="textNoShape">
              <a:avLst/>
            </a:prstTxWarp>
            <a:noAutofit/>
          </a:bodyPr>
          <a:lstStyle/>
          <a:p>
            <a:pPr marL="0" marR="0" lvl="0" indent="0" algn="ctr" defTabSz="457200" rtl="0" eaLnBrk="1" fontAlgn="base" latinLnBrk="0" hangingPunct="1">
              <a:lnSpc>
                <a:spcPct val="9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71D49"/>
              </a:solidFill>
              <a:effectLst/>
              <a:uLnTx/>
              <a:uFillTx/>
              <a:latin typeface="Calibri"/>
              <a:ea typeface="+mn-ea"/>
              <a:cs typeface="+mn-cs"/>
            </a:endParaRPr>
          </a:p>
        </p:txBody>
      </p:sp>
    </p:spTree>
    <p:extLst>
      <p:ext uri="{BB962C8B-B14F-4D97-AF65-F5344CB8AC3E}">
        <p14:creationId xmlns:p14="http://schemas.microsoft.com/office/powerpoint/2010/main" val="1577639756"/>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1 - Τίτλος"/>
          <p:cNvSpPr>
            <a:spLocks noGrp="1"/>
          </p:cNvSpPr>
          <p:nvPr>
            <p:ph type="title"/>
          </p:nvPr>
        </p:nvSpPr>
        <p:spPr>
          <a:xfrm>
            <a:off x="462980" y="836712"/>
            <a:ext cx="9031982" cy="1143000"/>
          </a:xfrm>
        </p:spPr>
        <p:txBody>
          <a:bodyPr/>
          <a:lstStyle/>
          <a:p>
            <a:r>
              <a:rPr lang="el-GR" b="1" dirty="0"/>
              <a:t>Ασφάλεια σχημάτων χωρίς </a:t>
            </a:r>
            <a:r>
              <a:rPr lang="en-US" b="1" dirty="0" err="1"/>
              <a:t>IFNa</a:t>
            </a:r>
            <a:endParaRPr lang="el-GR" b="1" dirty="0"/>
          </a:p>
        </p:txBody>
      </p:sp>
      <p:sp>
        <p:nvSpPr>
          <p:cNvPr id="4" name="3 - TextBox"/>
          <p:cNvSpPr txBox="1"/>
          <p:nvPr/>
        </p:nvSpPr>
        <p:spPr>
          <a:xfrm>
            <a:off x="1039044" y="2276872"/>
            <a:ext cx="8609023" cy="2651688"/>
          </a:xfrm>
          <a:prstGeom prst="rect">
            <a:avLst/>
          </a:prstGeom>
          <a:noFill/>
        </p:spPr>
        <p:txBody>
          <a:bodyPr wrap="none" rtlCol="0">
            <a:spAutoFit/>
          </a:bodyPr>
          <a:lstStyle/>
          <a:p>
            <a:pPr marL="174625" indent="-174625">
              <a:lnSpc>
                <a:spcPct val="200000"/>
              </a:lnSpc>
              <a:buFont typeface="Arial" pitchFamily="34" charset="0"/>
              <a:buChar char="•"/>
            </a:pPr>
            <a:r>
              <a:rPr lang="el-GR" sz="2800" dirty="0"/>
              <a:t>Πολύ σπάνιες σοβαρές ανεπιθύμητες  ενέργειες</a:t>
            </a:r>
            <a:r>
              <a:rPr lang="en-US" sz="2800" dirty="0"/>
              <a:t> </a:t>
            </a:r>
          </a:p>
          <a:p>
            <a:pPr marL="174625" indent="-174625">
              <a:lnSpc>
                <a:spcPct val="150000"/>
              </a:lnSpc>
            </a:pPr>
            <a:r>
              <a:rPr lang="en-US" sz="2800" dirty="0"/>
              <a:t>  (&lt;1% </a:t>
            </a:r>
            <a:r>
              <a:rPr lang="el-GR" sz="2800" dirty="0"/>
              <a:t>διακοπές θεραπείας</a:t>
            </a:r>
            <a:r>
              <a:rPr lang="en-US" sz="2800" dirty="0"/>
              <a:t>)</a:t>
            </a:r>
          </a:p>
          <a:p>
            <a:pPr marL="174625" indent="-174625">
              <a:lnSpc>
                <a:spcPct val="300000"/>
              </a:lnSpc>
              <a:buFont typeface="Arial" pitchFamily="34" charset="0"/>
              <a:buChar char="•"/>
            </a:pPr>
            <a:r>
              <a:rPr lang="el-GR" sz="2800" dirty="0"/>
              <a:t>Πολύ καλή ανοχή</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23 - Πίνακας"/>
          <p:cNvGraphicFramePr>
            <a:graphicFrameLocks noGrp="1"/>
          </p:cNvGraphicFramePr>
          <p:nvPr/>
        </p:nvGraphicFramePr>
        <p:xfrm>
          <a:off x="144016" y="205873"/>
          <a:ext cx="10040044" cy="6378397"/>
        </p:xfrm>
        <a:graphic>
          <a:graphicData uri="http://schemas.openxmlformats.org/drawingml/2006/table">
            <a:tbl>
              <a:tblPr firstRow="1" bandRow="1">
                <a:tableStyleId>{5C22544A-7EE6-4342-B048-85BDC9FD1C3A}</a:tableStyleId>
              </a:tblPr>
              <a:tblGrid>
                <a:gridCol w="3867276">
                  <a:extLst>
                    <a:ext uri="{9D8B030D-6E8A-4147-A177-3AD203B41FA5}">
                      <a16:colId xmlns:a16="http://schemas.microsoft.com/office/drawing/2014/main" val="20000"/>
                    </a:ext>
                  </a:extLst>
                </a:gridCol>
                <a:gridCol w="6172768">
                  <a:extLst>
                    <a:ext uri="{9D8B030D-6E8A-4147-A177-3AD203B41FA5}">
                      <a16:colId xmlns:a16="http://schemas.microsoft.com/office/drawing/2014/main" val="20001"/>
                    </a:ext>
                  </a:extLst>
                </a:gridCol>
              </a:tblGrid>
              <a:tr h="727352">
                <a:tc gridSpan="2">
                  <a:txBody>
                    <a:bodyPr/>
                    <a:lstStyle/>
                    <a:p>
                      <a:pPr algn="ctr">
                        <a:lnSpc>
                          <a:spcPct val="150000"/>
                        </a:lnSpc>
                      </a:pPr>
                      <a:r>
                        <a:rPr lang="el-GR" sz="2000" dirty="0"/>
                        <a:t>Φαρμακευτικές αλληλεπιδράσεις</a:t>
                      </a:r>
                      <a:r>
                        <a:rPr lang="el-GR" sz="2000" baseline="0" dirty="0"/>
                        <a:t> </a:t>
                      </a:r>
                      <a:r>
                        <a:rPr lang="en-US" sz="2000" baseline="0" dirty="0"/>
                        <a:t>(</a:t>
                      </a:r>
                      <a:r>
                        <a:rPr lang="el-GR" sz="2000" baseline="0" dirty="0"/>
                        <a:t>εκτός από </a:t>
                      </a:r>
                      <a:r>
                        <a:rPr lang="en-US" sz="2000" baseline="0" dirty="0"/>
                        <a:t>HIV </a:t>
                      </a:r>
                      <a:r>
                        <a:rPr lang="el-GR" sz="2000" baseline="0" dirty="0"/>
                        <a:t>φάρμακα</a:t>
                      </a:r>
                      <a:r>
                        <a:rPr lang="en-US" sz="2000" baseline="0" dirty="0"/>
                        <a:t>)</a:t>
                      </a:r>
                    </a:p>
                    <a:p>
                      <a:pPr algn="ctr">
                        <a:lnSpc>
                          <a:spcPts val="2000"/>
                        </a:lnSpc>
                      </a:pPr>
                      <a:r>
                        <a:rPr lang="el-GR" sz="2000" baseline="0" dirty="0"/>
                        <a:t>                               </a:t>
                      </a:r>
                      <a:r>
                        <a:rPr lang="el-GR" sz="2000" baseline="0" dirty="0" err="1"/>
                        <a:t>Συγχορήγηση</a:t>
                      </a:r>
                      <a:r>
                        <a:rPr lang="el-GR" sz="2000" baseline="0" dirty="0"/>
                        <a:t> ΔΕΝ ενδείκνυται</a:t>
                      </a:r>
                      <a:endParaRPr lang="el-GR" sz="2000" dirty="0"/>
                    </a:p>
                  </a:txBody>
                  <a:tcPr/>
                </a:tc>
                <a:tc hMerge="1">
                  <a:txBody>
                    <a:bodyPr/>
                    <a:lstStyle/>
                    <a:p>
                      <a:pPr algn="ctr">
                        <a:lnSpc>
                          <a:spcPct val="150000"/>
                        </a:lnSpc>
                      </a:pPr>
                      <a:endParaRPr lang="el-GR" sz="2000" dirty="0"/>
                    </a:p>
                  </a:txBody>
                  <a:tcPr/>
                </a:tc>
                <a:extLst>
                  <a:ext uri="{0D108BD9-81ED-4DB2-BD59-A6C34878D82A}">
                    <a16:rowId xmlns:a16="http://schemas.microsoft.com/office/drawing/2014/main" val="10000"/>
                  </a:ext>
                </a:extLst>
              </a:tr>
              <a:tr h="716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err="1">
                          <a:ea typeface="ＭＳ Ｐゴシック" charset="0"/>
                        </a:rPr>
                        <a:t>Sofosbuvir</a:t>
                      </a:r>
                      <a:endParaRPr lang="en-US" sz="2000" b="1" dirty="0">
                        <a:ea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latin typeface="+mn-lt"/>
                          <a:ea typeface="+mn-ea"/>
                          <a:cs typeface="+mn-cs"/>
                        </a:rPr>
                        <a:t>(</a:t>
                      </a:r>
                      <a:r>
                        <a:rPr lang="el-GR" sz="1600" b="0" i="0" u="sng" kern="1200" dirty="0">
                          <a:solidFill>
                            <a:schemeClr val="dk1"/>
                          </a:solidFill>
                          <a:latin typeface="+mn-lt"/>
                          <a:ea typeface="+mn-ea"/>
                          <a:cs typeface="+mn-cs"/>
                        </a:rPr>
                        <a:t>Προσοχή</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amiodarone</a:t>
                      </a:r>
                      <a:r>
                        <a:rPr lang="en-US" sz="1600" b="0" i="0" kern="1200" dirty="0">
                          <a:solidFill>
                            <a:schemeClr val="dk1"/>
                          </a:solidFill>
                          <a:latin typeface="+mn-lt"/>
                          <a:ea typeface="+mn-ea"/>
                          <a:cs typeface="+mn-cs"/>
                        </a:rPr>
                        <a:t>) </a:t>
                      </a:r>
                      <a:endParaRPr lang="en-US" sz="1600" b="1" dirty="0">
                        <a:ea typeface="ＭＳ Ｐゴシック" charset="0"/>
                      </a:endParaRPr>
                    </a:p>
                  </a:txBody>
                  <a:tcPr/>
                </a:tc>
                <a:tc>
                  <a:txBody>
                    <a:bodyPr/>
                    <a:lstStyle/>
                    <a:p>
                      <a:r>
                        <a:rPr lang="el-GR" sz="1800" b="1" dirty="0" err="1"/>
                        <a:t>Επαγωγείς</a:t>
                      </a:r>
                      <a:r>
                        <a:rPr lang="el-GR" sz="1800" b="1" dirty="0"/>
                        <a:t> </a:t>
                      </a:r>
                      <a:r>
                        <a:rPr lang="en-US" sz="1800" b="1" dirty="0"/>
                        <a:t>P-glycoprotein</a:t>
                      </a:r>
                      <a:r>
                        <a:rPr lang="en-US" sz="1800" b="1" baseline="0" dirty="0"/>
                        <a:t> </a:t>
                      </a:r>
                      <a:r>
                        <a:rPr lang="en-US" sz="1600" b="0" baseline="0" dirty="0"/>
                        <a:t>(</a:t>
                      </a:r>
                      <a:r>
                        <a:rPr lang="en-US" sz="1600" b="0" baseline="0" dirty="0" err="1"/>
                        <a:t>c</a:t>
                      </a:r>
                      <a:r>
                        <a:rPr lang="en-US" sz="1600" b="0" i="0" kern="1200" dirty="0" err="1">
                          <a:solidFill>
                            <a:schemeClr val="dk1"/>
                          </a:solidFill>
                          <a:latin typeface="+mn-lt"/>
                          <a:ea typeface="+mn-ea"/>
                          <a:cs typeface="+mn-cs"/>
                        </a:rPr>
                        <a:t>arbamazepin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phenytoin</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phe-nobarbital</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oxcarbazepin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rifabutin</a:t>
                      </a:r>
                      <a:r>
                        <a:rPr lang="en-US" sz="1600" b="0" i="0" kern="1200" dirty="0">
                          <a:solidFill>
                            <a:schemeClr val="dk1"/>
                          </a:solidFill>
                          <a:latin typeface="+mn-lt"/>
                          <a:ea typeface="+mn-ea"/>
                          <a:cs typeface="+mn-cs"/>
                        </a:rPr>
                        <a:t>,</a:t>
                      </a:r>
                      <a:r>
                        <a:rPr lang="en-US" sz="1600" b="0" i="0" kern="1200" baseline="0" dirty="0">
                          <a:solidFill>
                            <a:schemeClr val="dk1"/>
                          </a:solidFill>
                          <a:latin typeface="+mn-lt"/>
                          <a:ea typeface="+mn-ea"/>
                          <a:cs typeface="+mn-cs"/>
                        </a:rPr>
                        <a:t> </a:t>
                      </a:r>
                      <a:r>
                        <a:rPr lang="en-US" sz="1600" b="0" i="0" kern="1200" baseline="0" dirty="0" err="1">
                          <a:solidFill>
                            <a:schemeClr val="dk1"/>
                          </a:solidFill>
                          <a:latin typeface="+mn-lt"/>
                          <a:ea typeface="+mn-ea"/>
                          <a:cs typeface="+mn-cs"/>
                        </a:rPr>
                        <a:t>r</a:t>
                      </a:r>
                      <a:r>
                        <a:rPr lang="en-US" sz="1600" b="0" i="0" kern="1200" dirty="0" err="1">
                          <a:solidFill>
                            <a:schemeClr val="dk1"/>
                          </a:solidFill>
                          <a:latin typeface="+mn-lt"/>
                          <a:ea typeface="+mn-ea"/>
                          <a:cs typeface="+mn-cs"/>
                        </a:rPr>
                        <a:t>ifampicin</a:t>
                      </a:r>
                      <a:r>
                        <a:rPr lang="en-US" sz="1600" b="0" i="0" kern="1200" dirty="0">
                          <a:solidFill>
                            <a:schemeClr val="dk1"/>
                          </a:solidFill>
                          <a:latin typeface="+mn-lt"/>
                          <a:ea typeface="+mn-ea"/>
                          <a:cs typeface="+mn-cs"/>
                        </a:rPr>
                        <a:t>, St. John's </a:t>
                      </a:r>
                      <a:r>
                        <a:rPr lang="en-US" sz="1600" b="0" i="0" kern="1200" dirty="0" err="1">
                          <a:solidFill>
                            <a:schemeClr val="dk1"/>
                          </a:solidFill>
                          <a:latin typeface="+mn-lt"/>
                          <a:ea typeface="+mn-ea"/>
                          <a:cs typeface="+mn-cs"/>
                        </a:rPr>
                        <a:t>wort</a:t>
                      </a:r>
                      <a:r>
                        <a:rPr lang="en-US" sz="1600" b="0" i="0" kern="1200" dirty="0">
                          <a:solidFill>
                            <a:schemeClr val="dk1"/>
                          </a:solidFill>
                          <a:latin typeface="+mn-lt"/>
                          <a:ea typeface="+mn-ea"/>
                          <a:cs typeface="+mn-cs"/>
                        </a:rPr>
                        <a:t>)</a:t>
                      </a:r>
                    </a:p>
                  </a:txBody>
                  <a:tcPr/>
                </a:tc>
                <a:extLst>
                  <a:ext uri="{0D108BD9-81ED-4DB2-BD59-A6C34878D82A}">
                    <a16:rowId xmlns:a16="http://schemas.microsoft.com/office/drawing/2014/main" val="10001"/>
                  </a:ext>
                </a:extLst>
              </a:tr>
              <a:tr h="136815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err="1">
                          <a:ea typeface="ＭＳ Ｐゴシック" charset="0"/>
                        </a:rPr>
                        <a:t>Simeprevir</a:t>
                      </a:r>
                      <a:endParaRPr lang="en-US" sz="2000" b="1" dirty="0">
                        <a:ea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latin typeface="+mn-lt"/>
                          <a:ea typeface="+mn-ea"/>
                          <a:cs typeface="+mn-cs"/>
                        </a:rPr>
                        <a:t>(</a:t>
                      </a:r>
                      <a:r>
                        <a:rPr lang="el-GR" sz="1600" b="0" i="0" u="sng" kern="1200" dirty="0">
                          <a:solidFill>
                            <a:schemeClr val="dk1"/>
                          </a:solidFill>
                          <a:latin typeface="+mn-lt"/>
                          <a:ea typeface="+mn-ea"/>
                          <a:cs typeface="+mn-cs"/>
                        </a:rPr>
                        <a:t>Προσοχή</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digoxin</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amiodaron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disopyramid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flecainide</a:t>
                      </a:r>
                      <a:r>
                        <a:rPr lang="en-US" sz="1600" b="0" i="0" kern="1200" dirty="0">
                          <a:solidFill>
                            <a:schemeClr val="dk1"/>
                          </a:solidFill>
                          <a:latin typeface="+mn-lt"/>
                          <a:ea typeface="+mn-ea"/>
                          <a:cs typeface="+mn-cs"/>
                        </a:rPr>
                        <a:t>,</a:t>
                      </a:r>
                      <a:r>
                        <a:rPr lang="en-US" sz="1600" b="0" i="0" kern="1200" baseline="0" dirty="0">
                          <a:solidFill>
                            <a:schemeClr val="dk1"/>
                          </a:solidFill>
                          <a:latin typeface="+mn-lt"/>
                          <a:ea typeface="+mn-ea"/>
                          <a:cs typeface="+mn-cs"/>
                        </a:rPr>
                        <a:t> </a:t>
                      </a:r>
                      <a:r>
                        <a:rPr lang="en-US" sz="1600" b="0" i="0" kern="1200" baseline="0" dirty="0" err="1">
                          <a:solidFill>
                            <a:schemeClr val="dk1"/>
                          </a:solidFill>
                          <a:latin typeface="+mn-lt"/>
                          <a:ea typeface="+mn-ea"/>
                          <a:cs typeface="+mn-cs"/>
                        </a:rPr>
                        <a:t>m</a:t>
                      </a:r>
                      <a:r>
                        <a:rPr lang="en-US" sz="1600" b="0" i="0" kern="1200" dirty="0" err="1">
                          <a:solidFill>
                            <a:schemeClr val="dk1"/>
                          </a:solidFill>
                          <a:latin typeface="+mn-lt"/>
                          <a:ea typeface="+mn-ea"/>
                          <a:cs typeface="+mn-cs"/>
                        </a:rPr>
                        <a:t>exiletin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propafenon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quinidine</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warfarin</a:t>
                      </a:r>
                      <a:r>
                        <a:rPr lang="en-US" sz="1600" b="0" i="0" kern="1200" dirty="0">
                          <a:solidFill>
                            <a:schemeClr val="dk1"/>
                          </a:solidFill>
                          <a:latin typeface="+mn-lt"/>
                          <a:ea typeface="+mn-ea"/>
                          <a:cs typeface="+mn-cs"/>
                        </a:rPr>
                        <a:t>,</a:t>
                      </a:r>
                      <a:r>
                        <a:rPr lang="en-US" sz="1600" b="0" i="0" kern="1200" baseline="0" dirty="0">
                          <a:solidFill>
                            <a:schemeClr val="dk1"/>
                          </a:solidFill>
                          <a:latin typeface="+mn-lt"/>
                          <a:ea typeface="+mn-ea"/>
                          <a:cs typeface="+mn-cs"/>
                        </a:rPr>
                        <a:t> calcium channel blockers</a:t>
                      </a:r>
                      <a:r>
                        <a:rPr lang="en-US" sz="1600" b="0" i="0" kern="1200" baseline="0" dirty="0">
                          <a:solidFill>
                            <a:schemeClr val="dk1"/>
                          </a:solidFill>
                          <a:latin typeface="+mn-lt"/>
                          <a:ea typeface="ＭＳ Ｐゴシック" charset="0"/>
                          <a:cs typeface="+mn-cs"/>
                        </a:rPr>
                        <a:t>)</a:t>
                      </a:r>
                      <a:endParaRPr lang="en-US" sz="1600" b="0" i="0" kern="1200" dirty="0">
                        <a:solidFill>
                          <a:schemeClr val="dk1"/>
                        </a:solidFill>
                        <a:latin typeface="+mn-lt"/>
                        <a:ea typeface="+mn-ea"/>
                        <a:cs typeface="+mn-cs"/>
                      </a:endParaRPr>
                    </a:p>
                  </a:txBody>
                  <a:tcPr/>
                </a:tc>
                <a:tc>
                  <a:txBody>
                    <a:bodyPr/>
                    <a:lstStyle/>
                    <a:p>
                      <a:r>
                        <a:rPr lang="el-GR" sz="1800" b="1" i="0" kern="1200" dirty="0" err="1">
                          <a:solidFill>
                            <a:schemeClr val="dk1"/>
                          </a:solidFill>
                          <a:latin typeface="+mn-lt"/>
                          <a:ea typeface="+mn-ea"/>
                          <a:cs typeface="+mn-cs"/>
                        </a:rPr>
                        <a:t>Επαγωγείς</a:t>
                      </a:r>
                      <a:r>
                        <a:rPr lang="el-GR" sz="1800" b="1" i="0" kern="1200" dirty="0">
                          <a:solidFill>
                            <a:schemeClr val="dk1"/>
                          </a:solidFill>
                          <a:latin typeface="+mn-lt"/>
                          <a:ea typeface="+mn-ea"/>
                          <a:cs typeface="+mn-cs"/>
                        </a:rPr>
                        <a:t> ή Αναστολείς</a:t>
                      </a:r>
                      <a:r>
                        <a:rPr lang="en-US" sz="1800" b="1" i="0" kern="1200" dirty="0">
                          <a:solidFill>
                            <a:schemeClr val="dk1"/>
                          </a:solidFill>
                          <a:latin typeface="+mn-lt"/>
                          <a:ea typeface="+mn-ea"/>
                          <a:cs typeface="+mn-cs"/>
                        </a:rPr>
                        <a:t> CYP3A4</a:t>
                      </a:r>
                      <a:r>
                        <a:rPr lang="en-US" sz="1800" b="0" i="0" kern="1200" dirty="0">
                          <a:solidFill>
                            <a:schemeClr val="dk1"/>
                          </a:solidFill>
                          <a:latin typeface="+mn-lt"/>
                          <a:ea typeface="+mn-ea"/>
                          <a:cs typeface="+mn-cs"/>
                        </a:rPr>
                        <a:t> (erythromycin,</a:t>
                      </a:r>
                      <a:r>
                        <a:rPr lang="en-US" sz="1800" b="0" i="0" kern="1200" baseline="0" dirty="0">
                          <a:solidFill>
                            <a:schemeClr val="dk1"/>
                          </a:solidFill>
                          <a:latin typeface="+mn-lt"/>
                          <a:ea typeface="+mn-ea"/>
                          <a:cs typeface="+mn-cs"/>
                        </a:rPr>
                        <a:t> </a:t>
                      </a:r>
                      <a:r>
                        <a:rPr lang="en-US" sz="1800" b="0" i="0" kern="1200" baseline="0" dirty="0" err="1">
                          <a:solidFill>
                            <a:schemeClr val="dk1"/>
                          </a:solidFill>
                          <a:latin typeface="+mn-lt"/>
                          <a:ea typeface="+mn-ea"/>
                          <a:cs typeface="+mn-cs"/>
                        </a:rPr>
                        <a:t>clarithromycin</a:t>
                      </a:r>
                      <a:r>
                        <a:rPr lang="en-US" sz="1800" b="0" i="0" kern="1200" baseline="0" dirty="0">
                          <a:solidFill>
                            <a:schemeClr val="dk1"/>
                          </a:solidFill>
                          <a:latin typeface="+mn-lt"/>
                          <a:ea typeface="+mn-ea"/>
                          <a:cs typeface="+mn-cs"/>
                        </a:rPr>
                        <a:t>, </a:t>
                      </a:r>
                      <a:r>
                        <a:rPr lang="en-US" sz="1800" b="0" i="0" kern="1200" baseline="0" dirty="0" err="1">
                          <a:solidFill>
                            <a:schemeClr val="dk1"/>
                          </a:solidFill>
                          <a:latin typeface="+mn-lt"/>
                          <a:ea typeface="+mn-ea"/>
                          <a:cs typeface="+mn-cs"/>
                        </a:rPr>
                        <a:t>antifungals</a:t>
                      </a:r>
                      <a:r>
                        <a:rPr lang="en-US" sz="1800" b="0" i="0" kern="1200" baseline="0" dirty="0">
                          <a:solidFill>
                            <a:schemeClr val="dk1"/>
                          </a:solidFill>
                          <a:latin typeface="+mn-lt"/>
                          <a:ea typeface="+mn-ea"/>
                          <a:cs typeface="+mn-cs"/>
                        </a:rPr>
                        <a:t>, </a:t>
                      </a:r>
                      <a:r>
                        <a:rPr lang="en-US" sz="1800" b="0" i="0" kern="1200" baseline="0" dirty="0" err="1">
                          <a:solidFill>
                            <a:schemeClr val="dk1"/>
                          </a:solidFill>
                          <a:latin typeface="+mn-lt"/>
                          <a:ea typeface="+mn-ea"/>
                          <a:cs typeface="+mn-cs"/>
                        </a:rPr>
                        <a:t>dexamethasone</a:t>
                      </a:r>
                      <a:r>
                        <a:rPr lang="en-US" sz="1800" b="0" i="0" kern="1200" baseline="0" dirty="0">
                          <a:solidFill>
                            <a:schemeClr val="dk1"/>
                          </a:solidFill>
                          <a:latin typeface="+mn-lt"/>
                          <a:ea typeface="+mn-ea"/>
                          <a:cs typeface="+mn-cs"/>
                        </a:rPr>
                        <a:t>, </a:t>
                      </a:r>
                      <a:r>
                        <a:rPr lang="en-US" sz="1800" b="0" i="0" kern="1200" baseline="0" dirty="0" err="1">
                          <a:solidFill>
                            <a:schemeClr val="dk1"/>
                          </a:solidFill>
                          <a:latin typeface="+mn-lt"/>
                          <a:ea typeface="+mn-ea"/>
                          <a:cs typeface="+mn-cs"/>
                        </a:rPr>
                        <a:t>cicapride</a:t>
                      </a:r>
                      <a:r>
                        <a:rPr lang="en-US" sz="1800" b="0" i="0" kern="1200" baseline="0" dirty="0">
                          <a:solidFill>
                            <a:schemeClr val="dk1"/>
                          </a:solidFill>
                          <a:latin typeface="+mn-lt"/>
                          <a:ea typeface="+mn-ea"/>
                          <a:cs typeface="+mn-cs"/>
                        </a:rPr>
                        <a:t>, m</a:t>
                      </a:r>
                      <a:r>
                        <a:rPr lang="en-US" sz="1800" b="0" i="0" kern="1200" dirty="0">
                          <a:solidFill>
                            <a:schemeClr val="dk1"/>
                          </a:solidFill>
                          <a:latin typeface="+mn-lt"/>
                          <a:ea typeface="+mn-ea"/>
                          <a:cs typeface="+mn-cs"/>
                        </a:rPr>
                        <a:t>ilk thistle, </a:t>
                      </a:r>
                      <a:r>
                        <a:rPr lang="en-US" sz="1800" b="0" i="0" kern="1200" dirty="0" err="1">
                          <a:solidFill>
                            <a:schemeClr val="dk1"/>
                          </a:solidFill>
                          <a:latin typeface="+mn-lt"/>
                          <a:ea typeface="+mn-ea"/>
                          <a:cs typeface="+mn-cs"/>
                        </a:rPr>
                        <a:t>astemizole</a:t>
                      </a:r>
                      <a:r>
                        <a:rPr lang="en-US" sz="1800" b="0" i="0" kern="1200" dirty="0">
                          <a:solidFill>
                            <a:schemeClr val="dk1"/>
                          </a:solidFill>
                          <a:latin typeface="+mn-lt"/>
                          <a:ea typeface="+mn-ea"/>
                          <a:cs typeface="+mn-cs"/>
                        </a:rPr>
                        <a:t>, </a:t>
                      </a:r>
                      <a:r>
                        <a:rPr lang="en-US" sz="1800" b="0" i="0" kern="1200" dirty="0" err="1">
                          <a:solidFill>
                            <a:schemeClr val="dk1"/>
                          </a:solidFill>
                          <a:latin typeface="+mn-lt"/>
                          <a:ea typeface="+mn-ea"/>
                          <a:cs typeface="+mn-cs"/>
                        </a:rPr>
                        <a:t>terfenadine</a:t>
                      </a:r>
                      <a:r>
                        <a:rPr lang="en-US" sz="1800" b="0" i="0" kern="1200" dirty="0">
                          <a:solidFill>
                            <a:schemeClr val="dk1"/>
                          </a:solidFill>
                          <a:latin typeface="+mn-lt"/>
                          <a:ea typeface="+mn-ea"/>
                          <a:cs typeface="+mn-cs"/>
                        </a:rPr>
                        <a:t>)</a:t>
                      </a:r>
                    </a:p>
                    <a:p>
                      <a:pPr algn="l">
                        <a:lnSpc>
                          <a:spcPct val="200000"/>
                        </a:lnSpc>
                      </a:pPr>
                      <a:r>
                        <a:rPr lang="en-US" sz="1800" b="1" dirty="0" err="1"/>
                        <a:t>Cyclosporin</a:t>
                      </a:r>
                      <a:r>
                        <a:rPr lang="en-US" sz="1800" b="1" dirty="0"/>
                        <a:t>, </a:t>
                      </a:r>
                      <a:r>
                        <a:rPr lang="el-GR" sz="1800" b="1" dirty="0" err="1"/>
                        <a:t>Επαγωγείς</a:t>
                      </a:r>
                      <a:r>
                        <a:rPr lang="el-GR" sz="1800" b="1" dirty="0"/>
                        <a:t> </a:t>
                      </a:r>
                      <a:r>
                        <a:rPr lang="en-US" sz="1800" b="1" dirty="0"/>
                        <a:t>P-glycoprotein</a:t>
                      </a:r>
                      <a:endParaRPr lang="en-US" sz="1800" b="0" i="0" kern="1200" dirty="0">
                        <a:solidFill>
                          <a:schemeClr val="dk1"/>
                        </a:solidFill>
                        <a:latin typeface="+mn-lt"/>
                        <a:ea typeface="+mn-ea"/>
                        <a:cs typeface="+mn-cs"/>
                      </a:endParaRPr>
                    </a:p>
                  </a:txBody>
                  <a:tcPr/>
                </a:tc>
                <a:extLst>
                  <a:ext uri="{0D108BD9-81ED-4DB2-BD59-A6C34878D82A}">
                    <a16:rowId xmlns:a16="http://schemas.microsoft.com/office/drawing/2014/main" val="10002"/>
                  </a:ext>
                </a:extLst>
              </a:tr>
              <a:tr h="116452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err="1">
                          <a:ea typeface="ＭＳ Ｐゴシック" charset="0"/>
                        </a:rPr>
                        <a:t>Daclatasvir</a:t>
                      </a:r>
                      <a:endParaRPr lang="en-US" sz="2000" b="1" dirty="0">
                        <a:ea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u="none" kern="1200" dirty="0">
                          <a:solidFill>
                            <a:schemeClr val="dk1"/>
                          </a:solidFill>
                          <a:latin typeface="+mn-lt"/>
                          <a:ea typeface="+mn-ea"/>
                          <a:cs typeface="+mn-cs"/>
                        </a:rPr>
                        <a:t>(</a:t>
                      </a:r>
                      <a:r>
                        <a:rPr lang="el-GR" sz="1600" b="0" i="0" u="sng" kern="1200" dirty="0">
                          <a:solidFill>
                            <a:schemeClr val="dk1"/>
                          </a:solidFill>
                          <a:latin typeface="+mn-lt"/>
                          <a:ea typeface="+mn-ea"/>
                          <a:cs typeface="+mn-cs"/>
                        </a:rPr>
                        <a:t>Προσοχή</a:t>
                      </a:r>
                      <a:r>
                        <a:rPr lang="en-US" sz="1600" b="0" i="0" u="none" kern="1200" dirty="0">
                          <a:solidFill>
                            <a:schemeClr val="dk1"/>
                          </a:solidFill>
                          <a:latin typeface="+mn-lt"/>
                          <a:ea typeface="+mn-ea"/>
                          <a:cs typeface="+mn-cs"/>
                        </a:rPr>
                        <a:t>:</a:t>
                      </a:r>
                      <a:r>
                        <a:rPr lang="en-US" sz="1600" b="0" i="0" u="none" kern="1200" baseline="0" dirty="0">
                          <a:solidFill>
                            <a:schemeClr val="dk1"/>
                          </a:solidFill>
                          <a:latin typeface="+mn-lt"/>
                          <a:ea typeface="+mn-ea"/>
                          <a:cs typeface="+mn-cs"/>
                        </a:rPr>
                        <a:t> erythromycin, </a:t>
                      </a:r>
                      <a:r>
                        <a:rPr lang="en-US" sz="1600" b="0" i="0" u="none" kern="1200" baseline="0" dirty="0" err="1">
                          <a:solidFill>
                            <a:schemeClr val="dk1"/>
                          </a:solidFill>
                          <a:latin typeface="+mn-lt"/>
                          <a:ea typeface="+mn-ea"/>
                          <a:cs typeface="+mn-cs"/>
                        </a:rPr>
                        <a:t>dabigatran</a:t>
                      </a:r>
                      <a:r>
                        <a:rPr lang="en-US" sz="1600" b="0" i="0" u="none" kern="1200" baseline="0" dirty="0">
                          <a:solidFill>
                            <a:schemeClr val="dk1"/>
                          </a:solidFill>
                          <a:latin typeface="+mn-lt"/>
                          <a:ea typeface="+mn-ea"/>
                          <a:cs typeface="+mn-cs"/>
                        </a:rPr>
                        <a:t>, </a:t>
                      </a:r>
                      <a:r>
                        <a:rPr lang="en-US" sz="1600" b="0" i="0" u="none" kern="1200" dirty="0" err="1">
                          <a:solidFill>
                            <a:schemeClr val="dk1"/>
                          </a:solidFill>
                          <a:latin typeface="+mn-lt"/>
                          <a:ea typeface="+mn-ea"/>
                          <a:cs typeface="+mn-cs"/>
                        </a:rPr>
                        <a:t>digoxin</a:t>
                      </a:r>
                      <a:r>
                        <a:rPr lang="en-US" sz="1600" b="0" i="0" u="none" kern="1200" dirty="0">
                          <a:solidFill>
                            <a:schemeClr val="dk1"/>
                          </a:solidFill>
                          <a:latin typeface="+mn-lt"/>
                          <a:ea typeface="+mn-ea"/>
                          <a:cs typeface="+mn-cs"/>
                        </a:rPr>
                        <a:t>,</a:t>
                      </a:r>
                      <a:r>
                        <a:rPr lang="en-US" sz="1600" b="0" i="0" u="none" kern="1200" baseline="0" dirty="0">
                          <a:solidFill>
                            <a:schemeClr val="dk1"/>
                          </a:solidFill>
                          <a:latin typeface="+mn-lt"/>
                          <a:ea typeface="+mn-ea"/>
                          <a:cs typeface="+mn-cs"/>
                        </a:rPr>
                        <a:t> calcium channel blockers, </a:t>
                      </a:r>
                      <a:r>
                        <a:rPr lang="en-US" sz="1600" b="0" i="0" u="none" kern="1200" baseline="0" dirty="0" err="1">
                          <a:solidFill>
                            <a:schemeClr val="dk1"/>
                          </a:solidFill>
                          <a:latin typeface="+mn-lt"/>
                          <a:ea typeface="+mn-ea"/>
                          <a:cs typeface="+mn-cs"/>
                        </a:rPr>
                        <a:t>rosuvastatin</a:t>
                      </a:r>
                      <a:r>
                        <a:rPr lang="en-US" sz="1600" b="1" i="0" u="none" kern="1200" baseline="0" dirty="0">
                          <a:solidFill>
                            <a:schemeClr val="dk1"/>
                          </a:solidFill>
                          <a:latin typeface="+mn-lt"/>
                          <a:ea typeface="ＭＳ Ｐゴシック" charset="0"/>
                          <a:cs typeface="+mn-cs"/>
                        </a:rPr>
                        <a:t>)</a:t>
                      </a:r>
                      <a:endParaRPr lang="en-US" sz="1600" b="1" u="none" dirty="0">
                        <a:ea typeface="ＭＳ Ｐゴシック" charset="0"/>
                      </a:endParaRPr>
                    </a:p>
                  </a:txBody>
                  <a:tcPr/>
                </a:tc>
                <a:tc>
                  <a:txBody>
                    <a:bodyPr/>
                    <a:lstStyle/>
                    <a:p>
                      <a:pPr algn="l">
                        <a:lnSpc>
                          <a:spcPct val="100000"/>
                        </a:lnSpc>
                      </a:pPr>
                      <a:r>
                        <a:rPr lang="el-GR" sz="1800" b="1" i="0" kern="1200" dirty="0">
                          <a:solidFill>
                            <a:schemeClr val="dk1"/>
                          </a:solidFill>
                          <a:latin typeface="+mn-lt"/>
                          <a:ea typeface="+mn-ea"/>
                          <a:cs typeface="+mn-cs"/>
                        </a:rPr>
                        <a:t>Ισχυροί </a:t>
                      </a:r>
                      <a:r>
                        <a:rPr lang="el-GR" sz="1800" b="1" i="0" kern="1200" dirty="0" err="1">
                          <a:solidFill>
                            <a:schemeClr val="dk1"/>
                          </a:solidFill>
                          <a:latin typeface="+mn-lt"/>
                          <a:ea typeface="+mn-ea"/>
                          <a:cs typeface="+mn-cs"/>
                        </a:rPr>
                        <a:t>ε</a:t>
                      </a:r>
                      <a:r>
                        <a:rPr lang="el-GR" sz="1800" b="1" dirty="0" err="1"/>
                        <a:t>παγωγείς</a:t>
                      </a:r>
                      <a:r>
                        <a:rPr lang="en-US" sz="1800" b="1" i="0" kern="1200" dirty="0">
                          <a:solidFill>
                            <a:schemeClr val="dk1"/>
                          </a:solidFill>
                          <a:latin typeface="+mn-lt"/>
                          <a:ea typeface="+mn-ea"/>
                          <a:cs typeface="+mn-cs"/>
                        </a:rPr>
                        <a:t> of CYP3A4/</a:t>
                      </a:r>
                      <a:r>
                        <a:rPr lang="en-US" sz="1800" b="1" dirty="0"/>
                        <a:t>P-glycoprotein </a:t>
                      </a:r>
                    </a:p>
                    <a:p>
                      <a:pPr algn="l">
                        <a:lnSpc>
                          <a:spcPct val="150000"/>
                        </a:lnSpc>
                      </a:pPr>
                      <a:r>
                        <a:rPr lang="en-US" sz="1800" b="0" dirty="0"/>
                        <a:t>(</a:t>
                      </a:r>
                      <a:r>
                        <a:rPr lang="el-GR" sz="1800" b="0" dirty="0"/>
                        <a:t>Μέτριοι </a:t>
                      </a:r>
                      <a:r>
                        <a:rPr lang="el-GR" sz="1800" b="0" dirty="0" err="1"/>
                        <a:t>επαγωγείς</a:t>
                      </a:r>
                      <a:r>
                        <a:rPr lang="en-US" sz="1800" b="0" i="0" kern="1200" baseline="0" dirty="0">
                          <a:solidFill>
                            <a:schemeClr val="dk1"/>
                          </a:solidFill>
                          <a:latin typeface="+mn-lt"/>
                          <a:ea typeface="+mn-ea"/>
                          <a:cs typeface="+mn-cs"/>
                        </a:rPr>
                        <a:t> CYP3A4: </a:t>
                      </a:r>
                      <a:r>
                        <a:rPr lang="en-US" sz="1800" b="0" i="0" u="sng" kern="1200" baseline="0" dirty="0">
                          <a:solidFill>
                            <a:schemeClr val="dk1"/>
                          </a:solidFill>
                          <a:latin typeface="+mn-lt"/>
                          <a:ea typeface="+mn-ea"/>
                          <a:cs typeface="+mn-cs"/>
                        </a:rPr>
                        <a:t>DCV 90 mg/24h</a:t>
                      </a:r>
                      <a:r>
                        <a:rPr lang="en-US" sz="1800" b="0" i="0" kern="1200" baseline="0" dirty="0">
                          <a:solidFill>
                            <a:schemeClr val="dk1"/>
                          </a:solidFill>
                          <a:latin typeface="+mn-lt"/>
                          <a:ea typeface="+mn-ea"/>
                          <a:cs typeface="+mn-cs"/>
                        </a:rPr>
                        <a:t>)</a:t>
                      </a:r>
                      <a:endParaRPr lang="en-US" sz="1800" b="0" i="0" kern="1200" dirty="0">
                        <a:solidFill>
                          <a:schemeClr val="dk1"/>
                        </a:solidFill>
                        <a:latin typeface="+mn-lt"/>
                        <a:ea typeface="+mn-ea"/>
                        <a:cs typeface="+mn-cs"/>
                      </a:endParaRPr>
                    </a:p>
                    <a:p>
                      <a:pPr algn="l">
                        <a:lnSpc>
                          <a:spcPct val="100000"/>
                        </a:lnSpc>
                      </a:pPr>
                      <a:r>
                        <a:rPr lang="en-US" sz="1800" b="0" i="0" kern="1200" dirty="0">
                          <a:solidFill>
                            <a:schemeClr val="dk1"/>
                          </a:solidFill>
                          <a:latin typeface="+mn-lt"/>
                          <a:ea typeface="+mn-ea"/>
                          <a:cs typeface="+mn-cs"/>
                        </a:rPr>
                        <a:t>(</a:t>
                      </a:r>
                      <a:r>
                        <a:rPr lang="el-GR" sz="1800" b="0" i="0" kern="1200" dirty="0">
                          <a:solidFill>
                            <a:schemeClr val="dk1"/>
                          </a:solidFill>
                          <a:latin typeface="+mn-lt"/>
                          <a:ea typeface="+mn-ea"/>
                          <a:cs typeface="+mn-cs"/>
                        </a:rPr>
                        <a:t>Αναστολείς</a:t>
                      </a:r>
                      <a:r>
                        <a:rPr lang="en-US" sz="1800" b="0" i="0" kern="1200" baseline="0" dirty="0">
                          <a:solidFill>
                            <a:schemeClr val="dk1"/>
                          </a:solidFill>
                          <a:latin typeface="+mn-lt"/>
                          <a:ea typeface="+mn-ea"/>
                          <a:cs typeface="+mn-cs"/>
                        </a:rPr>
                        <a:t> CYP3A4</a:t>
                      </a:r>
                      <a:r>
                        <a:rPr lang="en-US" sz="1800" b="0" i="0" kern="1200" dirty="0">
                          <a:solidFill>
                            <a:schemeClr val="dk1"/>
                          </a:solidFill>
                          <a:latin typeface="+mn-lt"/>
                          <a:ea typeface="+mn-ea"/>
                          <a:cs typeface="+mn-cs"/>
                        </a:rPr>
                        <a:t>: </a:t>
                      </a:r>
                      <a:r>
                        <a:rPr lang="en-US" sz="1800" b="0" i="0" u="sng" kern="1200" dirty="0">
                          <a:solidFill>
                            <a:schemeClr val="dk1"/>
                          </a:solidFill>
                          <a:latin typeface="+mn-lt"/>
                          <a:ea typeface="+mn-ea"/>
                          <a:cs typeface="+mn-cs"/>
                        </a:rPr>
                        <a:t>DCV 30 mg/24h</a:t>
                      </a:r>
                      <a:r>
                        <a:rPr lang="en-US" sz="1800" b="0" i="0" kern="1200" dirty="0">
                          <a:solidFill>
                            <a:schemeClr val="dk1"/>
                          </a:solidFill>
                          <a:latin typeface="+mn-lt"/>
                          <a:ea typeface="+mn-ea"/>
                          <a:cs typeface="+mn-cs"/>
                        </a:rPr>
                        <a:t>) </a:t>
                      </a:r>
                      <a:endParaRPr lang="el-GR" sz="1800" b="1" dirty="0"/>
                    </a:p>
                  </a:txBody>
                  <a:tcPr/>
                </a:tc>
                <a:extLst>
                  <a:ext uri="{0D108BD9-81ED-4DB2-BD59-A6C34878D82A}">
                    <a16:rowId xmlns:a16="http://schemas.microsoft.com/office/drawing/2014/main" val="10003"/>
                  </a:ext>
                </a:extLst>
              </a:tr>
              <a:tr h="724135">
                <a:tc>
                  <a:txBody>
                    <a:bodyPr/>
                    <a:lstStyle/>
                    <a:p>
                      <a:pPr algn="l">
                        <a:lnSpc>
                          <a:spcPct val="100000"/>
                        </a:lnSpc>
                      </a:pPr>
                      <a:r>
                        <a:rPr lang="en-US" sz="2000" b="1" dirty="0" err="1">
                          <a:ea typeface="ＭＳ Ｐゴシック" charset="0"/>
                        </a:rPr>
                        <a:t>Ledipasvir</a:t>
                      </a:r>
                      <a:r>
                        <a:rPr lang="en-US" sz="2000" b="1" dirty="0">
                          <a:ea typeface="ＭＳ Ｐゴシック" charset="0"/>
                        </a:rPr>
                        <a:t>/</a:t>
                      </a:r>
                      <a:r>
                        <a:rPr lang="en-US" sz="2000" b="1" dirty="0" err="1">
                          <a:ea typeface="ＭＳ Ｐゴシック" charset="0"/>
                        </a:rPr>
                        <a:t>Sofosbuvir</a:t>
                      </a:r>
                      <a:r>
                        <a:rPr lang="en-US" sz="2000" b="1" dirty="0">
                          <a:ea typeface="ＭＳ Ｐゴシック" charset="0"/>
                        </a:rPr>
                        <a:t>              </a:t>
                      </a:r>
                      <a:r>
                        <a:rPr lang="en-US" sz="1600" b="0" i="0" u="none" kern="1200" dirty="0">
                          <a:solidFill>
                            <a:schemeClr val="dk1"/>
                          </a:solidFill>
                          <a:latin typeface="+mn-lt"/>
                          <a:ea typeface="+mn-ea"/>
                          <a:cs typeface="+mn-cs"/>
                        </a:rPr>
                        <a:t>(</a:t>
                      </a:r>
                      <a:r>
                        <a:rPr lang="el-GR" sz="1600" b="0" i="0" u="sng" kern="1200" dirty="0">
                          <a:solidFill>
                            <a:schemeClr val="dk1"/>
                          </a:solidFill>
                          <a:latin typeface="+mn-lt"/>
                          <a:ea typeface="+mn-ea"/>
                          <a:cs typeface="+mn-cs"/>
                        </a:rPr>
                        <a:t>Προσοχή</a:t>
                      </a:r>
                      <a:r>
                        <a:rPr lang="en-US" sz="1600" b="0" i="0" u="none" kern="1200" dirty="0">
                          <a:solidFill>
                            <a:schemeClr val="dk1"/>
                          </a:solidFill>
                          <a:latin typeface="+mn-lt"/>
                          <a:ea typeface="+mn-ea"/>
                          <a:cs typeface="+mn-cs"/>
                        </a:rPr>
                        <a:t>:</a:t>
                      </a:r>
                      <a:r>
                        <a:rPr lang="en-US" sz="1600" b="0" i="0" u="none" kern="1200" baseline="0" dirty="0">
                          <a:solidFill>
                            <a:schemeClr val="dk1"/>
                          </a:solidFill>
                          <a:latin typeface="+mn-lt"/>
                          <a:ea typeface="+mn-ea"/>
                          <a:cs typeface="+mn-cs"/>
                        </a:rPr>
                        <a:t> antacids, PPIs, </a:t>
                      </a:r>
                      <a:r>
                        <a:rPr lang="en-US" sz="1600" b="0" i="0" kern="1200" dirty="0" err="1">
                          <a:solidFill>
                            <a:schemeClr val="dk1"/>
                          </a:solidFill>
                          <a:latin typeface="+mn-lt"/>
                          <a:ea typeface="+mn-ea"/>
                          <a:cs typeface="+mn-cs"/>
                        </a:rPr>
                        <a:t>amiodarone</a:t>
                      </a:r>
                      <a:r>
                        <a:rPr lang="en-US" sz="1600" b="0" i="0" kern="1200" dirty="0">
                          <a:solidFill>
                            <a:schemeClr val="dk1"/>
                          </a:solidFill>
                          <a:latin typeface="+mn-lt"/>
                          <a:ea typeface="+mn-ea"/>
                          <a:cs typeface="+mn-cs"/>
                        </a:rPr>
                        <a:t>, </a:t>
                      </a:r>
                      <a:r>
                        <a:rPr lang="en-US" sz="1600" b="0" i="0" u="none" kern="1200" dirty="0" err="1">
                          <a:solidFill>
                            <a:schemeClr val="dk1"/>
                          </a:solidFill>
                          <a:latin typeface="+mn-lt"/>
                          <a:ea typeface="+mn-ea"/>
                          <a:cs typeface="+mn-cs"/>
                        </a:rPr>
                        <a:t>digoxin</a:t>
                      </a:r>
                      <a:r>
                        <a:rPr lang="en-US" sz="1600" b="0" i="0" u="none" kern="1200" dirty="0">
                          <a:solidFill>
                            <a:schemeClr val="dk1"/>
                          </a:solidFill>
                          <a:latin typeface="+mn-lt"/>
                          <a:ea typeface="+mn-ea"/>
                          <a:cs typeface="+mn-cs"/>
                        </a:rPr>
                        <a:t>, </a:t>
                      </a:r>
                      <a:r>
                        <a:rPr lang="en-US" sz="1600" b="0" i="0" u="none" kern="1200" dirty="0" err="1">
                          <a:solidFill>
                            <a:schemeClr val="dk1"/>
                          </a:solidFill>
                          <a:latin typeface="+mn-lt"/>
                          <a:ea typeface="+mn-ea"/>
                          <a:cs typeface="+mn-cs"/>
                        </a:rPr>
                        <a:t>dabigatran</a:t>
                      </a:r>
                      <a:r>
                        <a:rPr lang="en-US" sz="1600" b="0" i="0" u="none" kern="1200" dirty="0">
                          <a:solidFill>
                            <a:schemeClr val="dk1"/>
                          </a:solidFill>
                          <a:latin typeface="+mn-lt"/>
                          <a:ea typeface="+mn-ea"/>
                          <a:cs typeface="+mn-cs"/>
                        </a:rPr>
                        <a:t>, </a:t>
                      </a:r>
                      <a:r>
                        <a:rPr lang="en-US" sz="1600" b="0" i="0" u="none" kern="1200" dirty="0" err="1">
                          <a:solidFill>
                            <a:schemeClr val="dk1"/>
                          </a:solidFill>
                          <a:latin typeface="+mn-lt"/>
                          <a:ea typeface="+mn-ea"/>
                          <a:cs typeface="+mn-cs"/>
                        </a:rPr>
                        <a:t>pravastatin</a:t>
                      </a:r>
                      <a:r>
                        <a:rPr lang="en-US" sz="1600" b="0" i="0" u="none" kern="1200" dirty="0">
                          <a:solidFill>
                            <a:schemeClr val="dk1"/>
                          </a:solidFill>
                          <a:latin typeface="+mn-lt"/>
                          <a:ea typeface="+mn-ea"/>
                          <a:cs typeface="+mn-cs"/>
                        </a:rPr>
                        <a:t>,</a:t>
                      </a:r>
                      <a:r>
                        <a:rPr lang="en-US" sz="1600" b="0" i="0" u="none" kern="1200" baseline="0" dirty="0">
                          <a:solidFill>
                            <a:schemeClr val="dk1"/>
                          </a:solidFill>
                          <a:latin typeface="+mn-lt"/>
                          <a:ea typeface="+mn-ea"/>
                          <a:cs typeface="+mn-cs"/>
                        </a:rPr>
                        <a:t> </a:t>
                      </a:r>
                      <a:r>
                        <a:rPr lang="en-US" sz="1600" b="0" i="0" u="none" kern="1200" baseline="0" dirty="0" err="1">
                          <a:solidFill>
                            <a:schemeClr val="dk1"/>
                          </a:solidFill>
                          <a:latin typeface="+mn-lt"/>
                          <a:ea typeface="+mn-ea"/>
                          <a:cs typeface="+mn-cs"/>
                        </a:rPr>
                        <a:t>statins</a:t>
                      </a:r>
                      <a:r>
                        <a:rPr lang="en-US" sz="1600" b="0" i="0" u="none" kern="1200" baseline="0" dirty="0">
                          <a:solidFill>
                            <a:schemeClr val="dk1"/>
                          </a:solidFill>
                          <a:latin typeface="+mn-lt"/>
                          <a:ea typeface="+mn-ea"/>
                          <a:cs typeface="+mn-cs"/>
                        </a:rPr>
                        <a:t>)</a:t>
                      </a:r>
                      <a:endParaRPr lang="el-GR" sz="1600" b="1" dirty="0"/>
                    </a:p>
                  </a:txBody>
                  <a:tcPr/>
                </a:tc>
                <a:tc>
                  <a:txBody>
                    <a:bodyPr/>
                    <a:lstStyle/>
                    <a:p>
                      <a:pPr algn="l">
                        <a:lnSpc>
                          <a:spcPct val="100000"/>
                        </a:lnSpc>
                      </a:pPr>
                      <a:r>
                        <a:rPr lang="el-GR" sz="1800" b="1" dirty="0" err="1"/>
                        <a:t>Επαγωγείς</a:t>
                      </a:r>
                      <a:r>
                        <a:rPr lang="el-GR" sz="1800" b="1" dirty="0"/>
                        <a:t> </a:t>
                      </a:r>
                      <a:r>
                        <a:rPr lang="en-US" sz="1800" b="1" dirty="0"/>
                        <a:t>P-glycoprotein</a:t>
                      </a:r>
                      <a:r>
                        <a:rPr lang="en-US" sz="1800" b="1" baseline="0" dirty="0"/>
                        <a:t>, </a:t>
                      </a:r>
                      <a:r>
                        <a:rPr lang="en-US" sz="1800" b="1" baseline="0" dirty="0" err="1"/>
                        <a:t>rosuvastatin</a:t>
                      </a:r>
                      <a:r>
                        <a:rPr lang="en-US" sz="1800" b="1" baseline="0" dirty="0"/>
                        <a:t>, </a:t>
                      </a:r>
                      <a:r>
                        <a:rPr lang="en-US" sz="1800" b="1" baseline="0" dirty="0" err="1"/>
                        <a:t>simeprevir</a:t>
                      </a:r>
                      <a:r>
                        <a:rPr lang="en-US" sz="1800" b="1" baseline="0" dirty="0"/>
                        <a:t> </a:t>
                      </a:r>
                      <a:endParaRPr lang="el-GR" sz="1800" b="1" dirty="0"/>
                    </a:p>
                  </a:txBody>
                  <a:tcPr/>
                </a:tc>
                <a:extLst>
                  <a:ext uri="{0D108BD9-81ED-4DB2-BD59-A6C34878D82A}">
                    <a16:rowId xmlns:a16="http://schemas.microsoft.com/office/drawing/2014/main" val="10004"/>
                  </a:ext>
                </a:extLst>
              </a:tr>
              <a:tr h="122569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dirty="0" err="1">
                          <a:ea typeface="ＭＳ Ｐゴシック" charset="0"/>
                        </a:rPr>
                        <a:t>Paritaprevir</a:t>
                      </a:r>
                      <a:r>
                        <a:rPr lang="en-US" sz="2000" b="1" dirty="0">
                          <a:ea typeface="ＭＳ Ｐゴシック" charset="0"/>
                        </a:rPr>
                        <a:t>/r/</a:t>
                      </a:r>
                      <a:r>
                        <a:rPr lang="en-US" sz="2000" b="1" dirty="0" err="1">
                          <a:ea typeface="ＭＳ Ｐゴシック" charset="0"/>
                        </a:rPr>
                        <a:t>Ombitasvir</a:t>
                      </a:r>
                      <a:r>
                        <a:rPr lang="en-US" sz="2000" b="1" dirty="0">
                          <a:ea typeface="ＭＳ Ｐゴシック" charset="0"/>
                        </a:rPr>
                        <a:t> ± </a:t>
                      </a:r>
                      <a:r>
                        <a:rPr lang="en-US" sz="2000" b="1" dirty="0" err="1">
                          <a:ea typeface="ＭＳ Ｐゴシック" charset="0"/>
                        </a:rPr>
                        <a:t>Dasabuvir</a:t>
                      </a:r>
                      <a:endParaRPr lang="en-US" sz="2000" b="1" dirty="0">
                        <a:ea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dk1"/>
                          </a:solidFill>
                          <a:latin typeface="+mn-lt"/>
                          <a:ea typeface="+mn-ea"/>
                          <a:cs typeface="+mn-cs"/>
                        </a:rPr>
                        <a:t>(</a:t>
                      </a:r>
                      <a:r>
                        <a:rPr lang="el-GR" sz="1600" b="0" i="0" u="sng" kern="1200" dirty="0">
                          <a:solidFill>
                            <a:schemeClr val="dk1"/>
                          </a:solidFill>
                          <a:latin typeface="+mn-lt"/>
                          <a:ea typeface="+mn-ea"/>
                          <a:cs typeface="+mn-cs"/>
                        </a:rPr>
                        <a:t>Προσοχή</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digoxin</a:t>
                      </a:r>
                      <a:r>
                        <a:rPr lang="en-US" sz="1600" b="0" i="0" kern="1200" dirty="0">
                          <a:solidFill>
                            <a:schemeClr val="dk1"/>
                          </a:solidFill>
                          <a:latin typeface="+mn-lt"/>
                          <a:ea typeface="+mn-ea"/>
                          <a:cs typeface="+mn-cs"/>
                        </a:rPr>
                        <a:t>, </a:t>
                      </a:r>
                      <a:r>
                        <a:rPr lang="en-US" sz="1600" b="0" i="0" kern="1200" dirty="0" err="1">
                          <a:solidFill>
                            <a:schemeClr val="dk1"/>
                          </a:solidFill>
                          <a:latin typeface="+mn-lt"/>
                          <a:ea typeface="+mn-ea"/>
                          <a:cs typeface="+mn-cs"/>
                        </a:rPr>
                        <a:t>warfarin</a:t>
                      </a:r>
                      <a:r>
                        <a:rPr lang="en-US" sz="1600" b="0" i="0" kern="1200" dirty="0">
                          <a:solidFill>
                            <a:schemeClr val="dk1"/>
                          </a:solidFill>
                          <a:latin typeface="+mn-lt"/>
                          <a:ea typeface="+mn-ea"/>
                          <a:cs typeface="+mn-cs"/>
                        </a:rPr>
                        <a:t>,</a:t>
                      </a:r>
                      <a:r>
                        <a:rPr lang="en-US" sz="1600" b="0" i="0" kern="1200" baseline="0" dirty="0">
                          <a:solidFill>
                            <a:schemeClr val="dk1"/>
                          </a:solidFill>
                          <a:latin typeface="+mn-lt"/>
                          <a:ea typeface="+mn-ea"/>
                          <a:cs typeface="+mn-cs"/>
                        </a:rPr>
                        <a:t> calcium channel blockers -</a:t>
                      </a:r>
                      <a:r>
                        <a:rPr lang="en-US" sz="1600" b="1" dirty="0"/>
                        <a:t> </a:t>
                      </a:r>
                      <a:r>
                        <a:rPr lang="en-US" sz="1600" b="0" dirty="0"/>
                        <a:t>Increase</a:t>
                      </a:r>
                      <a:r>
                        <a:rPr lang="en-US" sz="1600" b="0" baseline="0" dirty="0"/>
                        <a:t> of </a:t>
                      </a:r>
                      <a:r>
                        <a:rPr lang="en-US" sz="1600" b="0" baseline="0" dirty="0" err="1"/>
                        <a:t>tacrolimus</a:t>
                      </a:r>
                      <a:r>
                        <a:rPr lang="en-US" sz="1600" b="0" baseline="0" dirty="0"/>
                        <a:t> &gt; cyclosporine levels)</a:t>
                      </a:r>
                    </a:p>
                  </a:txBody>
                  <a:tcPr/>
                </a:tc>
                <a:tc>
                  <a:txBody>
                    <a:bodyPr/>
                    <a:lstStyle/>
                    <a:p>
                      <a:pPr algn="l">
                        <a:lnSpc>
                          <a:spcPct val="100000"/>
                        </a:lnSpc>
                      </a:pPr>
                      <a:r>
                        <a:rPr lang="el-GR" sz="1800" b="1" dirty="0" err="1"/>
                        <a:t>Επαγωγείς</a:t>
                      </a:r>
                      <a:r>
                        <a:rPr lang="el-GR" sz="1800" b="1" dirty="0"/>
                        <a:t> </a:t>
                      </a:r>
                      <a:r>
                        <a:rPr lang="en-US" sz="1800" b="1" dirty="0"/>
                        <a:t>P-glycoprotein</a:t>
                      </a:r>
                      <a:r>
                        <a:rPr lang="en-US" sz="1800" b="1" baseline="0" dirty="0"/>
                        <a:t>, </a:t>
                      </a:r>
                      <a:r>
                        <a:rPr lang="en-US" sz="1800" b="0" baseline="0" dirty="0" err="1"/>
                        <a:t>gemfibrozil</a:t>
                      </a:r>
                      <a:r>
                        <a:rPr lang="en-US" sz="1800" b="0" baseline="0" dirty="0"/>
                        <a:t>, </a:t>
                      </a:r>
                      <a:r>
                        <a:rPr lang="en-US" sz="1800" b="0" baseline="0" dirty="0" err="1"/>
                        <a:t>lovastatin</a:t>
                      </a:r>
                      <a:r>
                        <a:rPr lang="en-US" sz="1800" b="0" baseline="0" dirty="0"/>
                        <a:t>, </a:t>
                      </a:r>
                      <a:r>
                        <a:rPr lang="en-US" sz="1800" b="0" baseline="0" dirty="0" err="1"/>
                        <a:t>simvastatin</a:t>
                      </a:r>
                      <a:r>
                        <a:rPr lang="en-US" sz="1800" b="0" baseline="0" dirty="0"/>
                        <a:t>, oral </a:t>
                      </a:r>
                      <a:r>
                        <a:rPr lang="en-US" sz="1800" b="0" baseline="0" dirty="0" err="1"/>
                        <a:t>midazolam</a:t>
                      </a:r>
                      <a:r>
                        <a:rPr lang="en-US" sz="1800" b="0" baseline="0" dirty="0"/>
                        <a:t>, </a:t>
                      </a:r>
                      <a:r>
                        <a:rPr lang="en-US" sz="1800" b="0" baseline="0" dirty="0" err="1"/>
                        <a:t>triazolam</a:t>
                      </a:r>
                      <a:r>
                        <a:rPr lang="en-US" sz="1800" b="0" baseline="0" dirty="0"/>
                        <a:t>, </a:t>
                      </a:r>
                      <a:r>
                        <a:rPr lang="en-US" sz="1800" b="0" baseline="0" dirty="0" err="1"/>
                        <a:t>pimozide</a:t>
                      </a:r>
                      <a:r>
                        <a:rPr lang="en-US" sz="1800" b="0" baseline="0" dirty="0"/>
                        <a:t>, </a:t>
                      </a:r>
                      <a:r>
                        <a:rPr lang="en-US" sz="1800" b="0" baseline="0" dirty="0" err="1"/>
                        <a:t>ethinyl</a:t>
                      </a:r>
                      <a:r>
                        <a:rPr lang="en-US" sz="1800" b="0" baseline="0" dirty="0"/>
                        <a:t> </a:t>
                      </a:r>
                      <a:r>
                        <a:rPr lang="en-US" sz="1800" b="0" baseline="0" dirty="0" err="1"/>
                        <a:t>estradiol</a:t>
                      </a:r>
                      <a:r>
                        <a:rPr lang="en-US" sz="1800" b="0" baseline="0" dirty="0"/>
                        <a:t>-containing oral contraceptives, </a:t>
                      </a:r>
                      <a:r>
                        <a:rPr lang="en-US" sz="1800" b="0" baseline="0" dirty="0" err="1"/>
                        <a:t>sildenafil</a:t>
                      </a:r>
                      <a:r>
                        <a:rPr lang="en-US" sz="1800" b="0" baseline="0" dirty="0"/>
                        <a:t> </a:t>
                      </a:r>
                      <a:r>
                        <a:rPr lang="el-GR" sz="1800" b="0" baseline="0" dirty="0"/>
                        <a:t>για πνευμονική υπέρταση</a:t>
                      </a:r>
                      <a:endParaRPr lang="en-US" sz="1800" b="0" baseline="0" dirty="0"/>
                    </a:p>
                  </a:txBody>
                  <a:tcPr/>
                </a:tc>
                <a:extLst>
                  <a:ext uri="{0D108BD9-81ED-4DB2-BD59-A6C34878D82A}">
                    <a16:rowId xmlns:a16="http://schemas.microsoft.com/office/drawing/2014/main" val="10005"/>
                  </a:ext>
                </a:extLst>
              </a:tr>
            </a:tbl>
          </a:graphicData>
        </a:graphic>
      </p:graphicFrame>
      <p:sp>
        <p:nvSpPr>
          <p:cNvPr id="3" name="TextBox 2">
            <a:extLst>
              <a:ext uri="{FF2B5EF4-FFF2-40B4-BE49-F238E27FC236}">
                <a16:creationId xmlns:a16="http://schemas.microsoft.com/office/drawing/2014/main" id="{C47FBB6A-49DD-49D1-BCD9-F9CAACFF3271}"/>
              </a:ext>
            </a:extLst>
          </p:cNvPr>
          <p:cNvSpPr txBox="1"/>
          <p:nvPr/>
        </p:nvSpPr>
        <p:spPr>
          <a:xfrm>
            <a:off x="390972" y="2433082"/>
            <a:ext cx="9455024" cy="707886"/>
          </a:xfrm>
          <a:prstGeom prst="rect">
            <a:avLst/>
          </a:prstGeom>
          <a:solidFill>
            <a:schemeClr val="accent1"/>
          </a:solidFill>
        </p:spPr>
        <p:txBody>
          <a:bodyPr wrap="none" rtlCol="0">
            <a:spAutoFit/>
          </a:bodyPr>
          <a:lstStyle/>
          <a:p>
            <a:r>
              <a:rPr lang="en-US" sz="4000" dirty="0"/>
              <a:t>https://www.hep-druginteractions.org/</a:t>
            </a:r>
            <a:endParaRPr lang="el-GR" sz="4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4AE78454-719A-4A57-99B0-ED19AB0D0982}"/>
              </a:ext>
            </a:extLst>
          </p:cNvPr>
          <p:cNvSpPr>
            <a:spLocks noGrp="1" noChangeArrowheads="1"/>
          </p:cNvSpPr>
          <p:nvPr>
            <p:ph type="title"/>
          </p:nvPr>
        </p:nvSpPr>
        <p:spPr>
          <a:xfrm>
            <a:off x="850466" y="116632"/>
            <a:ext cx="8743950" cy="1143000"/>
          </a:xfrm>
        </p:spPr>
        <p:txBody>
          <a:bodyPr/>
          <a:lstStyle/>
          <a:p>
            <a:pPr eaLnBrk="1" hangingPunct="1"/>
            <a:r>
              <a:rPr lang="en-US" altLang="el-GR" sz="3600" b="1" dirty="0">
                <a:solidFill>
                  <a:srgbClr val="F5F024"/>
                </a:solidFill>
              </a:rPr>
              <a:t>HBV </a:t>
            </a:r>
            <a:r>
              <a:rPr lang="el-GR" altLang="el-GR" sz="3600" b="1" dirty="0">
                <a:solidFill>
                  <a:srgbClr val="F5F024"/>
                </a:solidFill>
              </a:rPr>
              <a:t>σε μούμια από την Κορέα</a:t>
            </a:r>
            <a:endParaRPr lang="en-US" altLang="el-GR" sz="3600" b="1" dirty="0">
              <a:solidFill>
                <a:srgbClr val="F5F024"/>
              </a:solidFill>
            </a:endParaRPr>
          </a:p>
        </p:txBody>
      </p:sp>
      <p:sp>
        <p:nvSpPr>
          <p:cNvPr id="6147" name="Rectangle 3">
            <a:extLst>
              <a:ext uri="{FF2B5EF4-FFF2-40B4-BE49-F238E27FC236}">
                <a16:creationId xmlns:a16="http://schemas.microsoft.com/office/drawing/2014/main" id="{2E4D3F55-0E2A-4554-8D36-A391E1486958}"/>
              </a:ext>
            </a:extLst>
          </p:cNvPr>
          <p:cNvSpPr>
            <a:spLocks noGrp="1" noChangeArrowheads="1"/>
          </p:cNvSpPr>
          <p:nvPr>
            <p:ph sz="half" idx="4294967295"/>
          </p:nvPr>
        </p:nvSpPr>
        <p:spPr>
          <a:xfrm>
            <a:off x="470189" y="1340768"/>
            <a:ext cx="4776353" cy="4997886"/>
          </a:xfrm>
        </p:spPr>
        <p:txBody>
          <a:bodyPr/>
          <a:lstStyle/>
          <a:p>
            <a:pPr marL="350838" indent="-350838" eaLnBrk="1" hangingPunct="1">
              <a:spcBef>
                <a:spcPts val="1800"/>
              </a:spcBef>
            </a:pPr>
            <a:r>
              <a:rPr lang="el-GR" altLang="el-GR" sz="2200" dirty="0"/>
              <a:t>ΗΒ</a:t>
            </a:r>
            <a:r>
              <a:rPr lang="en-US" altLang="el-GR" sz="2200" dirty="0"/>
              <a:t>V</a:t>
            </a:r>
            <a:r>
              <a:rPr lang="el-GR" altLang="el-GR" sz="2200" dirty="0"/>
              <a:t> σε ήπαρ από μούμια</a:t>
            </a:r>
            <a:r>
              <a:rPr lang="en-US" altLang="el-GR" sz="2200" dirty="0"/>
              <a:t> </a:t>
            </a:r>
            <a:r>
              <a:rPr lang="el-GR" altLang="el-GR" sz="2200" dirty="0"/>
              <a:t>στη Η</a:t>
            </a:r>
            <a:r>
              <a:rPr lang="en-US" altLang="el-GR" sz="2200" dirty="0" err="1"/>
              <a:t>andong</a:t>
            </a:r>
            <a:r>
              <a:rPr lang="el-GR" altLang="el-GR" sz="2200" dirty="0"/>
              <a:t>, Νότιος Κορέα</a:t>
            </a:r>
            <a:endParaRPr lang="en-US" altLang="el-GR" sz="2000" dirty="0"/>
          </a:p>
          <a:p>
            <a:pPr marL="750888" lvl="1" indent="-350838" eaLnBrk="1" hangingPunct="1">
              <a:spcBef>
                <a:spcPts val="1800"/>
              </a:spcBef>
            </a:pPr>
            <a:r>
              <a:rPr lang="en-US" altLang="el-GR" sz="1800" dirty="0"/>
              <a:t>500-</a:t>
            </a:r>
            <a:r>
              <a:rPr lang="el-GR" altLang="el-GR" sz="1800" dirty="0"/>
              <a:t>ετών παιδί</a:t>
            </a:r>
            <a:endParaRPr lang="en-US" altLang="el-GR" sz="1800" dirty="0"/>
          </a:p>
          <a:p>
            <a:pPr marL="350838" indent="-350838" eaLnBrk="1" hangingPunct="1">
              <a:spcBef>
                <a:spcPts val="1800"/>
              </a:spcBef>
            </a:pPr>
            <a:r>
              <a:rPr lang="el-GR" altLang="el-GR" sz="2200" dirty="0"/>
              <a:t>Πρώτη φορά </a:t>
            </a:r>
            <a:r>
              <a:rPr lang="en-US" altLang="el-GR" sz="2200" dirty="0"/>
              <a:t>HBV </a:t>
            </a:r>
            <a:r>
              <a:rPr lang="el-GR" altLang="el-GR" sz="2200" dirty="0"/>
              <a:t>σε μούμια ανθρώπινου σώματος</a:t>
            </a:r>
            <a:r>
              <a:rPr lang="en-US" altLang="el-GR" sz="2200" dirty="0"/>
              <a:t> </a:t>
            </a:r>
          </a:p>
          <a:p>
            <a:pPr marL="350838" indent="-350838" eaLnBrk="1" hangingPunct="1">
              <a:spcBef>
                <a:spcPts val="1800"/>
              </a:spcBef>
            </a:pPr>
            <a:r>
              <a:rPr lang="el-GR" altLang="el-GR" sz="2200" dirty="0"/>
              <a:t>Μελέτη του γονιδιώματος υπό εξέλιξη</a:t>
            </a:r>
            <a:r>
              <a:rPr lang="en-US" altLang="el-GR" sz="2000" dirty="0"/>
              <a:t> </a:t>
            </a:r>
          </a:p>
          <a:p>
            <a:pPr marL="750888" lvl="1" indent="-350838" eaLnBrk="1" hangingPunct="1">
              <a:spcBef>
                <a:spcPts val="1800"/>
              </a:spcBef>
            </a:pPr>
            <a:r>
              <a:rPr lang="el-GR" altLang="el-GR" sz="1800" dirty="0"/>
              <a:t>Αλλαγές </a:t>
            </a:r>
            <a:r>
              <a:rPr lang="en-US" altLang="el-GR" sz="1800" dirty="0"/>
              <a:t>HBV </a:t>
            </a:r>
            <a:r>
              <a:rPr lang="el-GR" altLang="el-GR" sz="1800" dirty="0"/>
              <a:t>μέσα στους αιώνες;</a:t>
            </a:r>
            <a:endParaRPr lang="en-US" altLang="el-GR" sz="1800" dirty="0"/>
          </a:p>
        </p:txBody>
      </p:sp>
      <p:pic>
        <p:nvPicPr>
          <p:cNvPr id="6148" name="Picture 4" descr="070725_mummy_vmed_1p">
            <a:extLst>
              <a:ext uri="{FF2B5EF4-FFF2-40B4-BE49-F238E27FC236}">
                <a16:creationId xmlns:a16="http://schemas.microsoft.com/office/drawing/2014/main" id="{913EAA16-18B5-4A74-AB54-FB5934B19C39}"/>
              </a:ext>
            </a:extLst>
          </p:cNvPr>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a:xfrm>
            <a:off x="5439675" y="1170778"/>
            <a:ext cx="4377136" cy="4994526"/>
          </a:xfrm>
          <a:noFill/>
        </p:spPr>
      </p:pic>
      <p:sp>
        <p:nvSpPr>
          <p:cNvPr id="6149" name="Rectangle 5">
            <a:extLst>
              <a:ext uri="{FF2B5EF4-FFF2-40B4-BE49-F238E27FC236}">
                <a16:creationId xmlns:a16="http://schemas.microsoft.com/office/drawing/2014/main" id="{D722F32A-68C9-4F9A-868F-2F343115DCA7}"/>
              </a:ext>
            </a:extLst>
          </p:cNvPr>
          <p:cNvSpPr>
            <a:spLocks noChangeArrowheads="1"/>
          </p:cNvSpPr>
          <p:nvPr/>
        </p:nvSpPr>
        <p:spPr bwMode="auto">
          <a:xfrm>
            <a:off x="6333121" y="6165304"/>
            <a:ext cx="30588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i="1">
                <a:solidFill>
                  <a:schemeClr val="tx1"/>
                </a:solidFill>
                <a:latin typeface="Arial" panose="020B0604020202020204" pitchFamily="34" charset="0"/>
              </a:defRPr>
            </a:lvl1pPr>
            <a:lvl2pPr marL="742950" indent="-285750" eaLnBrk="0" hangingPunct="0">
              <a:defRPr i="1">
                <a:solidFill>
                  <a:schemeClr val="tx1"/>
                </a:solidFill>
                <a:latin typeface="Arial" panose="020B0604020202020204" pitchFamily="34" charset="0"/>
              </a:defRPr>
            </a:lvl2pPr>
            <a:lvl3pPr marL="1143000" indent="-228600" eaLnBrk="0" hangingPunct="0">
              <a:defRPr i="1">
                <a:solidFill>
                  <a:schemeClr val="tx1"/>
                </a:solidFill>
                <a:latin typeface="Arial" panose="020B0604020202020204" pitchFamily="34" charset="0"/>
              </a:defRPr>
            </a:lvl3pPr>
            <a:lvl4pPr marL="1600200" indent="-228600" eaLnBrk="0" hangingPunct="0">
              <a:defRPr i="1">
                <a:solidFill>
                  <a:schemeClr val="tx1"/>
                </a:solidFill>
                <a:latin typeface="Arial" panose="020B0604020202020204" pitchFamily="34" charset="0"/>
              </a:defRPr>
            </a:lvl4pPr>
            <a:lvl5pPr marL="2057400" indent="-228600" eaLnBrk="0" hangingPunct="0">
              <a:defRPr i="1">
                <a:solidFill>
                  <a:schemeClr val="tx1"/>
                </a:solidFill>
                <a:latin typeface="Arial" panose="020B0604020202020204" pitchFamily="34" charset="0"/>
              </a:defRPr>
            </a:lvl5pPr>
            <a:lvl6pPr marL="25146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6pPr>
            <a:lvl7pPr marL="29718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7pPr>
            <a:lvl8pPr marL="34290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8pPr>
            <a:lvl9pPr marL="38862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l-GR" sz="1400" i="0" dirty="0">
                <a:solidFill>
                  <a:srgbClr val="FFFFFF"/>
                </a:solidFill>
                <a:ea typeface="MS PGothic" panose="020B0600070205080204" pitchFamily="34" charset="-128"/>
              </a:rPr>
              <a:t>Source: Seoul National University</a:t>
            </a:r>
            <a:endParaRPr lang="en-US" altLang="el-GR" sz="1400" i="0" dirty="0">
              <a:ea typeface="MS PGothic" panose="020B0600070205080204" pitchFamily="34" charset="-128"/>
            </a:endParaRPr>
          </a:p>
        </p:txBody>
      </p:sp>
      <p:sp>
        <p:nvSpPr>
          <p:cNvPr id="6150" name="Rectangle 5">
            <a:extLst>
              <a:ext uri="{FF2B5EF4-FFF2-40B4-BE49-F238E27FC236}">
                <a16:creationId xmlns:a16="http://schemas.microsoft.com/office/drawing/2014/main" id="{E0366713-EEF2-4F4B-B60D-9B0699E83BD1}"/>
              </a:ext>
            </a:extLst>
          </p:cNvPr>
          <p:cNvSpPr>
            <a:spLocks noChangeArrowheads="1"/>
          </p:cNvSpPr>
          <p:nvPr/>
        </p:nvSpPr>
        <p:spPr bwMode="auto">
          <a:xfrm>
            <a:off x="313904" y="6278904"/>
            <a:ext cx="77458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panose="020B0604020202020204" pitchFamily="34" charset="0"/>
              </a:defRPr>
            </a:lvl1pPr>
            <a:lvl2pPr marL="742950" indent="-285750" eaLnBrk="0" hangingPunct="0">
              <a:defRPr i="1">
                <a:solidFill>
                  <a:schemeClr val="tx1"/>
                </a:solidFill>
                <a:latin typeface="Arial" panose="020B0604020202020204" pitchFamily="34" charset="0"/>
              </a:defRPr>
            </a:lvl2pPr>
            <a:lvl3pPr marL="1143000" indent="-228600" eaLnBrk="0" hangingPunct="0">
              <a:defRPr i="1">
                <a:solidFill>
                  <a:schemeClr val="tx1"/>
                </a:solidFill>
                <a:latin typeface="Arial" panose="020B0604020202020204" pitchFamily="34" charset="0"/>
              </a:defRPr>
            </a:lvl3pPr>
            <a:lvl4pPr marL="1600200" indent="-228600" eaLnBrk="0" hangingPunct="0">
              <a:defRPr i="1">
                <a:solidFill>
                  <a:schemeClr val="tx1"/>
                </a:solidFill>
                <a:latin typeface="Arial" panose="020B0604020202020204" pitchFamily="34" charset="0"/>
              </a:defRPr>
            </a:lvl4pPr>
            <a:lvl5pPr marL="2057400" indent="-228600" eaLnBrk="0" hangingPunct="0">
              <a:defRPr i="1">
                <a:solidFill>
                  <a:schemeClr val="tx1"/>
                </a:solidFill>
                <a:latin typeface="Arial" panose="020B0604020202020204" pitchFamily="34" charset="0"/>
              </a:defRPr>
            </a:lvl5pPr>
            <a:lvl6pPr marL="25146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6pPr>
            <a:lvl7pPr marL="29718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7pPr>
            <a:lvl8pPr marL="34290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8pPr>
            <a:lvl9pPr marL="3886200" indent="-228600" eaLnBrk="0" fontAlgn="base" hangingPunct="0">
              <a:lnSpc>
                <a:spcPct val="90000"/>
              </a:lnSpc>
              <a:spcBef>
                <a:spcPct val="35000"/>
              </a:spcBef>
              <a:spcAft>
                <a:spcPct val="25000"/>
              </a:spcAft>
              <a:buClr>
                <a:schemeClr val="folHlink"/>
              </a:buClr>
              <a:buFont typeface="Arial" panose="020B0604020202020204" pitchFamily="34" charset="0"/>
              <a:buChar char="•"/>
              <a:defRPr i="1">
                <a:solidFill>
                  <a:schemeClr val="tx1"/>
                </a:solidFill>
                <a:latin typeface="Arial" panose="020B0604020202020204" pitchFamily="34" charset="0"/>
              </a:defRPr>
            </a:lvl9pPr>
          </a:lstStyle>
          <a:p>
            <a:pPr eaLnBrk="1" hangingPunct="1">
              <a:buFont typeface="Arial" panose="020B0604020202020204" pitchFamily="34" charset="0"/>
              <a:buNone/>
            </a:pPr>
            <a:r>
              <a:rPr lang="en-US" altLang="el-GR" sz="1400" i="0" dirty="0"/>
              <a:t>http://www.sciencedaily.com/releases/2007/07/070725093556.htm</a:t>
            </a:r>
          </a:p>
        </p:txBody>
      </p:sp>
    </p:spTree>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0" y="78308"/>
            <a:ext cx="8607018" cy="1118444"/>
          </a:xfrm>
        </p:spPr>
        <p:txBody>
          <a:bodyPr>
            <a:normAutofit/>
          </a:bodyPr>
          <a:lstStyle/>
          <a:p>
            <a:r>
              <a:rPr lang="en-US" sz="2800" b="1" dirty="0"/>
              <a:t>HCV</a:t>
            </a:r>
            <a:r>
              <a:rPr lang="el-GR" sz="2800" b="1" dirty="0"/>
              <a:t> παγκόσμιο πρόβλημα υγείας</a:t>
            </a:r>
            <a:r>
              <a:rPr lang="en-US" sz="2800" b="1" dirty="0"/>
              <a:t>: </a:t>
            </a:r>
            <a:r>
              <a:rPr lang="el-GR" sz="2800" b="1" dirty="0"/>
              <a:t>στόχοι </a:t>
            </a:r>
            <a:r>
              <a:rPr lang="en-US" sz="2800" b="1" dirty="0"/>
              <a:t>WHO </a:t>
            </a:r>
            <a:endParaRPr lang="el-GR" sz="2800" b="1" dirty="0"/>
          </a:p>
        </p:txBody>
      </p:sp>
      <p:pic>
        <p:nvPicPr>
          <p:cNvPr id="3" name="Picture 41">
            <a:extLst>
              <a:ext uri="{FF2B5EF4-FFF2-40B4-BE49-F238E27FC236}">
                <a16:creationId xmlns:a16="http://schemas.microsoft.com/office/drawing/2014/main" id="{DEEB07B0-57F5-4DF4-A61E-41D386017F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07018" y="266571"/>
            <a:ext cx="1678750" cy="814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 5"/>
          <p:cNvGrpSpPr>
            <a:grpSpLocks/>
          </p:cNvGrpSpPr>
          <p:nvPr/>
        </p:nvGrpSpPr>
        <p:grpSpPr bwMode="auto">
          <a:xfrm>
            <a:off x="803177" y="2216868"/>
            <a:ext cx="7808733" cy="3505901"/>
            <a:chOff x="1258567" y="1762527"/>
            <a:chExt cx="6985841" cy="3807504"/>
          </a:xfrm>
        </p:grpSpPr>
        <p:sp>
          <p:nvSpPr>
            <p:cNvPr id="5" name="Rectangle 43">
              <a:extLst>
                <a:ext uri="{FF2B5EF4-FFF2-40B4-BE49-F238E27FC236}">
                  <a16:creationId xmlns:a16="http://schemas.microsoft.com/office/drawing/2014/main" id="{13CF8D4D-D16C-43E6-89CB-29318F8D7528}"/>
                </a:ext>
              </a:extLst>
            </p:cNvPr>
            <p:cNvSpPr/>
            <p:nvPr/>
          </p:nvSpPr>
          <p:spPr>
            <a:xfrm>
              <a:off x="2257606" y="2527126"/>
              <a:ext cx="1294220" cy="24397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sp>
          <p:nvSpPr>
            <p:cNvPr id="6" name="Rectangle 2">
              <a:extLst>
                <a:ext uri="{FF2B5EF4-FFF2-40B4-BE49-F238E27FC236}">
                  <a16:creationId xmlns:a16="http://schemas.microsoft.com/office/drawing/2014/main" id="{FE3E2E68-306C-43EB-B839-B1254E879BAE}"/>
                </a:ext>
              </a:extLst>
            </p:cNvPr>
            <p:cNvSpPr/>
            <p:nvPr/>
          </p:nvSpPr>
          <p:spPr>
            <a:xfrm>
              <a:off x="2257606" y="2521514"/>
              <a:ext cx="1294220" cy="2215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cxnSp>
          <p:nvCxnSpPr>
            <p:cNvPr id="7" name="Straight Connector 3">
              <a:extLst>
                <a:ext uri="{FF2B5EF4-FFF2-40B4-BE49-F238E27FC236}">
                  <a16:creationId xmlns:a16="http://schemas.microsoft.com/office/drawing/2014/main" id="{0B4587D1-074E-416F-B6A3-DBC735019DEC}"/>
                </a:ext>
              </a:extLst>
            </p:cNvPr>
            <p:cNvCxnSpPr/>
            <p:nvPr/>
          </p:nvCxnSpPr>
          <p:spPr>
            <a:xfrm>
              <a:off x="1922323" y="2527126"/>
              <a:ext cx="0" cy="24831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20">
              <a:extLst>
                <a:ext uri="{FF2B5EF4-FFF2-40B4-BE49-F238E27FC236}">
                  <a16:creationId xmlns:a16="http://schemas.microsoft.com/office/drawing/2014/main" id="{0BB04F51-D9EF-4C0C-BE61-1F540F42A2CD}"/>
                </a:ext>
              </a:extLst>
            </p:cNvPr>
            <p:cNvCxnSpPr/>
            <p:nvPr/>
          </p:nvCxnSpPr>
          <p:spPr>
            <a:xfrm>
              <a:off x="1868512" y="2528529"/>
              <a:ext cx="5381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27">
              <a:extLst>
                <a:ext uri="{FF2B5EF4-FFF2-40B4-BE49-F238E27FC236}">
                  <a16:creationId xmlns:a16="http://schemas.microsoft.com/office/drawing/2014/main" id="{1B7F45BA-B25C-43D1-8A01-763349DB0850}"/>
                </a:ext>
              </a:extLst>
            </p:cNvPr>
            <p:cNvCxnSpPr/>
            <p:nvPr/>
          </p:nvCxnSpPr>
          <p:spPr>
            <a:xfrm>
              <a:off x="1868512" y="3016749"/>
              <a:ext cx="5381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28">
              <a:extLst>
                <a:ext uri="{FF2B5EF4-FFF2-40B4-BE49-F238E27FC236}">
                  <a16:creationId xmlns:a16="http://schemas.microsoft.com/office/drawing/2014/main" id="{476D0FE7-8937-4D01-BCC3-BE5820EDB721}"/>
                </a:ext>
              </a:extLst>
            </p:cNvPr>
            <p:cNvCxnSpPr/>
            <p:nvPr/>
          </p:nvCxnSpPr>
          <p:spPr>
            <a:xfrm>
              <a:off x="1868512" y="3503568"/>
              <a:ext cx="5381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29">
              <a:extLst>
                <a:ext uri="{FF2B5EF4-FFF2-40B4-BE49-F238E27FC236}">
                  <a16:creationId xmlns:a16="http://schemas.microsoft.com/office/drawing/2014/main" id="{7E046515-27F2-4521-A3FC-8D17375B770D}"/>
                </a:ext>
              </a:extLst>
            </p:cNvPr>
            <p:cNvCxnSpPr/>
            <p:nvPr/>
          </p:nvCxnSpPr>
          <p:spPr>
            <a:xfrm>
              <a:off x="1868512" y="3991788"/>
              <a:ext cx="5381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30">
              <a:extLst>
                <a:ext uri="{FF2B5EF4-FFF2-40B4-BE49-F238E27FC236}">
                  <a16:creationId xmlns:a16="http://schemas.microsoft.com/office/drawing/2014/main" id="{4323090D-9F56-483F-958E-CDF30A0ABB5D}"/>
                </a:ext>
              </a:extLst>
            </p:cNvPr>
            <p:cNvCxnSpPr/>
            <p:nvPr/>
          </p:nvCxnSpPr>
          <p:spPr>
            <a:xfrm>
              <a:off x="1868512" y="4480009"/>
              <a:ext cx="5381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1"/>
            <p:cNvSpPr txBox="1">
              <a:spLocks noChangeArrowheads="1"/>
            </p:cNvSpPr>
            <p:nvPr/>
          </p:nvSpPr>
          <p:spPr bwMode="auto">
            <a:xfrm>
              <a:off x="1531857" y="4831892"/>
              <a:ext cx="336928" cy="26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eaLnBrk="0" fontAlgn="base" hangingPunct="0">
                <a:spcBef>
                  <a:spcPct val="0"/>
                </a:spcBef>
                <a:spcAft>
                  <a:spcPct val="0"/>
                </a:spcAft>
                <a:buNone/>
                <a:defRPr/>
              </a:pPr>
              <a:r>
                <a:rPr lang="en-GB" altLang="en-US" sz="1013" dirty="0"/>
                <a:t>0</a:t>
              </a:r>
            </a:p>
          </p:txBody>
        </p:sp>
        <p:sp>
          <p:nvSpPr>
            <p:cNvPr id="14" name="TextBox 31"/>
            <p:cNvSpPr txBox="1">
              <a:spLocks noChangeArrowheads="1"/>
            </p:cNvSpPr>
            <p:nvPr/>
          </p:nvSpPr>
          <p:spPr bwMode="auto">
            <a:xfrm>
              <a:off x="1531857" y="4344189"/>
              <a:ext cx="336928" cy="26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eaLnBrk="0" fontAlgn="base" hangingPunct="0">
                <a:spcBef>
                  <a:spcPct val="0"/>
                </a:spcBef>
                <a:spcAft>
                  <a:spcPct val="0"/>
                </a:spcAft>
                <a:buNone/>
                <a:defRPr/>
              </a:pPr>
              <a:r>
                <a:rPr lang="en-GB" altLang="en-US" sz="1013" dirty="0"/>
                <a:t>20</a:t>
              </a:r>
            </a:p>
          </p:txBody>
        </p:sp>
        <p:sp>
          <p:nvSpPr>
            <p:cNvPr id="15" name="TextBox 32"/>
            <p:cNvSpPr txBox="1">
              <a:spLocks noChangeArrowheads="1"/>
            </p:cNvSpPr>
            <p:nvPr/>
          </p:nvSpPr>
          <p:spPr bwMode="auto">
            <a:xfrm>
              <a:off x="1531857" y="3856483"/>
              <a:ext cx="336928" cy="26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eaLnBrk="0" fontAlgn="base" hangingPunct="0">
                <a:spcBef>
                  <a:spcPct val="0"/>
                </a:spcBef>
                <a:spcAft>
                  <a:spcPct val="0"/>
                </a:spcAft>
                <a:buNone/>
                <a:defRPr/>
              </a:pPr>
              <a:r>
                <a:rPr lang="en-GB" altLang="en-US" sz="1013" dirty="0"/>
                <a:t>40</a:t>
              </a:r>
            </a:p>
          </p:txBody>
        </p:sp>
        <p:sp>
          <p:nvSpPr>
            <p:cNvPr id="16" name="TextBox 33"/>
            <p:cNvSpPr txBox="1">
              <a:spLocks noChangeArrowheads="1"/>
            </p:cNvSpPr>
            <p:nvPr/>
          </p:nvSpPr>
          <p:spPr bwMode="auto">
            <a:xfrm>
              <a:off x="1531857" y="3368774"/>
              <a:ext cx="336928" cy="26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eaLnBrk="0" fontAlgn="base" hangingPunct="0">
                <a:spcBef>
                  <a:spcPct val="0"/>
                </a:spcBef>
                <a:spcAft>
                  <a:spcPct val="0"/>
                </a:spcAft>
                <a:buNone/>
                <a:defRPr/>
              </a:pPr>
              <a:r>
                <a:rPr lang="en-GB" altLang="en-US" sz="1013" dirty="0"/>
                <a:t>60</a:t>
              </a:r>
            </a:p>
          </p:txBody>
        </p:sp>
        <p:sp>
          <p:nvSpPr>
            <p:cNvPr id="17" name="TextBox 34"/>
            <p:cNvSpPr txBox="1">
              <a:spLocks noChangeArrowheads="1"/>
            </p:cNvSpPr>
            <p:nvPr/>
          </p:nvSpPr>
          <p:spPr bwMode="auto">
            <a:xfrm>
              <a:off x="1531857" y="2881778"/>
              <a:ext cx="336928" cy="26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eaLnBrk="0" fontAlgn="base" hangingPunct="0">
                <a:spcBef>
                  <a:spcPct val="0"/>
                </a:spcBef>
                <a:spcAft>
                  <a:spcPct val="0"/>
                </a:spcAft>
                <a:buNone/>
                <a:defRPr/>
              </a:pPr>
              <a:r>
                <a:rPr lang="en-GB" altLang="en-US" sz="1013" dirty="0"/>
                <a:t>80</a:t>
              </a:r>
            </a:p>
          </p:txBody>
        </p:sp>
        <p:sp>
          <p:nvSpPr>
            <p:cNvPr id="18" name="TextBox 35"/>
            <p:cNvSpPr txBox="1">
              <a:spLocks noChangeArrowheads="1"/>
            </p:cNvSpPr>
            <p:nvPr/>
          </p:nvSpPr>
          <p:spPr bwMode="auto">
            <a:xfrm>
              <a:off x="1432876" y="2395118"/>
              <a:ext cx="435909" cy="26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eaLnBrk="0" fontAlgn="base" hangingPunct="0">
                <a:spcBef>
                  <a:spcPct val="0"/>
                </a:spcBef>
                <a:spcAft>
                  <a:spcPct val="0"/>
                </a:spcAft>
                <a:buNone/>
                <a:defRPr/>
              </a:pPr>
              <a:r>
                <a:rPr lang="en-GB" altLang="en-US" sz="1013" dirty="0"/>
                <a:t>100</a:t>
              </a:r>
            </a:p>
          </p:txBody>
        </p:sp>
        <p:sp>
          <p:nvSpPr>
            <p:cNvPr id="19" name="Rectangle 45">
              <a:extLst>
                <a:ext uri="{FF2B5EF4-FFF2-40B4-BE49-F238E27FC236}">
                  <a16:creationId xmlns:a16="http://schemas.microsoft.com/office/drawing/2014/main" id="{074231EE-BA77-4939-A3E6-1CF57F4823E2}"/>
                </a:ext>
              </a:extLst>
            </p:cNvPr>
            <p:cNvSpPr/>
            <p:nvPr/>
          </p:nvSpPr>
          <p:spPr>
            <a:xfrm>
              <a:off x="4310696" y="2527126"/>
              <a:ext cx="1294220" cy="24397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sp>
          <p:nvSpPr>
            <p:cNvPr id="20" name="Rectangle 46">
              <a:extLst>
                <a:ext uri="{FF2B5EF4-FFF2-40B4-BE49-F238E27FC236}">
                  <a16:creationId xmlns:a16="http://schemas.microsoft.com/office/drawing/2014/main" id="{50D12FF1-26BA-46FB-B09E-73F1D7E86182}"/>
                </a:ext>
              </a:extLst>
            </p:cNvPr>
            <p:cNvSpPr/>
            <p:nvPr/>
          </p:nvSpPr>
          <p:spPr>
            <a:xfrm>
              <a:off x="4310696" y="2521514"/>
              <a:ext cx="1294220" cy="1958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sp>
          <p:nvSpPr>
            <p:cNvPr id="21" name="Rectangle 48">
              <a:extLst>
                <a:ext uri="{FF2B5EF4-FFF2-40B4-BE49-F238E27FC236}">
                  <a16:creationId xmlns:a16="http://schemas.microsoft.com/office/drawing/2014/main" id="{4AD40680-7AEA-4F41-A06F-EAF5D7DC0F60}"/>
                </a:ext>
              </a:extLst>
            </p:cNvPr>
            <p:cNvSpPr/>
            <p:nvPr/>
          </p:nvSpPr>
          <p:spPr>
            <a:xfrm>
              <a:off x="6363787" y="2527126"/>
              <a:ext cx="1294220" cy="243970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sp>
          <p:nvSpPr>
            <p:cNvPr id="22" name="Rectangle 49">
              <a:extLst>
                <a:ext uri="{FF2B5EF4-FFF2-40B4-BE49-F238E27FC236}">
                  <a16:creationId xmlns:a16="http://schemas.microsoft.com/office/drawing/2014/main" id="{7BAF5CA0-CEBD-4872-A2C1-1CD254528775}"/>
                </a:ext>
              </a:extLst>
            </p:cNvPr>
            <p:cNvSpPr/>
            <p:nvPr/>
          </p:nvSpPr>
          <p:spPr>
            <a:xfrm>
              <a:off x="6363787" y="2521514"/>
              <a:ext cx="1294220" cy="1363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cxnSp>
          <p:nvCxnSpPr>
            <p:cNvPr id="23" name="Straight Connector 22">
              <a:extLst>
                <a:ext uri="{FF2B5EF4-FFF2-40B4-BE49-F238E27FC236}">
                  <a16:creationId xmlns:a16="http://schemas.microsoft.com/office/drawing/2014/main" id="{A6C2D450-CD46-46B0-AE17-99E4EDBC638C}"/>
                </a:ext>
              </a:extLst>
            </p:cNvPr>
            <p:cNvCxnSpPr/>
            <p:nvPr/>
          </p:nvCxnSpPr>
          <p:spPr>
            <a:xfrm flipH="1">
              <a:off x="1868512" y="4966827"/>
              <a:ext cx="614685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7"/>
            <p:cNvSpPr txBox="1">
              <a:spLocks noChangeArrowheads="1"/>
            </p:cNvSpPr>
            <p:nvPr/>
          </p:nvSpPr>
          <p:spPr bwMode="auto">
            <a:xfrm>
              <a:off x="1904319" y="1762528"/>
              <a:ext cx="2023950" cy="593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603" dirty="0"/>
                <a:t>90% </a:t>
              </a:r>
              <a:endParaRPr lang="el-GR" altLang="en-US" sz="1013" dirty="0"/>
            </a:p>
            <a:p>
              <a:pPr algn="ctr" eaLnBrk="0" fontAlgn="base" hangingPunct="0">
                <a:spcBef>
                  <a:spcPct val="0"/>
                </a:spcBef>
                <a:spcAft>
                  <a:spcPct val="0"/>
                </a:spcAft>
                <a:buNone/>
                <a:defRPr/>
              </a:pPr>
              <a:r>
                <a:rPr lang="el-GR" altLang="en-US" sz="1350" dirty="0"/>
                <a:t>Μείωση επίπτωσης</a:t>
              </a:r>
              <a:endParaRPr lang="en-GB" altLang="en-US" sz="1350" dirty="0"/>
            </a:p>
          </p:txBody>
        </p:sp>
        <p:sp>
          <p:nvSpPr>
            <p:cNvPr id="25" name="TextBox 51"/>
            <p:cNvSpPr txBox="1">
              <a:spLocks noChangeArrowheads="1"/>
            </p:cNvSpPr>
            <p:nvPr/>
          </p:nvSpPr>
          <p:spPr bwMode="auto">
            <a:xfrm>
              <a:off x="5989985" y="1762528"/>
              <a:ext cx="2023950" cy="593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603" dirty="0"/>
                <a:t>65% </a:t>
              </a:r>
              <a:endParaRPr lang="el-GR" altLang="en-US" sz="1013" dirty="0"/>
            </a:p>
            <a:p>
              <a:pPr algn="ctr" eaLnBrk="0" fontAlgn="base" hangingPunct="0">
                <a:spcBef>
                  <a:spcPct val="0"/>
                </a:spcBef>
                <a:spcAft>
                  <a:spcPct val="0"/>
                </a:spcAft>
                <a:buNone/>
                <a:defRPr/>
              </a:pPr>
              <a:r>
                <a:rPr lang="el-GR" altLang="en-US" sz="1350" dirty="0"/>
                <a:t>Μείωση θνητότητας</a:t>
              </a:r>
              <a:endParaRPr lang="en-GB" altLang="en-US" sz="1350" dirty="0"/>
            </a:p>
          </p:txBody>
        </p:sp>
        <p:sp>
          <p:nvSpPr>
            <p:cNvPr id="26" name="TextBox 52"/>
            <p:cNvSpPr txBox="1">
              <a:spLocks noChangeArrowheads="1"/>
            </p:cNvSpPr>
            <p:nvPr/>
          </p:nvSpPr>
          <p:spPr bwMode="auto">
            <a:xfrm>
              <a:off x="3862865" y="1762527"/>
              <a:ext cx="2186469" cy="593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603" dirty="0"/>
                <a:t>80%</a:t>
              </a:r>
              <a:endParaRPr lang="el-GR" altLang="en-US" sz="1603" dirty="0"/>
            </a:p>
            <a:p>
              <a:pPr algn="ctr" eaLnBrk="0" fontAlgn="base" hangingPunct="0">
                <a:spcBef>
                  <a:spcPct val="0"/>
                </a:spcBef>
                <a:spcAft>
                  <a:spcPct val="0"/>
                </a:spcAft>
                <a:buNone/>
                <a:defRPr/>
              </a:pPr>
              <a:r>
                <a:rPr lang="el-GR" altLang="en-US" sz="1350" dirty="0"/>
                <a:t>θεραπεία</a:t>
              </a:r>
              <a:endParaRPr lang="en-GB" altLang="en-US" sz="1350" dirty="0"/>
            </a:p>
          </p:txBody>
        </p:sp>
        <p:sp>
          <p:nvSpPr>
            <p:cNvPr id="27" name="TextBox 36"/>
            <p:cNvSpPr txBox="1">
              <a:spLocks noChangeArrowheads="1"/>
            </p:cNvSpPr>
            <p:nvPr/>
          </p:nvSpPr>
          <p:spPr bwMode="auto">
            <a:xfrm>
              <a:off x="2046980" y="5001800"/>
              <a:ext cx="1697063" cy="56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400" dirty="0"/>
                <a:t>New cases of chronic hepatitis C</a:t>
              </a:r>
            </a:p>
          </p:txBody>
        </p:sp>
        <p:sp>
          <p:nvSpPr>
            <p:cNvPr id="28" name="TextBox 37"/>
            <p:cNvSpPr txBox="1">
              <a:spLocks noChangeArrowheads="1"/>
            </p:cNvSpPr>
            <p:nvPr/>
          </p:nvSpPr>
          <p:spPr bwMode="auto">
            <a:xfrm>
              <a:off x="5839174" y="5001801"/>
              <a:ext cx="2405234" cy="334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400" dirty="0"/>
                <a:t>Hepatitis C deaths </a:t>
              </a:r>
            </a:p>
          </p:txBody>
        </p:sp>
        <p:sp>
          <p:nvSpPr>
            <p:cNvPr id="29" name="TextBox 38"/>
            <p:cNvSpPr txBox="1">
              <a:spLocks noChangeArrowheads="1"/>
            </p:cNvSpPr>
            <p:nvPr/>
          </p:nvSpPr>
          <p:spPr bwMode="auto">
            <a:xfrm>
              <a:off x="3903738" y="5001799"/>
              <a:ext cx="2123058" cy="568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400" dirty="0"/>
                <a:t>Treatment-eligible people with chronic hepatitis C</a:t>
              </a:r>
            </a:p>
          </p:txBody>
        </p:sp>
        <p:sp>
          <p:nvSpPr>
            <p:cNvPr id="30" name="TextBox 9"/>
            <p:cNvSpPr txBox="1">
              <a:spLocks noChangeArrowheads="1"/>
            </p:cNvSpPr>
            <p:nvPr/>
          </p:nvSpPr>
          <p:spPr bwMode="auto">
            <a:xfrm rot="16200000">
              <a:off x="479715" y="3616130"/>
              <a:ext cx="1860984" cy="30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eaLnBrk="0" fontAlgn="base" hangingPunct="0">
                <a:spcBef>
                  <a:spcPct val="0"/>
                </a:spcBef>
                <a:spcAft>
                  <a:spcPct val="0"/>
                </a:spcAft>
                <a:buNone/>
                <a:defRPr/>
              </a:pPr>
              <a:r>
                <a:rPr lang="en-GB" altLang="en-US" sz="1603" dirty="0"/>
                <a:t>Percentage</a:t>
              </a:r>
            </a:p>
          </p:txBody>
        </p:sp>
        <p:sp>
          <p:nvSpPr>
            <p:cNvPr id="31" name="Down Arrow 12">
              <a:extLst>
                <a:ext uri="{FF2B5EF4-FFF2-40B4-BE49-F238E27FC236}">
                  <a16:creationId xmlns:a16="http://schemas.microsoft.com/office/drawing/2014/main" id="{B812F697-0A31-40F4-B38F-C049ACD9ED5F}"/>
                </a:ext>
              </a:extLst>
            </p:cNvPr>
            <p:cNvSpPr/>
            <p:nvPr/>
          </p:nvSpPr>
          <p:spPr>
            <a:xfrm>
              <a:off x="2659118" y="2517305"/>
              <a:ext cx="491196" cy="2181562"/>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sp>
          <p:nvSpPr>
            <p:cNvPr id="32" name="Down Arrow 39">
              <a:extLst>
                <a:ext uri="{FF2B5EF4-FFF2-40B4-BE49-F238E27FC236}">
                  <a16:creationId xmlns:a16="http://schemas.microsoft.com/office/drawing/2014/main" id="{BA03DE7A-D647-48CD-9B47-4DB245F5E5FD}"/>
                </a:ext>
              </a:extLst>
            </p:cNvPr>
            <p:cNvSpPr/>
            <p:nvPr/>
          </p:nvSpPr>
          <p:spPr>
            <a:xfrm>
              <a:off x="4719107" y="2517305"/>
              <a:ext cx="492577" cy="1912199"/>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sp>
          <p:nvSpPr>
            <p:cNvPr id="33" name="Down Arrow 40">
              <a:extLst>
                <a:ext uri="{FF2B5EF4-FFF2-40B4-BE49-F238E27FC236}">
                  <a16:creationId xmlns:a16="http://schemas.microsoft.com/office/drawing/2014/main" id="{56CD15CA-DAC6-4C03-B0D7-7B535E502A8A}"/>
                </a:ext>
              </a:extLst>
            </p:cNvPr>
            <p:cNvSpPr/>
            <p:nvPr/>
          </p:nvSpPr>
          <p:spPr>
            <a:xfrm>
              <a:off x="6765299" y="2517305"/>
              <a:ext cx="491196" cy="1320161"/>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2025" dirty="0">
                <a:solidFill>
                  <a:prstClr val="white"/>
                </a:solidFill>
                <a:latin typeface="Arial"/>
              </a:endParaRPr>
            </a:p>
          </p:txBody>
        </p:sp>
        <p:cxnSp>
          <p:nvCxnSpPr>
            <p:cNvPr id="34" name="Straight Connector 42">
              <a:extLst>
                <a:ext uri="{FF2B5EF4-FFF2-40B4-BE49-F238E27FC236}">
                  <a16:creationId xmlns:a16="http://schemas.microsoft.com/office/drawing/2014/main" id="{D3667691-FF5F-4938-A4E9-A5CDFD10F6C4}"/>
                </a:ext>
              </a:extLst>
            </p:cNvPr>
            <p:cNvCxnSpPr/>
            <p:nvPr/>
          </p:nvCxnSpPr>
          <p:spPr>
            <a:xfrm>
              <a:off x="3931261" y="4972438"/>
              <a:ext cx="0" cy="37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44">
              <a:extLst>
                <a:ext uri="{FF2B5EF4-FFF2-40B4-BE49-F238E27FC236}">
                  <a16:creationId xmlns:a16="http://schemas.microsoft.com/office/drawing/2014/main" id="{55E0482D-D181-4535-8CB2-53FED3EC44BE}"/>
                </a:ext>
              </a:extLst>
            </p:cNvPr>
            <p:cNvCxnSpPr/>
            <p:nvPr/>
          </p:nvCxnSpPr>
          <p:spPr>
            <a:xfrm>
              <a:off x="5984352" y="4972438"/>
              <a:ext cx="0" cy="37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47">
              <a:extLst>
                <a:ext uri="{FF2B5EF4-FFF2-40B4-BE49-F238E27FC236}">
                  <a16:creationId xmlns:a16="http://schemas.microsoft.com/office/drawing/2014/main" id="{D73C1F0D-DA6F-48AC-A0AB-75A70685A10A}"/>
                </a:ext>
              </a:extLst>
            </p:cNvPr>
            <p:cNvCxnSpPr/>
            <p:nvPr/>
          </p:nvCxnSpPr>
          <p:spPr>
            <a:xfrm>
              <a:off x="8008468" y="4972438"/>
              <a:ext cx="0" cy="378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8" name="TextBox 37"/>
          <p:cNvSpPr txBox="1"/>
          <p:nvPr/>
        </p:nvSpPr>
        <p:spPr>
          <a:xfrm>
            <a:off x="688329" y="5758912"/>
            <a:ext cx="155873" cy="389527"/>
          </a:xfrm>
          <a:prstGeom prst="rect">
            <a:avLst/>
          </a:prstGeom>
          <a:noFill/>
        </p:spPr>
        <p:txBody>
          <a:bodyPr wrap="none" lIns="77151" tIns="38575" rIns="77151" bIns="38575" rtlCol="0">
            <a:spAutoFit/>
          </a:bodyPr>
          <a:lstStyle/>
          <a:p>
            <a:endParaRPr lang="el-GR" sz="2025" dirty="0"/>
          </a:p>
        </p:txBody>
      </p:sp>
      <p:sp>
        <p:nvSpPr>
          <p:cNvPr id="39" name="TextBox 38"/>
          <p:cNvSpPr txBox="1"/>
          <p:nvPr/>
        </p:nvSpPr>
        <p:spPr>
          <a:xfrm>
            <a:off x="312722" y="6234442"/>
            <a:ext cx="5734259" cy="508791"/>
          </a:xfrm>
          <a:prstGeom prst="rect">
            <a:avLst/>
          </a:prstGeom>
          <a:noFill/>
        </p:spPr>
        <p:txBody>
          <a:bodyPr wrap="none" lIns="77151" tIns="38575" rIns="77151" bIns="38575" rtlCol="0">
            <a:spAutoFit/>
          </a:bodyPr>
          <a:lstStyle/>
          <a:p>
            <a:r>
              <a:rPr lang="en-GB" sz="1400" dirty="0">
                <a:solidFill>
                  <a:schemeClr val="accent2"/>
                </a:solidFill>
              </a:rPr>
              <a:t>WHO Global Health Sector Strategy on Viral Hepatitis, 2016–2021.</a:t>
            </a:r>
            <a:br>
              <a:rPr lang="en-GB" sz="1400" dirty="0">
                <a:solidFill>
                  <a:schemeClr val="accent2"/>
                </a:solidFill>
              </a:rPr>
            </a:br>
            <a:r>
              <a:rPr lang="en-GB" sz="1400" dirty="0">
                <a:solidFill>
                  <a:schemeClr val="accent2"/>
                </a:solidFill>
              </a:rPr>
              <a:t>WHO. Combating Hepatitis B and C to Reach Elimination by 2030.</a:t>
            </a:r>
          </a:p>
        </p:txBody>
      </p:sp>
      <p:sp>
        <p:nvSpPr>
          <p:cNvPr id="40" name="TextBox 39"/>
          <p:cNvSpPr txBox="1"/>
          <p:nvPr/>
        </p:nvSpPr>
        <p:spPr>
          <a:xfrm>
            <a:off x="299924" y="1049924"/>
            <a:ext cx="8180730" cy="693457"/>
          </a:xfrm>
          <a:prstGeom prst="rect">
            <a:avLst/>
          </a:prstGeom>
          <a:noFill/>
          <a:ln w="38100">
            <a:solidFill>
              <a:schemeClr val="tx1"/>
            </a:solidFill>
          </a:ln>
        </p:spPr>
        <p:txBody>
          <a:bodyPr wrap="square" lIns="77151" tIns="38575" rIns="77151" bIns="38575" rtlCol="0">
            <a:spAutoFit/>
          </a:bodyPr>
          <a:lstStyle/>
          <a:p>
            <a:pPr algn="ctr"/>
            <a:r>
              <a:rPr lang="el-GR" sz="2000" dirty="0"/>
              <a:t>Μέχρι 2030</a:t>
            </a:r>
            <a:r>
              <a:rPr lang="en-US" sz="2000" dirty="0"/>
              <a:t>: </a:t>
            </a:r>
            <a:r>
              <a:rPr lang="el-GR" sz="2000" dirty="0"/>
              <a:t>εξάλειψη της ιογενούς ηπατίτιδας ως σημαντική απειλή δημόσιας υγείας</a:t>
            </a:r>
          </a:p>
        </p:txBody>
      </p:sp>
      <p:pic>
        <p:nvPicPr>
          <p:cNvPr id="41" name="Picture 5"/>
          <p:cNvPicPr>
            <a:picLocks noChangeAspect="1"/>
          </p:cNvPicPr>
          <p:nvPr/>
        </p:nvPicPr>
        <p:blipFill>
          <a:blip r:embed="rId3"/>
          <a:stretch>
            <a:fillRect/>
          </a:stretch>
        </p:blipFill>
        <p:spPr>
          <a:xfrm>
            <a:off x="8611910" y="4171366"/>
            <a:ext cx="1582393" cy="2563707"/>
          </a:xfrm>
          <a:prstGeom prst="rect">
            <a:avLst/>
          </a:prstGeom>
          <a:ln>
            <a:solidFill>
              <a:schemeClr val="tx1"/>
            </a:solidFill>
          </a:ln>
          <a:effectLst>
            <a:outerShdw blurRad="50800" dist="38100" dir="2700000" algn="tl" rotWithShape="0">
              <a:prstClr val="black">
                <a:alpha val="40000"/>
              </a:prstClr>
            </a:outerShdw>
          </a:effectLst>
        </p:spPr>
      </p:pic>
      <p:pic>
        <p:nvPicPr>
          <p:cNvPr id="42" name="Picture 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607018" y="1671575"/>
            <a:ext cx="1582392" cy="2346414"/>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25296378"/>
      </p:ext>
    </p:extLst>
  </p:cSld>
  <p:clrMapOvr>
    <a:masterClrMapping/>
  </p:clrMapOvr>
  <p:transition spd="med">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4 - Ορθογώνιο"/>
          <p:cNvSpPr>
            <a:spLocks noChangeArrowheads="1"/>
          </p:cNvSpPr>
          <p:nvPr/>
        </p:nvSpPr>
        <p:spPr bwMode="auto">
          <a:xfrm>
            <a:off x="642938" y="415925"/>
            <a:ext cx="9267089" cy="584775"/>
          </a:xfrm>
          <a:prstGeom prst="rect">
            <a:avLst/>
          </a:prstGeom>
          <a:noFill/>
          <a:ln w="9525">
            <a:noFill/>
            <a:miter lim="800000"/>
            <a:headEnd/>
            <a:tailEnd/>
          </a:ln>
        </p:spPr>
        <p:txBody>
          <a:bodyPr wrap="none">
            <a:spAutoFit/>
          </a:bodyPr>
          <a:lstStyle/>
          <a:p>
            <a:r>
              <a:rPr lang="en-US" sz="3200" b="1" dirty="0">
                <a:solidFill>
                  <a:schemeClr val="tx2"/>
                </a:solidFill>
              </a:rPr>
              <a:t>Treatment efficacy vs. treatment effectiveness </a:t>
            </a:r>
            <a:endParaRPr lang="el-GR" sz="3200" dirty="0">
              <a:solidFill>
                <a:schemeClr val="tx2"/>
              </a:solidFill>
            </a:endParaRPr>
          </a:p>
        </p:txBody>
      </p:sp>
      <p:graphicFrame>
        <p:nvGraphicFramePr>
          <p:cNvPr id="6" name="5 - Γράφημα"/>
          <p:cNvGraphicFramePr>
            <a:graphicFrameLocks/>
          </p:cNvGraphicFramePr>
          <p:nvPr/>
        </p:nvGraphicFramePr>
        <p:xfrm>
          <a:off x="1336675" y="1408113"/>
          <a:ext cx="7292181" cy="3962400"/>
        </p:xfrm>
        <a:graphic>
          <a:graphicData uri="http://schemas.openxmlformats.org/drawingml/2006/chart">
            <c:chart xmlns:c="http://schemas.openxmlformats.org/drawingml/2006/chart" xmlns:r="http://schemas.openxmlformats.org/officeDocument/2006/relationships" r:id="rId2"/>
          </a:graphicData>
        </a:graphic>
      </p:graphicFrame>
      <p:sp>
        <p:nvSpPr>
          <p:cNvPr id="2052" name="6 - Ορθογώνιο"/>
          <p:cNvSpPr>
            <a:spLocks noChangeArrowheads="1"/>
          </p:cNvSpPr>
          <p:nvPr/>
        </p:nvSpPr>
        <p:spPr bwMode="auto">
          <a:xfrm>
            <a:off x="482203" y="5429251"/>
            <a:ext cx="9729788" cy="1077913"/>
          </a:xfrm>
          <a:prstGeom prst="rect">
            <a:avLst/>
          </a:prstGeom>
          <a:noFill/>
          <a:ln w="9525">
            <a:noFill/>
            <a:miter lim="800000"/>
            <a:headEnd/>
            <a:tailEnd/>
          </a:ln>
        </p:spPr>
        <p:txBody>
          <a:bodyPr wrap="none">
            <a:spAutoFit/>
          </a:bodyPr>
          <a:lstStyle/>
          <a:p>
            <a:r>
              <a:rPr lang="en-US" sz="3200" b="1" dirty="0"/>
              <a:t>Treatment efficacy          Treatment effectiveness </a:t>
            </a:r>
          </a:p>
          <a:p>
            <a:r>
              <a:rPr lang="en-US" sz="3200" b="1" dirty="0"/>
              <a:t>at individual level          in the infected population</a:t>
            </a:r>
            <a:endParaRPr lang="el-GR" sz="3200" dirty="0"/>
          </a:p>
        </p:txBody>
      </p:sp>
      <p:sp>
        <p:nvSpPr>
          <p:cNvPr id="8" name="7 - Επεξήγηση με κάτω βέλος"/>
          <p:cNvSpPr/>
          <p:nvPr/>
        </p:nvSpPr>
        <p:spPr>
          <a:xfrm>
            <a:off x="2893219" y="2071689"/>
            <a:ext cx="4661297" cy="2643187"/>
          </a:xfrm>
          <a:prstGeom prst="downArrowCallou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8000" dirty="0"/>
              <a:t>Barriers!</a:t>
            </a:r>
            <a:endParaRPr lang="el-GR" sz="8000" dirty="0"/>
          </a:p>
        </p:txBody>
      </p:sp>
    </p:spTree>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2 - Θέση περιεχομένου"/>
          <p:cNvSpPr>
            <a:spLocks noGrp="1"/>
          </p:cNvSpPr>
          <p:nvPr>
            <p:ph idx="1"/>
          </p:nvPr>
        </p:nvSpPr>
        <p:spPr>
          <a:xfrm>
            <a:off x="679450" y="2686050"/>
            <a:ext cx="8856663" cy="3529013"/>
          </a:xfrm>
        </p:spPr>
        <p:txBody>
          <a:bodyPr/>
          <a:lstStyle/>
          <a:p>
            <a:pPr algn="ctr">
              <a:buFontTx/>
              <a:buNone/>
            </a:pPr>
            <a:r>
              <a:rPr lang="el-GR" altLang="el-GR" sz="3600" b="1" dirty="0">
                <a:solidFill>
                  <a:schemeClr val="tx2"/>
                </a:solidFill>
              </a:rPr>
              <a:t>Σύγχρονη αντιμετώπιση Η</a:t>
            </a:r>
            <a:r>
              <a:rPr lang="en-US" altLang="el-GR" sz="3600" b="1" dirty="0">
                <a:solidFill>
                  <a:schemeClr val="tx2"/>
                </a:solidFill>
              </a:rPr>
              <a:t>CV – </a:t>
            </a:r>
            <a:r>
              <a:rPr lang="el-GR" altLang="el-GR" sz="3600" b="1" dirty="0">
                <a:solidFill>
                  <a:schemeClr val="tx2"/>
                </a:solidFill>
              </a:rPr>
              <a:t>Ρεαλιστική προσέγγιση</a:t>
            </a:r>
            <a:endParaRPr lang="en-US" altLang="el-GR" sz="3600" b="1" dirty="0">
              <a:solidFill>
                <a:schemeClr val="tx2"/>
              </a:solidFill>
            </a:endParaRPr>
          </a:p>
          <a:p>
            <a:pPr algn="ctr">
              <a:spcBef>
                <a:spcPct val="0"/>
              </a:spcBef>
              <a:buFontTx/>
              <a:buNone/>
            </a:pPr>
            <a:endParaRPr lang="en-US" altLang="el-GR" sz="2400" b="1" dirty="0">
              <a:solidFill>
                <a:schemeClr val="tx2"/>
              </a:solidFill>
            </a:endParaRPr>
          </a:p>
          <a:p>
            <a:r>
              <a:rPr lang="el-GR" altLang="el-GR" sz="2800" b="1" dirty="0"/>
              <a:t>Υποψήφιοι για θεραπεία </a:t>
            </a:r>
            <a:r>
              <a:rPr lang="en-US" altLang="el-GR" sz="2800" b="1" dirty="0"/>
              <a:t>- </a:t>
            </a:r>
            <a:r>
              <a:rPr lang="el-GR" altLang="el-GR" sz="2800" b="1" dirty="0"/>
              <a:t>Προτεραιότητες</a:t>
            </a:r>
            <a:endParaRPr lang="en-US" altLang="el-GR" sz="2800" b="1" dirty="0"/>
          </a:p>
          <a:p>
            <a:pPr>
              <a:spcBef>
                <a:spcPct val="0"/>
              </a:spcBef>
            </a:pPr>
            <a:endParaRPr lang="en-US" altLang="el-GR" sz="2800" b="1" dirty="0"/>
          </a:p>
          <a:p>
            <a:pPr>
              <a:lnSpc>
                <a:spcPct val="150000"/>
              </a:lnSpc>
              <a:spcBef>
                <a:spcPct val="0"/>
              </a:spcBef>
            </a:pPr>
            <a:r>
              <a:rPr lang="el-GR" altLang="el-GR" sz="2800" b="1" dirty="0"/>
              <a:t>Βέλτιστο</a:t>
            </a:r>
            <a:r>
              <a:rPr lang="en-US" altLang="el-GR" sz="2800" b="1" dirty="0"/>
              <a:t> – </a:t>
            </a:r>
            <a:r>
              <a:rPr lang="el-GR" altLang="el-GR" sz="2800" b="1" dirty="0"/>
              <a:t>Πιο συμφέρον σε κόστος/αποτελεσματικότητα (νέο) σχήμα</a:t>
            </a:r>
          </a:p>
        </p:txBody>
      </p:sp>
      <p:sp>
        <p:nvSpPr>
          <p:cNvPr id="31747" name="3 - TextBox"/>
          <p:cNvSpPr txBox="1">
            <a:spLocks noChangeArrowheads="1"/>
          </p:cNvSpPr>
          <p:nvPr/>
        </p:nvSpPr>
        <p:spPr bwMode="auto">
          <a:xfrm>
            <a:off x="679450" y="333375"/>
            <a:ext cx="8642350" cy="1938338"/>
          </a:xfrm>
          <a:prstGeom prst="rect">
            <a:avLst/>
          </a:prstGeom>
          <a:noFill/>
          <a:ln w="9525">
            <a:noFill/>
            <a:miter lim="800000"/>
            <a:headEnd/>
            <a:tailEnd/>
          </a:ln>
        </p:spPr>
        <p:txBody>
          <a:bodyPr wrap="none">
            <a:spAutoFit/>
          </a:bodyPr>
          <a:lstStyle/>
          <a:p>
            <a:pPr algn="ctr"/>
            <a:r>
              <a:rPr lang="el-GR" altLang="el-GR" sz="7200" dirty="0">
                <a:solidFill>
                  <a:schemeClr val="accent1"/>
                </a:solidFill>
              </a:rPr>
              <a:t>Κόστος θεραπείας</a:t>
            </a:r>
            <a:r>
              <a:rPr lang="en-US" altLang="el-GR" sz="7200" dirty="0">
                <a:solidFill>
                  <a:schemeClr val="accent1"/>
                </a:solidFill>
              </a:rPr>
              <a:t>!</a:t>
            </a:r>
          </a:p>
          <a:p>
            <a:pPr algn="ctr"/>
            <a:r>
              <a:rPr lang="el-GR" altLang="el-GR" sz="4800" dirty="0"/>
              <a:t>Η κύρια αρχική πρόκληση</a:t>
            </a:r>
          </a:p>
        </p:txBody>
      </p:sp>
    </p:spTree>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3"/>
          <p:cNvSpPr>
            <a:spLocks noChangeArrowheads="1"/>
          </p:cNvSpPr>
          <p:nvPr/>
        </p:nvSpPr>
        <p:spPr bwMode="auto">
          <a:xfrm>
            <a:off x="463103" y="1484784"/>
            <a:ext cx="9172695" cy="5040312"/>
          </a:xfrm>
          <a:prstGeom prst="rect">
            <a:avLst/>
          </a:prstGeom>
          <a:noFill/>
          <a:ln w="9525">
            <a:noFill/>
            <a:miter lim="800000"/>
            <a:headEnd/>
            <a:tailEnd/>
          </a:ln>
        </p:spPr>
        <p:txBody>
          <a:bodyPr lIns="92075" tIns="46038" rIns="92075" bIns="46038"/>
          <a:lstStyle/>
          <a:p>
            <a:r>
              <a:rPr lang="el-GR" altLang="el-GR" sz="2800" dirty="0">
                <a:solidFill>
                  <a:schemeClr val="tx2"/>
                </a:solidFill>
              </a:rPr>
              <a:t>Προτεραιότητα</a:t>
            </a:r>
            <a:r>
              <a:rPr lang="en-US" altLang="el-GR" sz="2800" dirty="0">
                <a:solidFill>
                  <a:schemeClr val="tx2"/>
                </a:solidFill>
              </a:rPr>
              <a:t> </a:t>
            </a:r>
            <a:r>
              <a:rPr lang="el-GR" altLang="el-GR" sz="2800" dirty="0">
                <a:solidFill>
                  <a:schemeClr val="tx2"/>
                </a:solidFill>
              </a:rPr>
              <a:t>για θεραπείες με </a:t>
            </a:r>
            <a:r>
              <a:rPr lang="en-US" altLang="el-GR" sz="2800" dirty="0">
                <a:solidFill>
                  <a:schemeClr val="tx2"/>
                </a:solidFill>
              </a:rPr>
              <a:t>DAAs</a:t>
            </a:r>
          </a:p>
          <a:p>
            <a:pPr marL="287338" indent="-287338">
              <a:spcBef>
                <a:spcPts val="1200"/>
              </a:spcBef>
              <a:buFont typeface="Arial" pitchFamily="34" charset="0"/>
              <a:buChar char="•"/>
            </a:pPr>
            <a:r>
              <a:rPr lang="el-GR" altLang="el-GR" sz="2800" dirty="0">
                <a:solidFill>
                  <a:schemeClr val="accent1"/>
                </a:solidFill>
              </a:rPr>
              <a:t>Στάδιο </a:t>
            </a:r>
            <a:r>
              <a:rPr lang="en-US" altLang="el-GR" sz="2800" dirty="0">
                <a:solidFill>
                  <a:schemeClr val="accent1"/>
                </a:solidFill>
              </a:rPr>
              <a:t>F3 </a:t>
            </a:r>
            <a:r>
              <a:rPr lang="en-US" altLang="el-GR" sz="2800" dirty="0"/>
              <a:t>(</a:t>
            </a:r>
            <a:r>
              <a:rPr lang="el-GR" altLang="el-GR" sz="2800" dirty="0"/>
              <a:t>ηπατική ακαμψία 9-12 </a:t>
            </a:r>
            <a:r>
              <a:rPr lang="en-US" altLang="el-GR" sz="2800" dirty="0" err="1"/>
              <a:t>kPa</a:t>
            </a:r>
            <a:r>
              <a:rPr lang="en-US" altLang="el-GR" sz="2800" dirty="0"/>
              <a:t>) </a:t>
            </a:r>
            <a:r>
              <a:rPr lang="el-GR" sz="2800" dirty="0">
                <a:solidFill>
                  <a:schemeClr val="accent1"/>
                </a:solidFill>
              </a:rPr>
              <a:t>μετά αποτυχία σε </a:t>
            </a:r>
            <a:r>
              <a:rPr lang="en-US" sz="2800" dirty="0" err="1">
                <a:solidFill>
                  <a:schemeClr val="accent1"/>
                </a:solidFill>
              </a:rPr>
              <a:t>PegIFN</a:t>
            </a:r>
            <a:r>
              <a:rPr lang="el-GR" sz="2800" dirty="0">
                <a:solidFill>
                  <a:schemeClr val="accent1"/>
                </a:solidFill>
              </a:rPr>
              <a:t>α+</a:t>
            </a:r>
            <a:r>
              <a:rPr lang="en-US" sz="2800" dirty="0">
                <a:solidFill>
                  <a:schemeClr val="accent1"/>
                </a:solidFill>
              </a:rPr>
              <a:t>RBV</a:t>
            </a:r>
            <a:endParaRPr lang="el-GR" sz="2800" dirty="0">
              <a:solidFill>
                <a:schemeClr val="accent1"/>
              </a:solidFill>
            </a:endParaRPr>
          </a:p>
          <a:p>
            <a:pPr marL="273050" indent="-273050">
              <a:lnSpc>
                <a:spcPct val="150000"/>
              </a:lnSpc>
              <a:spcBef>
                <a:spcPts val="600"/>
              </a:spcBef>
              <a:buFontTx/>
              <a:buChar char="•"/>
            </a:pPr>
            <a:r>
              <a:rPr lang="el-GR" altLang="el-GR" sz="2800" dirty="0">
                <a:solidFill>
                  <a:schemeClr val="accent1"/>
                </a:solidFill>
              </a:rPr>
              <a:t>Στάδιο </a:t>
            </a:r>
            <a:r>
              <a:rPr lang="en-US" altLang="el-GR" sz="2800" dirty="0">
                <a:solidFill>
                  <a:schemeClr val="accent1"/>
                </a:solidFill>
              </a:rPr>
              <a:t>F4</a:t>
            </a:r>
            <a:r>
              <a:rPr lang="en-US" altLang="el-GR" sz="2800" dirty="0"/>
              <a:t> (</a:t>
            </a:r>
            <a:r>
              <a:rPr lang="el-GR" altLang="el-GR" sz="2800" dirty="0"/>
              <a:t>ηπατική ακαμψία </a:t>
            </a:r>
            <a:r>
              <a:rPr lang="en-US" altLang="el-GR" sz="2800" dirty="0"/>
              <a:t>&gt;</a:t>
            </a:r>
            <a:r>
              <a:rPr lang="el-GR" altLang="el-GR" sz="2800" dirty="0"/>
              <a:t>12 </a:t>
            </a:r>
            <a:r>
              <a:rPr lang="en-US" altLang="el-GR" sz="2800" dirty="0" err="1"/>
              <a:t>kPa</a:t>
            </a:r>
            <a:r>
              <a:rPr lang="en-US" altLang="el-GR" sz="2800" dirty="0"/>
              <a:t>) </a:t>
            </a:r>
          </a:p>
          <a:p>
            <a:pPr marL="273050" indent="-273050">
              <a:lnSpc>
                <a:spcPct val="150000"/>
              </a:lnSpc>
              <a:spcBef>
                <a:spcPts val="600"/>
              </a:spcBef>
              <a:buFontTx/>
              <a:buChar char="•"/>
            </a:pPr>
            <a:r>
              <a:rPr lang="el-GR" altLang="el-GR" sz="2800" dirty="0">
                <a:solidFill>
                  <a:schemeClr val="accent1"/>
                </a:solidFill>
              </a:rPr>
              <a:t>Μη </a:t>
            </a:r>
            <a:r>
              <a:rPr lang="el-GR" altLang="el-GR" sz="2800" dirty="0" err="1">
                <a:solidFill>
                  <a:schemeClr val="accent1"/>
                </a:solidFill>
              </a:rPr>
              <a:t>αντιρροπούμενη</a:t>
            </a:r>
            <a:r>
              <a:rPr lang="el-GR" altLang="el-GR" sz="2800" dirty="0">
                <a:solidFill>
                  <a:schemeClr val="accent1"/>
                </a:solidFill>
              </a:rPr>
              <a:t> κίρρωση</a:t>
            </a:r>
            <a:endParaRPr lang="en-US" altLang="el-GR" sz="2800" dirty="0">
              <a:solidFill>
                <a:schemeClr val="accent1"/>
              </a:solidFill>
            </a:endParaRPr>
          </a:p>
          <a:p>
            <a:pPr marL="273050" indent="-273050">
              <a:lnSpc>
                <a:spcPct val="150000"/>
              </a:lnSpc>
              <a:spcBef>
                <a:spcPts val="600"/>
              </a:spcBef>
              <a:buFontTx/>
              <a:buChar char="•"/>
            </a:pPr>
            <a:r>
              <a:rPr lang="el-GR" altLang="el-GR" sz="2800" dirty="0">
                <a:solidFill>
                  <a:schemeClr val="accent1"/>
                </a:solidFill>
              </a:rPr>
              <a:t>Μεταμόσχευση ήπατος</a:t>
            </a:r>
            <a:r>
              <a:rPr lang="en-US" altLang="el-GR" sz="2800" dirty="0">
                <a:solidFill>
                  <a:schemeClr val="accent1"/>
                </a:solidFill>
              </a:rPr>
              <a:t> </a:t>
            </a:r>
          </a:p>
          <a:p>
            <a:pPr marL="273050" indent="-273050">
              <a:lnSpc>
                <a:spcPct val="150000"/>
              </a:lnSpc>
              <a:spcBef>
                <a:spcPts val="600"/>
              </a:spcBef>
              <a:buFontTx/>
              <a:buChar char="•"/>
            </a:pPr>
            <a:r>
              <a:rPr lang="el-GR" altLang="el-GR" sz="2800" dirty="0">
                <a:solidFill>
                  <a:schemeClr val="accent1"/>
                </a:solidFill>
              </a:rPr>
              <a:t>Σοβαρή εξωηπατική εκδήλωση</a:t>
            </a:r>
          </a:p>
          <a:p>
            <a:endParaRPr lang="en-US" altLang="el-GR" sz="2800" dirty="0"/>
          </a:p>
          <a:p>
            <a:pPr algn="ctr">
              <a:lnSpc>
                <a:spcPct val="120000"/>
              </a:lnSpc>
              <a:spcBef>
                <a:spcPct val="50000"/>
              </a:spcBef>
            </a:pPr>
            <a:endParaRPr lang="en-US" altLang="el-GR" sz="2800" dirty="0">
              <a:solidFill>
                <a:schemeClr val="accent2"/>
              </a:solidFill>
            </a:endParaRPr>
          </a:p>
        </p:txBody>
      </p:sp>
      <p:sp>
        <p:nvSpPr>
          <p:cNvPr id="32771" name="3 - TextBox"/>
          <p:cNvSpPr txBox="1">
            <a:spLocks noChangeArrowheads="1"/>
          </p:cNvSpPr>
          <p:nvPr/>
        </p:nvSpPr>
        <p:spPr bwMode="auto">
          <a:xfrm>
            <a:off x="8262297" y="6093296"/>
            <a:ext cx="1298753" cy="461665"/>
          </a:xfrm>
          <a:prstGeom prst="rect">
            <a:avLst/>
          </a:prstGeom>
          <a:noFill/>
          <a:ln w="9525">
            <a:noFill/>
            <a:miter lim="800000"/>
            <a:headEnd/>
            <a:tailEnd/>
          </a:ln>
        </p:spPr>
        <p:txBody>
          <a:bodyPr wrap="none">
            <a:spAutoFit/>
          </a:bodyPr>
          <a:lstStyle/>
          <a:p>
            <a:r>
              <a:rPr lang="el-GR" altLang="el-GR" dirty="0">
                <a:solidFill>
                  <a:schemeClr val="accent2"/>
                </a:solidFill>
              </a:rPr>
              <a:t>0</a:t>
            </a:r>
            <a:r>
              <a:rPr lang="en-US" altLang="el-GR" dirty="0">
                <a:solidFill>
                  <a:schemeClr val="accent2"/>
                </a:solidFill>
              </a:rPr>
              <a:t>6</a:t>
            </a:r>
            <a:r>
              <a:rPr lang="el-GR" altLang="el-GR" dirty="0">
                <a:solidFill>
                  <a:schemeClr val="accent2"/>
                </a:solidFill>
              </a:rPr>
              <a:t>/</a:t>
            </a:r>
            <a:r>
              <a:rPr lang="en-US" altLang="el-GR" dirty="0">
                <a:solidFill>
                  <a:schemeClr val="accent2"/>
                </a:solidFill>
              </a:rPr>
              <a:t>2014</a:t>
            </a:r>
            <a:endParaRPr lang="el-GR" altLang="el-GR" dirty="0">
              <a:solidFill>
                <a:schemeClr val="accent2"/>
              </a:solidFill>
            </a:endParaRPr>
          </a:p>
        </p:txBody>
      </p:sp>
      <p:sp>
        <p:nvSpPr>
          <p:cNvPr id="5" name="Rectangle 2"/>
          <p:cNvSpPr>
            <a:spLocks noChangeArrowheads="1"/>
          </p:cNvSpPr>
          <p:nvPr/>
        </p:nvSpPr>
        <p:spPr bwMode="auto">
          <a:xfrm>
            <a:off x="71438" y="260350"/>
            <a:ext cx="10112375" cy="1081088"/>
          </a:xfrm>
          <a:prstGeom prst="rect">
            <a:avLst/>
          </a:prstGeom>
          <a:gradFill rotWithShape="0">
            <a:gsLst>
              <a:gs pos="0">
                <a:schemeClr val="bg1"/>
              </a:gs>
              <a:gs pos="50000">
                <a:schemeClr val="bg1">
                  <a:gamma/>
                  <a:shade val="46275"/>
                  <a:invGamma/>
                </a:schemeClr>
              </a:gs>
              <a:gs pos="100000">
                <a:schemeClr val="bg1"/>
              </a:gs>
            </a:gsLst>
            <a:lin ang="5400000" scaled="1"/>
          </a:gradFill>
          <a:ln w="9525">
            <a:noFill/>
            <a:miter lim="800000"/>
            <a:headEnd/>
            <a:tailEnd/>
          </a:ln>
          <a:effectLst/>
        </p:spPr>
        <p:txBody>
          <a:bodyPr lIns="92075" tIns="46038" rIns="92075" bIns="46038" anchor="ctr"/>
          <a:lstStyle/>
          <a:p>
            <a:pPr algn="ctr" defTabSz="762000">
              <a:lnSpc>
                <a:spcPts val="4000"/>
              </a:lnSpc>
              <a:defRPr/>
            </a:pPr>
            <a:r>
              <a:rPr lang="en-US" sz="2800" dirty="0">
                <a:solidFill>
                  <a:schemeClr val="tx2"/>
                </a:solidFill>
              </a:rPr>
              <a:t>HCV </a:t>
            </a:r>
            <a:r>
              <a:rPr lang="el-GR" sz="2800" dirty="0">
                <a:solidFill>
                  <a:schemeClr val="tx2"/>
                </a:solidFill>
              </a:rPr>
              <a:t>ΘΕΡΑΠΕΥΤΙΚΕΣ ΕΝΔΕΙΞΕΙΣ ΣΤΗΝ ΕΠΟΧΗ ΤΩΝ </a:t>
            </a:r>
            <a:r>
              <a:rPr lang="en-US" sz="2800" dirty="0">
                <a:solidFill>
                  <a:schemeClr val="tx2"/>
                </a:solidFill>
              </a:rPr>
              <a:t>DAAs – </a:t>
            </a:r>
            <a:r>
              <a:rPr lang="el-GR" sz="2800" dirty="0">
                <a:solidFill>
                  <a:schemeClr val="tx2"/>
                </a:solidFill>
              </a:rPr>
              <a:t>ΠΡΟΤΕΡΑΙΟΤΗΤΕΣ</a:t>
            </a:r>
          </a:p>
        </p:txBody>
      </p:sp>
    </p:spTree>
  </p:cSld>
  <p:clrMapOvr>
    <a:masterClrMapping/>
  </p:clrMapOvr>
  <p:transition spd="med">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ChangeArrowheads="1"/>
          </p:cNvSpPr>
          <p:nvPr/>
        </p:nvSpPr>
        <p:spPr bwMode="auto">
          <a:xfrm>
            <a:off x="71438" y="260350"/>
            <a:ext cx="10112375" cy="1081088"/>
          </a:xfrm>
          <a:prstGeom prst="rect">
            <a:avLst/>
          </a:prstGeom>
          <a:gradFill rotWithShape="0">
            <a:gsLst>
              <a:gs pos="0">
                <a:schemeClr val="bg1"/>
              </a:gs>
              <a:gs pos="50000">
                <a:schemeClr val="bg1">
                  <a:gamma/>
                  <a:shade val="46275"/>
                  <a:invGamma/>
                </a:schemeClr>
              </a:gs>
              <a:gs pos="100000">
                <a:schemeClr val="bg1"/>
              </a:gs>
            </a:gsLst>
            <a:lin ang="5400000" scaled="1"/>
          </a:gradFill>
          <a:ln w="9525">
            <a:noFill/>
            <a:miter lim="800000"/>
            <a:headEnd/>
            <a:tailEnd/>
          </a:ln>
          <a:effectLst/>
        </p:spPr>
        <p:txBody>
          <a:bodyPr lIns="92075" tIns="46038" rIns="92075" bIns="46038" anchor="ctr"/>
          <a:lstStyle/>
          <a:p>
            <a:pPr algn="ctr" defTabSz="762000">
              <a:lnSpc>
                <a:spcPts val="4000"/>
              </a:lnSpc>
              <a:defRPr/>
            </a:pPr>
            <a:r>
              <a:rPr lang="en-US" sz="2800" dirty="0">
                <a:solidFill>
                  <a:schemeClr val="tx2"/>
                </a:solidFill>
              </a:rPr>
              <a:t>HCV </a:t>
            </a:r>
            <a:r>
              <a:rPr lang="el-GR" sz="2800" dirty="0">
                <a:solidFill>
                  <a:schemeClr val="tx2"/>
                </a:solidFill>
              </a:rPr>
              <a:t>ΘΕΡΑΠΕΥΤΙΚΕΣ ΕΝΔΕΙΞΕΙΣ ΣΤΗΝ ΕΠΟΧΗ ΤΩΝ </a:t>
            </a:r>
            <a:r>
              <a:rPr lang="en-US" sz="2800" dirty="0">
                <a:solidFill>
                  <a:schemeClr val="tx2"/>
                </a:solidFill>
              </a:rPr>
              <a:t>DAAs – </a:t>
            </a:r>
            <a:r>
              <a:rPr lang="el-GR" sz="2800" dirty="0">
                <a:solidFill>
                  <a:schemeClr val="tx2"/>
                </a:solidFill>
              </a:rPr>
              <a:t>ΠΡΟΤΕΡΑΙΟΤΗΤΕΣ </a:t>
            </a:r>
          </a:p>
        </p:txBody>
      </p:sp>
      <p:sp>
        <p:nvSpPr>
          <p:cNvPr id="8" name="Rectangle 3"/>
          <p:cNvSpPr>
            <a:spLocks noChangeArrowheads="1"/>
          </p:cNvSpPr>
          <p:nvPr/>
        </p:nvSpPr>
        <p:spPr bwMode="auto">
          <a:xfrm>
            <a:off x="463103" y="1455837"/>
            <a:ext cx="9432925" cy="3629347"/>
          </a:xfrm>
          <a:prstGeom prst="rect">
            <a:avLst/>
          </a:prstGeom>
          <a:noFill/>
          <a:ln w="9525">
            <a:noFill/>
            <a:miter lim="800000"/>
            <a:headEnd/>
            <a:tailEnd/>
          </a:ln>
        </p:spPr>
        <p:txBody>
          <a:bodyPr lIns="92075" tIns="46038" rIns="92075" bIns="46038"/>
          <a:lstStyle/>
          <a:p>
            <a:r>
              <a:rPr lang="el-GR" altLang="el-GR" sz="2800" dirty="0">
                <a:solidFill>
                  <a:schemeClr val="accent2"/>
                </a:solidFill>
              </a:rPr>
              <a:t>Επιτυχής διαπραγμάτευση πολιτείας με φαρμακοβιομηχανία – Μείωση κόστους</a:t>
            </a:r>
          </a:p>
          <a:p>
            <a:pPr>
              <a:spcBef>
                <a:spcPts val="1200"/>
              </a:spcBef>
            </a:pPr>
            <a:r>
              <a:rPr lang="el-GR" altLang="el-GR" sz="2800" dirty="0">
                <a:solidFill>
                  <a:schemeClr val="tx2"/>
                </a:solidFill>
              </a:rPr>
              <a:t>Προτεραιότητα</a:t>
            </a:r>
            <a:r>
              <a:rPr lang="en-US" altLang="el-GR" sz="2800" dirty="0">
                <a:solidFill>
                  <a:schemeClr val="tx2"/>
                </a:solidFill>
              </a:rPr>
              <a:t> </a:t>
            </a:r>
            <a:r>
              <a:rPr lang="el-GR" altLang="el-GR" sz="2800" dirty="0">
                <a:solidFill>
                  <a:schemeClr val="tx2"/>
                </a:solidFill>
              </a:rPr>
              <a:t>για θεραπείες με </a:t>
            </a:r>
            <a:r>
              <a:rPr lang="en-US" altLang="el-GR" sz="2800" dirty="0">
                <a:solidFill>
                  <a:schemeClr val="tx2"/>
                </a:solidFill>
              </a:rPr>
              <a:t>DAAs</a:t>
            </a:r>
          </a:p>
          <a:p>
            <a:pPr marL="273050" indent="-273050">
              <a:spcBef>
                <a:spcPts val="600"/>
              </a:spcBef>
              <a:buFontTx/>
              <a:buChar char="•"/>
            </a:pPr>
            <a:r>
              <a:rPr lang="el-GR" altLang="el-GR" sz="2800" dirty="0">
                <a:solidFill>
                  <a:schemeClr val="accent1"/>
                </a:solidFill>
              </a:rPr>
              <a:t>Στάδιο </a:t>
            </a:r>
            <a:r>
              <a:rPr lang="en-US" altLang="el-GR" sz="2800" dirty="0">
                <a:solidFill>
                  <a:schemeClr val="accent1"/>
                </a:solidFill>
              </a:rPr>
              <a:t>F2 </a:t>
            </a:r>
            <a:r>
              <a:rPr lang="en-US" altLang="el-GR" sz="2800" dirty="0"/>
              <a:t>(</a:t>
            </a:r>
            <a:r>
              <a:rPr lang="el-GR" sz="2800" b="0" dirty="0"/>
              <a:t>ηπατική ακαμψία ≥7 </a:t>
            </a:r>
            <a:r>
              <a:rPr lang="en-US" sz="2800" b="0" dirty="0" err="1"/>
              <a:t>kPa</a:t>
            </a:r>
            <a:r>
              <a:rPr lang="en-US" sz="2800" b="0" dirty="0"/>
              <a:t>) </a:t>
            </a:r>
            <a:endParaRPr lang="en-US" altLang="el-GR" sz="2800" dirty="0"/>
          </a:p>
          <a:p>
            <a:pPr marL="273050" indent="-273050">
              <a:spcBef>
                <a:spcPts val="600"/>
              </a:spcBef>
              <a:buFontTx/>
              <a:buChar char="•"/>
            </a:pPr>
            <a:r>
              <a:rPr lang="el-GR" altLang="el-GR" sz="2800" dirty="0">
                <a:solidFill>
                  <a:schemeClr val="accent1"/>
                </a:solidFill>
              </a:rPr>
              <a:t>Ειδικές ομάδες </a:t>
            </a:r>
            <a:r>
              <a:rPr lang="el-GR" altLang="el-GR" sz="2800" dirty="0"/>
              <a:t>(μεταμόσχευση, </a:t>
            </a:r>
            <a:r>
              <a:rPr lang="en-US" altLang="el-GR" sz="2800" dirty="0"/>
              <a:t>HIV </a:t>
            </a:r>
            <a:r>
              <a:rPr lang="el-GR" altLang="el-GR" sz="2800" dirty="0"/>
              <a:t>συλλοίμωξη, χρόνια αιμολυτικά σύνδρομα, αιμορροφιλία, ΧΝΑ, εξωηπατική εκδήλωση, κλπ)</a:t>
            </a:r>
            <a:endParaRPr lang="en-US" altLang="el-GR" sz="2800" dirty="0"/>
          </a:p>
        </p:txBody>
      </p:sp>
      <p:sp>
        <p:nvSpPr>
          <p:cNvPr id="9" name="TextBox 8"/>
          <p:cNvSpPr txBox="1"/>
          <p:nvPr/>
        </p:nvSpPr>
        <p:spPr>
          <a:xfrm>
            <a:off x="7576886" y="4509119"/>
            <a:ext cx="1641796" cy="461665"/>
          </a:xfrm>
          <a:prstGeom prst="rect">
            <a:avLst/>
          </a:prstGeom>
          <a:noFill/>
        </p:spPr>
        <p:txBody>
          <a:bodyPr wrap="none" rtlCol="0">
            <a:spAutoFit/>
          </a:bodyPr>
          <a:lstStyle/>
          <a:p>
            <a:r>
              <a:rPr lang="en-US" dirty="0">
                <a:solidFill>
                  <a:schemeClr val="accent2"/>
                </a:solidFill>
              </a:rPr>
              <a:t>01/07</a:t>
            </a:r>
            <a:r>
              <a:rPr lang="el-GR" dirty="0">
                <a:solidFill>
                  <a:schemeClr val="accent2"/>
                </a:solidFill>
              </a:rPr>
              <a:t>2017</a:t>
            </a:r>
            <a:endParaRPr lang="en-US" dirty="0">
              <a:solidFill>
                <a:schemeClr val="accent2"/>
              </a:solidFill>
            </a:endParaRPr>
          </a:p>
        </p:txBody>
      </p:sp>
      <p:sp>
        <p:nvSpPr>
          <p:cNvPr id="10" name="Rectangle 3"/>
          <p:cNvSpPr>
            <a:spLocks noChangeArrowheads="1"/>
          </p:cNvSpPr>
          <p:nvPr/>
        </p:nvSpPr>
        <p:spPr bwMode="auto">
          <a:xfrm>
            <a:off x="466032" y="5427266"/>
            <a:ext cx="9432925" cy="1152128"/>
          </a:xfrm>
          <a:prstGeom prst="rect">
            <a:avLst/>
          </a:prstGeom>
          <a:noFill/>
          <a:ln w="9525">
            <a:noFill/>
            <a:miter lim="800000"/>
            <a:headEnd/>
            <a:tailEnd/>
          </a:ln>
        </p:spPr>
        <p:txBody>
          <a:bodyPr lIns="92075" tIns="46038" rIns="92075" bIns="46038"/>
          <a:lstStyle/>
          <a:p>
            <a:r>
              <a:rPr lang="el-GR" altLang="el-GR" sz="2800" dirty="0">
                <a:solidFill>
                  <a:schemeClr val="tx2"/>
                </a:solidFill>
              </a:rPr>
              <a:t>Προτεραιότητα</a:t>
            </a:r>
            <a:r>
              <a:rPr lang="en-US" altLang="el-GR" sz="2800" dirty="0">
                <a:solidFill>
                  <a:schemeClr val="tx2"/>
                </a:solidFill>
              </a:rPr>
              <a:t> </a:t>
            </a:r>
            <a:r>
              <a:rPr lang="el-GR" altLang="el-GR" sz="2800" dirty="0">
                <a:solidFill>
                  <a:schemeClr val="tx2"/>
                </a:solidFill>
              </a:rPr>
              <a:t>για θεραπείες με </a:t>
            </a:r>
            <a:r>
              <a:rPr lang="en-US" altLang="el-GR" sz="2800" dirty="0">
                <a:solidFill>
                  <a:schemeClr val="tx2"/>
                </a:solidFill>
              </a:rPr>
              <a:t>DAAs</a:t>
            </a:r>
          </a:p>
          <a:p>
            <a:pPr marL="273050" indent="-273050">
              <a:spcBef>
                <a:spcPts val="600"/>
              </a:spcBef>
              <a:buFontTx/>
              <a:buChar char="•"/>
            </a:pPr>
            <a:r>
              <a:rPr lang="el-GR" altLang="el-GR" sz="2800" dirty="0">
                <a:solidFill>
                  <a:schemeClr val="accent1"/>
                </a:solidFill>
              </a:rPr>
              <a:t>Όλοι οι </a:t>
            </a:r>
            <a:r>
              <a:rPr lang="en-US" altLang="el-GR" sz="2800" dirty="0">
                <a:solidFill>
                  <a:schemeClr val="accent1"/>
                </a:solidFill>
              </a:rPr>
              <a:t>HCV RNA+ </a:t>
            </a:r>
            <a:r>
              <a:rPr lang="el-GR" altLang="el-GR" sz="2800" dirty="0">
                <a:solidFill>
                  <a:schemeClr val="accent1"/>
                </a:solidFill>
              </a:rPr>
              <a:t>ασθενείς                      </a:t>
            </a:r>
            <a:r>
              <a:rPr lang="el-GR" altLang="el-GR" dirty="0">
                <a:solidFill>
                  <a:schemeClr val="accent2"/>
                </a:solidFill>
              </a:rPr>
              <a:t>12/9/2018</a:t>
            </a:r>
            <a:endParaRPr lang="el-GR" dirty="0"/>
          </a:p>
        </p:txBody>
      </p:sp>
    </p:spTree>
    <p:extLst>
      <p:ext uri="{BB962C8B-B14F-4D97-AF65-F5344CB8AC3E}">
        <p14:creationId xmlns:p14="http://schemas.microsoft.com/office/powerpoint/2010/main" val="163026170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3">
            <a:extLst>
              <a:ext uri="{FF2B5EF4-FFF2-40B4-BE49-F238E27FC236}">
                <a16:creationId xmlns:a16="http://schemas.microsoft.com/office/drawing/2014/main" id="{B798451B-1F74-43C9-8903-C95C77F743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22575" y="274638"/>
            <a:ext cx="4625975" cy="599757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6083" name="TextBox 4">
            <a:extLst>
              <a:ext uri="{FF2B5EF4-FFF2-40B4-BE49-F238E27FC236}">
                <a16:creationId xmlns:a16="http://schemas.microsoft.com/office/drawing/2014/main" id="{737CDC58-6A8D-47F8-9DDA-B0C39F9A3672}"/>
              </a:ext>
            </a:extLst>
          </p:cNvPr>
          <p:cNvSpPr txBox="1">
            <a:spLocks noChangeArrowheads="1"/>
          </p:cNvSpPr>
          <p:nvPr/>
        </p:nvSpPr>
        <p:spPr bwMode="auto">
          <a:xfrm>
            <a:off x="4386263" y="6381750"/>
            <a:ext cx="17065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r>
              <a:rPr lang="el-GR" altLang="el-GR" sz="2000" b="1"/>
              <a:t>Ιούλιος 2017</a:t>
            </a:r>
            <a:endParaRPr lang="en-US" altLang="el-GR" sz="2000" b="1"/>
          </a:p>
        </p:txBody>
      </p:sp>
    </p:spTree>
  </p:cSld>
  <p:clrMapOvr>
    <a:masterClrMapping/>
  </p:clrMapOvr>
  <p:transition spd="med">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1 - Τίτλος">
            <a:extLst>
              <a:ext uri="{FF2B5EF4-FFF2-40B4-BE49-F238E27FC236}">
                <a16:creationId xmlns:a16="http://schemas.microsoft.com/office/drawing/2014/main" id="{CD8F80E2-A99F-4FF4-A620-8DE8445ECFA2}"/>
              </a:ext>
            </a:extLst>
          </p:cNvPr>
          <p:cNvSpPr>
            <a:spLocks noGrp="1" noChangeArrowheads="1"/>
          </p:cNvSpPr>
          <p:nvPr>
            <p:ph type="title"/>
          </p:nvPr>
        </p:nvSpPr>
        <p:spPr>
          <a:xfrm>
            <a:off x="771525" y="560009"/>
            <a:ext cx="8743950" cy="1285875"/>
          </a:xfrm>
        </p:spPr>
        <p:txBody>
          <a:bodyPr/>
          <a:lstStyle/>
          <a:p>
            <a:r>
              <a:rPr lang="el-GR" altLang="el-GR" b="1" dirty="0"/>
              <a:t>Άξονες Εθνικού Σχεδίου Δράσης για την Ηπατίτιδα </a:t>
            </a:r>
            <a:r>
              <a:rPr lang="en-US" altLang="el-GR" b="1" dirty="0"/>
              <a:t>C</a:t>
            </a:r>
            <a:r>
              <a:rPr lang="el-GR" altLang="el-GR" b="1" dirty="0"/>
              <a:t> </a:t>
            </a:r>
          </a:p>
        </p:txBody>
      </p:sp>
      <p:sp>
        <p:nvSpPr>
          <p:cNvPr id="47107" name="2 - Θέση περιεχομένου">
            <a:extLst>
              <a:ext uri="{FF2B5EF4-FFF2-40B4-BE49-F238E27FC236}">
                <a16:creationId xmlns:a16="http://schemas.microsoft.com/office/drawing/2014/main" id="{81868C9E-7DF8-40D6-9435-436EAAD9D0DB}"/>
              </a:ext>
            </a:extLst>
          </p:cNvPr>
          <p:cNvSpPr>
            <a:spLocks noGrp="1" noChangeArrowheads="1"/>
          </p:cNvSpPr>
          <p:nvPr>
            <p:ph idx="1"/>
          </p:nvPr>
        </p:nvSpPr>
        <p:spPr>
          <a:xfrm>
            <a:off x="771525" y="2204864"/>
            <a:ext cx="8743950" cy="4114800"/>
          </a:xfrm>
        </p:spPr>
        <p:txBody>
          <a:bodyPr/>
          <a:lstStyle/>
          <a:p>
            <a:pPr marL="514350" indent="-514350">
              <a:spcBef>
                <a:spcPts val="2400"/>
              </a:spcBef>
              <a:buFontTx/>
              <a:buAutoNum type="arabicPeriod"/>
            </a:pPr>
            <a:r>
              <a:rPr lang="el-GR" altLang="el-GR" sz="2800" b="1" dirty="0"/>
              <a:t>Αγωγή υγείας, πρόληψη και ευαισθητοποίηση του πληθυσμού 	</a:t>
            </a:r>
          </a:p>
          <a:p>
            <a:pPr marL="514350" indent="-514350">
              <a:spcBef>
                <a:spcPts val="2400"/>
              </a:spcBef>
              <a:buFontTx/>
              <a:buAutoNum type="arabicPeriod"/>
            </a:pPr>
            <a:r>
              <a:rPr lang="el-GR" altLang="el-GR" sz="2800" b="1" dirty="0"/>
              <a:t>Προσυμπτωματικός έλεγχος</a:t>
            </a:r>
          </a:p>
          <a:p>
            <a:pPr marL="514350" indent="-514350">
              <a:spcBef>
                <a:spcPts val="2400"/>
              </a:spcBef>
              <a:buFontTx/>
              <a:buAutoNum type="arabicPeriod"/>
            </a:pPr>
            <a:r>
              <a:rPr lang="el-GR" altLang="el-GR" sz="2800" b="1" dirty="0"/>
              <a:t>Διάγνωση και θεραπεία 	 	</a:t>
            </a:r>
          </a:p>
          <a:p>
            <a:pPr marL="514350" indent="-514350">
              <a:spcBef>
                <a:spcPts val="2400"/>
              </a:spcBef>
              <a:buFontTx/>
              <a:buAutoNum type="arabicPeriod"/>
            </a:pPr>
            <a:r>
              <a:rPr lang="el-GR" altLang="el-GR" sz="2800" b="1" dirty="0"/>
              <a:t>Παρακολούθηση, αποκατάσταση και χρόνια φροντίδα 	</a:t>
            </a:r>
          </a:p>
          <a:p>
            <a:pPr marL="514350" indent="-514350">
              <a:spcBef>
                <a:spcPts val="2400"/>
              </a:spcBef>
              <a:buFontTx/>
              <a:buAutoNum type="arabicPeriod"/>
            </a:pPr>
            <a:endParaRPr lang="el-GR" altLang="el-GR" sz="2800" b="1" dirty="0"/>
          </a:p>
        </p:txBody>
      </p:sp>
    </p:spTree>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a:extLst>
              <a:ext uri="{FF2B5EF4-FFF2-40B4-BE49-F238E27FC236}">
                <a16:creationId xmlns:a16="http://schemas.microsoft.com/office/drawing/2014/main" id="{C442AD95-6BB7-4C03-8EE4-2FF98DD711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463" y="573088"/>
            <a:ext cx="3435350" cy="271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7" name="Picture 3">
            <a:extLst>
              <a:ext uri="{FF2B5EF4-FFF2-40B4-BE49-F238E27FC236}">
                <a16:creationId xmlns:a16="http://schemas.microsoft.com/office/drawing/2014/main" id="{C0B2F82E-AAF0-4472-A505-965C6247CF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13" y="3284538"/>
            <a:ext cx="7596188"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8" name="Picture 3">
            <a:extLst>
              <a:ext uri="{FF2B5EF4-FFF2-40B4-BE49-F238E27FC236}">
                <a16:creationId xmlns:a16="http://schemas.microsoft.com/office/drawing/2014/main" id="{BC84D728-B5CF-445D-A14D-2891B3C4B5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5750" y="5141913"/>
            <a:ext cx="63246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29" name="Picture 7">
            <a:extLst>
              <a:ext uri="{FF2B5EF4-FFF2-40B4-BE49-F238E27FC236}">
                <a16:creationId xmlns:a16="http://schemas.microsoft.com/office/drawing/2014/main" id="{E1E88C5F-93DB-42C7-AD69-5160692360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2225" y="476250"/>
            <a:ext cx="4002088" cy="3097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630" name="Rectangle 1">
            <a:extLst>
              <a:ext uri="{FF2B5EF4-FFF2-40B4-BE49-F238E27FC236}">
                <a16:creationId xmlns:a16="http://schemas.microsoft.com/office/drawing/2014/main" id="{5DC8B806-9A57-49DF-930C-C6D9A7026FEA}"/>
              </a:ext>
            </a:extLst>
          </p:cNvPr>
          <p:cNvSpPr>
            <a:spLocks noChangeArrowheads="1"/>
          </p:cNvSpPr>
          <p:nvPr/>
        </p:nvSpPr>
        <p:spPr bwMode="auto">
          <a:xfrm>
            <a:off x="-2825750" y="5141913"/>
            <a:ext cx="4513263" cy="1376362"/>
          </a:xfrm>
          <a:prstGeom prst="rect">
            <a:avLst/>
          </a:prstGeom>
          <a:solidFill>
            <a:schemeClr val="tx1"/>
          </a:solidFill>
          <a:ln w="12700" algn="ctr">
            <a:solidFill>
              <a:schemeClr val="tx1"/>
            </a:solidFill>
            <a:round/>
            <a:headEnd type="none" w="sm" len="sm"/>
            <a:tailEnd type="none" w="sm" len="sm"/>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el-GR" altLang="el-GR" sz="2400"/>
          </a:p>
        </p:txBody>
      </p:sp>
      <p:pic>
        <p:nvPicPr>
          <p:cNvPr id="26631" name="Picture 2">
            <a:extLst>
              <a:ext uri="{FF2B5EF4-FFF2-40B4-BE49-F238E27FC236}">
                <a16:creationId xmlns:a16="http://schemas.microsoft.com/office/drawing/2014/main" id="{8E749908-A5BD-4217-877A-F7A22EB9C8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908425"/>
            <a:ext cx="1417638"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2" name="Rectangle 2">
            <a:extLst>
              <a:ext uri="{FF2B5EF4-FFF2-40B4-BE49-F238E27FC236}">
                <a16:creationId xmlns:a16="http://schemas.microsoft.com/office/drawing/2014/main" id="{F8D10FE7-94F5-4C17-98A3-C7D861159756}"/>
              </a:ext>
            </a:extLst>
          </p:cNvPr>
          <p:cNvSpPr>
            <a:spLocks noChangeArrowheads="1"/>
          </p:cNvSpPr>
          <p:nvPr/>
        </p:nvSpPr>
        <p:spPr bwMode="auto">
          <a:xfrm>
            <a:off x="1398588" y="4213225"/>
            <a:ext cx="1944687" cy="584200"/>
          </a:xfrm>
          <a:prstGeom prst="rect">
            <a:avLst/>
          </a:prstGeom>
          <a:solidFill>
            <a:schemeClr val="tx1"/>
          </a:solidFill>
          <a:ln w="12700" algn="ctr">
            <a:solidFill>
              <a:schemeClr val="tx1"/>
            </a:solidFill>
            <a:round/>
            <a:headEnd type="none" w="sm" len="sm"/>
            <a:tailEnd type="none" w="sm" len="sm"/>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el-GR" altLang="el-GR" sz="2400"/>
          </a:p>
        </p:txBody>
      </p:sp>
      <p:sp>
        <p:nvSpPr>
          <p:cNvPr id="26633" name="Rectangle 3">
            <a:extLst>
              <a:ext uri="{FF2B5EF4-FFF2-40B4-BE49-F238E27FC236}">
                <a16:creationId xmlns:a16="http://schemas.microsoft.com/office/drawing/2014/main" id="{DF4DC8AB-48C2-49D7-B637-0EF2F573E3A9}"/>
              </a:ext>
            </a:extLst>
          </p:cNvPr>
          <p:cNvSpPr>
            <a:spLocks noChangeArrowheads="1"/>
          </p:cNvSpPr>
          <p:nvPr/>
        </p:nvSpPr>
        <p:spPr bwMode="auto">
          <a:xfrm>
            <a:off x="3498850" y="5141913"/>
            <a:ext cx="1603375" cy="1600200"/>
          </a:xfrm>
          <a:prstGeom prst="rect">
            <a:avLst/>
          </a:prstGeom>
          <a:solidFill>
            <a:schemeClr val="tx1"/>
          </a:solidFill>
          <a:ln w="12700" algn="ctr">
            <a:solidFill>
              <a:schemeClr val="tx1"/>
            </a:solidFill>
            <a:round/>
            <a:headEnd type="none" w="sm" len="sm"/>
            <a:tailEnd type="none" w="sm" len="sm"/>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el-GR" altLang="el-GR" sz="2400"/>
          </a:p>
        </p:txBody>
      </p:sp>
      <p:pic>
        <p:nvPicPr>
          <p:cNvPr id="26634" name="Picture 5">
            <a:extLst>
              <a:ext uri="{FF2B5EF4-FFF2-40B4-BE49-F238E27FC236}">
                <a16:creationId xmlns:a16="http://schemas.microsoft.com/office/drawing/2014/main" id="{2590420A-F454-4021-AFE1-4E9889B859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08575" y="3573463"/>
            <a:ext cx="4059238" cy="2944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06174221"/>
      </p:ext>
    </p:extLst>
  </p:cSld>
  <p:clrMapOvr>
    <a:masterClrMapping/>
  </p:clrMapOvr>
  <p:transition spd="slow"/>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cstate="print"/>
          <a:srcRect/>
          <a:stretch>
            <a:fillRect/>
          </a:stretch>
        </p:blipFill>
        <p:spPr bwMode="auto">
          <a:xfrm>
            <a:off x="4700970" y="1523241"/>
            <a:ext cx="5339074" cy="5083932"/>
          </a:xfrm>
          <a:prstGeom prst="rect">
            <a:avLst/>
          </a:prstGeom>
          <a:noFill/>
          <a:ln w="9525">
            <a:noFill/>
            <a:miter lim="800000"/>
            <a:headEnd/>
            <a:tailEnd/>
          </a:ln>
        </p:spPr>
      </p:pic>
      <p:pic>
        <p:nvPicPr>
          <p:cNvPr id="2052" name="Picture 4"/>
          <p:cNvPicPr>
            <a:picLocks noChangeAspect="1" noChangeArrowheads="1"/>
          </p:cNvPicPr>
          <p:nvPr/>
        </p:nvPicPr>
        <p:blipFill>
          <a:blip r:embed="rId3" cstate="print"/>
          <a:srcRect/>
          <a:stretch>
            <a:fillRect/>
          </a:stretch>
        </p:blipFill>
        <p:spPr bwMode="auto">
          <a:xfrm>
            <a:off x="4916994" y="360040"/>
            <a:ext cx="5123050" cy="1311323"/>
          </a:xfrm>
          <a:prstGeom prst="rect">
            <a:avLst/>
          </a:prstGeom>
          <a:noFill/>
          <a:ln w="9525">
            <a:noFill/>
            <a:miter lim="800000"/>
            <a:headEnd/>
            <a:tailEnd/>
          </a:ln>
        </p:spPr>
      </p:pic>
      <p:pic>
        <p:nvPicPr>
          <p:cNvPr id="2053" name="Picture 5"/>
          <p:cNvPicPr>
            <a:picLocks noChangeAspect="1" noChangeArrowheads="1"/>
          </p:cNvPicPr>
          <p:nvPr/>
        </p:nvPicPr>
        <p:blipFill>
          <a:blip r:embed="rId4" cstate="print"/>
          <a:srcRect/>
          <a:stretch>
            <a:fillRect/>
          </a:stretch>
        </p:blipFill>
        <p:spPr bwMode="auto">
          <a:xfrm>
            <a:off x="347816" y="3338617"/>
            <a:ext cx="4353154" cy="3268555"/>
          </a:xfrm>
          <a:prstGeom prst="rect">
            <a:avLst/>
          </a:prstGeom>
          <a:noFill/>
          <a:ln w="9525">
            <a:noFill/>
            <a:miter lim="800000"/>
            <a:headEnd/>
            <a:tailEnd/>
          </a:ln>
        </p:spPr>
      </p:pic>
      <p:pic>
        <p:nvPicPr>
          <p:cNvPr id="6" name="Picture 2">
            <a:extLst>
              <a:ext uri="{FF2B5EF4-FFF2-40B4-BE49-F238E27FC236}">
                <a16:creationId xmlns:a16="http://schemas.microsoft.com/office/drawing/2014/main" id="{D844B9D2-83B8-41A9-A8F5-A8FB66D573AB}"/>
              </a:ext>
            </a:extLst>
          </p:cNvPr>
          <p:cNvPicPr>
            <a:picLocks noChangeAspect="1" noChangeArrowheads="1"/>
          </p:cNvPicPr>
          <p:nvPr/>
        </p:nvPicPr>
        <p:blipFill>
          <a:blip r:embed="rId5" cstate="print"/>
          <a:srcRect/>
          <a:stretch>
            <a:fillRect/>
          </a:stretch>
        </p:blipFill>
        <p:spPr bwMode="auto">
          <a:xfrm>
            <a:off x="347816" y="360040"/>
            <a:ext cx="4569178" cy="2987069"/>
          </a:xfrm>
          <a:prstGeom prst="rect">
            <a:avLst/>
          </a:prstGeom>
          <a:noFill/>
          <a:ln w="9525">
            <a:noFill/>
            <a:miter lim="800000"/>
            <a:headEnd/>
            <a:tailEnd/>
          </a:ln>
        </p:spPr>
      </p:pic>
    </p:spTree>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1500" y="36227"/>
            <a:ext cx="9144000" cy="6785547"/>
          </a:xfrm>
          <a:prstGeom prst="rect">
            <a:avLst/>
          </a:prstGeom>
        </p:spPr>
      </p:pic>
    </p:spTree>
    <p:extLst>
      <p:ext uri="{BB962C8B-B14F-4D97-AF65-F5344CB8AC3E}">
        <p14:creationId xmlns:p14="http://schemas.microsoft.com/office/powerpoint/2010/main" val="3004769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a:extLst>
              <a:ext uri="{FF2B5EF4-FFF2-40B4-BE49-F238E27FC236}">
                <a16:creationId xmlns:a16="http://schemas.microsoft.com/office/drawing/2014/main" id="{BE8DA228-AF84-468E-BE9A-00F1BDC15BC3}"/>
              </a:ext>
            </a:extLst>
          </p:cNvPr>
          <p:cNvSpPr>
            <a:spLocks noGrp="1" noChangeArrowheads="1"/>
          </p:cNvSpPr>
          <p:nvPr>
            <p:ph type="title"/>
          </p:nvPr>
        </p:nvSpPr>
        <p:spPr>
          <a:xfrm>
            <a:off x="510447" y="159434"/>
            <a:ext cx="9140378" cy="1143000"/>
          </a:xfrm>
        </p:spPr>
        <p:txBody>
          <a:bodyPr/>
          <a:lstStyle/>
          <a:p>
            <a:r>
              <a:rPr lang="el-GR" altLang="el-GR" sz="2800" b="1" dirty="0"/>
              <a:t>Παγκόσμιος επιπολασμός χρόνιας </a:t>
            </a:r>
            <a:r>
              <a:rPr lang="en-US" altLang="el-GR" sz="2800" b="1" dirty="0"/>
              <a:t>HBV </a:t>
            </a:r>
            <a:r>
              <a:rPr lang="el-GR" altLang="el-GR" sz="2800" b="1" dirty="0"/>
              <a:t>λοίμωξης</a:t>
            </a:r>
            <a:endParaRPr lang="en-GB" altLang="el-GR" sz="2800" b="1" dirty="0"/>
          </a:p>
        </p:txBody>
      </p:sp>
      <p:grpSp>
        <p:nvGrpSpPr>
          <p:cNvPr id="82947" name="Group 9">
            <a:extLst>
              <a:ext uri="{FF2B5EF4-FFF2-40B4-BE49-F238E27FC236}">
                <a16:creationId xmlns:a16="http://schemas.microsoft.com/office/drawing/2014/main" id="{42873519-6671-4670-9AE5-632A22337FA5}"/>
              </a:ext>
            </a:extLst>
          </p:cNvPr>
          <p:cNvGrpSpPr>
            <a:grpSpLocks/>
          </p:cNvGrpSpPr>
          <p:nvPr/>
        </p:nvGrpSpPr>
        <p:grpSpPr bwMode="auto">
          <a:xfrm>
            <a:off x="1038226" y="1295401"/>
            <a:ext cx="8266113" cy="4175125"/>
            <a:chOff x="467081" y="1681162"/>
            <a:chExt cx="8265402" cy="4419602"/>
          </a:xfrm>
        </p:grpSpPr>
        <p:grpSp>
          <p:nvGrpSpPr>
            <p:cNvPr id="82964" name="Group 36">
              <a:extLst>
                <a:ext uri="{FF2B5EF4-FFF2-40B4-BE49-F238E27FC236}">
                  <a16:creationId xmlns:a16="http://schemas.microsoft.com/office/drawing/2014/main" id="{09285B8B-DE5E-43E1-87AD-63548D3F5E03}"/>
                </a:ext>
              </a:extLst>
            </p:cNvPr>
            <p:cNvGrpSpPr>
              <a:grpSpLocks/>
            </p:cNvGrpSpPr>
            <p:nvPr/>
          </p:nvGrpSpPr>
          <p:grpSpPr bwMode="auto">
            <a:xfrm>
              <a:off x="467081" y="1681162"/>
              <a:ext cx="8265402" cy="4419602"/>
              <a:chOff x="220663" y="1549400"/>
              <a:chExt cx="8758237" cy="4683125"/>
            </a:xfrm>
          </p:grpSpPr>
          <p:sp>
            <p:nvSpPr>
              <p:cNvPr id="82976" name="Freeform 321">
                <a:extLst>
                  <a:ext uri="{FF2B5EF4-FFF2-40B4-BE49-F238E27FC236}">
                    <a16:creationId xmlns:a16="http://schemas.microsoft.com/office/drawing/2014/main" id="{8519601F-5041-4E29-A9DA-1E10308A7D77}"/>
                  </a:ext>
                </a:extLst>
              </p:cNvPr>
              <p:cNvSpPr>
                <a:spLocks/>
              </p:cNvSpPr>
              <p:nvPr/>
            </p:nvSpPr>
            <p:spPr bwMode="auto">
              <a:xfrm rot="730076">
                <a:off x="4227513" y="3382963"/>
                <a:ext cx="360362" cy="282575"/>
              </a:xfrm>
              <a:custGeom>
                <a:avLst/>
                <a:gdLst>
                  <a:gd name="T0" fmla="*/ 2147483647 w 10000"/>
                  <a:gd name="T1" fmla="*/ 2147483647 h 10009"/>
                  <a:gd name="T2" fmla="*/ 2147483647 w 10000"/>
                  <a:gd name="T3" fmla="*/ 2147483647 h 10009"/>
                  <a:gd name="T4" fmla="*/ 2147483647 w 10000"/>
                  <a:gd name="T5" fmla="*/ 2147483647 h 10009"/>
                  <a:gd name="T6" fmla="*/ 2147483647 w 10000"/>
                  <a:gd name="T7" fmla="*/ 2147483647 h 10009"/>
                  <a:gd name="T8" fmla="*/ 2147483647 w 10000"/>
                  <a:gd name="T9" fmla="*/ 2147483647 h 10009"/>
                  <a:gd name="T10" fmla="*/ 2147483647 w 10000"/>
                  <a:gd name="T11" fmla="*/ 2147483647 h 10009"/>
                  <a:gd name="T12" fmla="*/ 2147483647 w 10000"/>
                  <a:gd name="T13" fmla="*/ 2147483647 h 10009"/>
                  <a:gd name="T14" fmla="*/ 2147483647 w 10000"/>
                  <a:gd name="T15" fmla="*/ 2147483647 h 10009"/>
                  <a:gd name="T16" fmla="*/ 2147483647 w 10000"/>
                  <a:gd name="T17" fmla="*/ 2147483647 h 10009"/>
                  <a:gd name="T18" fmla="*/ 2147483647 w 10000"/>
                  <a:gd name="T19" fmla="*/ 2147483647 h 10009"/>
                  <a:gd name="T20" fmla="*/ 0 w 10000"/>
                  <a:gd name="T21" fmla="*/ 2147483647 h 10009"/>
                  <a:gd name="T22" fmla="*/ 2147483647 w 10000"/>
                  <a:gd name="T23" fmla="*/ 2147483647 h 10009"/>
                  <a:gd name="T24" fmla="*/ 2147483647 w 10000"/>
                  <a:gd name="T25" fmla="*/ 2147483647 h 10009"/>
                  <a:gd name="T26" fmla="*/ 2147483647 w 10000"/>
                  <a:gd name="T27" fmla="*/ 2147483647 h 10009"/>
                  <a:gd name="T28" fmla="*/ 2147483647 w 10000"/>
                  <a:gd name="T29" fmla="*/ 2147483647 h 10009"/>
                  <a:gd name="T30" fmla="*/ 2147483647 w 10000"/>
                  <a:gd name="T31" fmla="*/ 2147483647 h 10009"/>
                  <a:gd name="T32" fmla="*/ 2147483647 w 10000"/>
                  <a:gd name="T33" fmla="*/ 2147483647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2147483647 h 10009"/>
                  <a:gd name="T74" fmla="*/ 2147483647 w 10000"/>
                  <a:gd name="T75" fmla="*/ 2147483647 h 10009"/>
                  <a:gd name="T76" fmla="*/ 2147483647 w 10000"/>
                  <a:gd name="T77" fmla="*/ 2147483647 h 10009"/>
                  <a:gd name="T78" fmla="*/ 2147483647 w 10000"/>
                  <a:gd name="T79" fmla="*/ 2147483647 h 10009"/>
                  <a:gd name="T80" fmla="*/ 2147483647 w 10000"/>
                  <a:gd name="T81" fmla="*/ 2147483647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rgbClr val="92D050"/>
              </a:solidFill>
              <a:ln w="9525">
                <a:solidFill>
                  <a:schemeClr val="bg1"/>
                </a:solidFill>
                <a:round/>
                <a:headEnd/>
                <a:tailEnd/>
              </a:ln>
            </p:spPr>
            <p:txBody>
              <a:bodyPr/>
              <a:lstStyle/>
              <a:p>
                <a:endParaRPr lang="el-GR"/>
              </a:p>
            </p:txBody>
          </p:sp>
          <p:sp>
            <p:nvSpPr>
              <p:cNvPr id="82977" name="Freeform 322">
                <a:extLst>
                  <a:ext uri="{FF2B5EF4-FFF2-40B4-BE49-F238E27FC236}">
                    <a16:creationId xmlns:a16="http://schemas.microsoft.com/office/drawing/2014/main" id="{78DC0E69-4139-4908-AA66-19D08EDE02C7}"/>
                  </a:ext>
                </a:extLst>
              </p:cNvPr>
              <p:cNvSpPr>
                <a:spLocks/>
              </p:cNvSpPr>
              <p:nvPr/>
            </p:nvSpPr>
            <p:spPr bwMode="auto">
              <a:xfrm rot="926903">
                <a:off x="4237038" y="3402013"/>
                <a:ext cx="90487" cy="198437"/>
              </a:xfrm>
              <a:custGeom>
                <a:avLst/>
                <a:gdLst>
                  <a:gd name="T0" fmla="*/ 2147483647 w 10000"/>
                  <a:gd name="T1" fmla="*/ 2147483647 h 10437"/>
                  <a:gd name="T2" fmla="*/ 2147483647 w 10000"/>
                  <a:gd name="T3" fmla="*/ 2147483647 h 10437"/>
                  <a:gd name="T4" fmla="*/ 2147483647 w 10000"/>
                  <a:gd name="T5" fmla="*/ 2147483647 h 10437"/>
                  <a:gd name="T6" fmla="*/ 2147483647 w 10000"/>
                  <a:gd name="T7" fmla="*/ 2147483647 h 10437"/>
                  <a:gd name="T8" fmla="*/ 2147483647 w 10000"/>
                  <a:gd name="T9" fmla="*/ 2147483647 h 10437"/>
                  <a:gd name="T10" fmla="*/ 2147483647 w 10000"/>
                  <a:gd name="T11" fmla="*/ 2147483647 h 10437"/>
                  <a:gd name="T12" fmla="*/ 2147483647 w 10000"/>
                  <a:gd name="T13" fmla="*/ 2147483647 h 10437"/>
                  <a:gd name="T14" fmla="*/ 2147483647 w 10000"/>
                  <a:gd name="T15" fmla="*/ 2147483647 h 10437"/>
                  <a:gd name="T16" fmla="*/ 2147483647 w 10000"/>
                  <a:gd name="T17" fmla="*/ 2147483647 h 10437"/>
                  <a:gd name="T18" fmla="*/ 2147483647 w 10000"/>
                  <a:gd name="T19" fmla="*/ 2147483647 h 10437"/>
                  <a:gd name="T20" fmla="*/ 2147483647 w 10000"/>
                  <a:gd name="T21" fmla="*/ 2147483647 h 10437"/>
                  <a:gd name="T22" fmla="*/ 2147483647 w 10000"/>
                  <a:gd name="T23" fmla="*/ 0 h 10437"/>
                  <a:gd name="T24" fmla="*/ 2147483647 w 10000"/>
                  <a:gd name="T25" fmla="*/ 2147483647 h 10437"/>
                  <a:gd name="T26" fmla="*/ 2147483647 w 10000"/>
                  <a:gd name="T27" fmla="*/ 2147483647 h 10437"/>
                  <a:gd name="T28" fmla="*/ 2147483647 w 10000"/>
                  <a:gd name="T29" fmla="*/ 2147483647 h 10437"/>
                  <a:gd name="T30" fmla="*/ 2147483647 w 10000"/>
                  <a:gd name="T31" fmla="*/ 2147483647 h 10437"/>
                  <a:gd name="T32" fmla="*/ 2147483647 w 10000"/>
                  <a:gd name="T33" fmla="*/ 2147483647 h 10437"/>
                  <a:gd name="T34" fmla="*/ 1141210027 w 10000"/>
                  <a:gd name="T35" fmla="*/ 2147483647 h 10437"/>
                  <a:gd name="T36" fmla="*/ 0 w 10000"/>
                  <a:gd name="T37" fmla="*/ 2147483647 h 10437"/>
                  <a:gd name="T38" fmla="*/ 2147483647 w 10000"/>
                  <a:gd name="T39" fmla="*/ 2147483647 h 10437"/>
                  <a:gd name="T40" fmla="*/ 2147483647 w 10000"/>
                  <a:gd name="T41" fmla="*/ 2147483647 h 10437"/>
                  <a:gd name="T42" fmla="*/ 2147483647 w 10000"/>
                  <a:gd name="T43" fmla="*/ 2147483647 h 10437"/>
                  <a:gd name="T44" fmla="*/ 2147483647 w 10000"/>
                  <a:gd name="T45" fmla="*/ 2147483647 h 10437"/>
                  <a:gd name="T46" fmla="*/ 2147483647 w 10000"/>
                  <a:gd name="T47" fmla="*/ 2147483647 h 10437"/>
                  <a:gd name="T48" fmla="*/ 2147483647 w 10000"/>
                  <a:gd name="T49" fmla="*/ 2147483647 h 10437"/>
                  <a:gd name="T50" fmla="*/ 2147483647 w 10000"/>
                  <a:gd name="T51" fmla="*/ 2147483647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rgbClr val="92D050"/>
              </a:solidFill>
              <a:ln w="9525">
                <a:solidFill>
                  <a:schemeClr val="bg1"/>
                </a:solidFill>
                <a:round/>
                <a:headEnd/>
                <a:tailEnd/>
              </a:ln>
            </p:spPr>
            <p:txBody>
              <a:bodyPr/>
              <a:lstStyle/>
              <a:p>
                <a:endParaRPr lang="el-GR"/>
              </a:p>
            </p:txBody>
          </p:sp>
          <p:sp>
            <p:nvSpPr>
              <p:cNvPr id="82978" name="Freeform 341">
                <a:extLst>
                  <a:ext uri="{FF2B5EF4-FFF2-40B4-BE49-F238E27FC236}">
                    <a16:creationId xmlns:a16="http://schemas.microsoft.com/office/drawing/2014/main" id="{36E7C6A7-5743-48D0-AB04-520816B2D4CE}"/>
                  </a:ext>
                </a:extLst>
              </p:cNvPr>
              <p:cNvSpPr>
                <a:spLocks/>
              </p:cNvSpPr>
              <p:nvPr/>
            </p:nvSpPr>
            <p:spPr bwMode="auto">
              <a:xfrm>
                <a:off x="4767263" y="3276600"/>
                <a:ext cx="190500" cy="8413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0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0 w 10000"/>
                  <a:gd name="T35" fmla="*/ 2147483647 h 10000"/>
                  <a:gd name="T36" fmla="*/ 2147483647 w 10000"/>
                  <a:gd name="T37" fmla="*/ 2147483647 h 10000"/>
                  <a:gd name="T38" fmla="*/ 2147483647 w 10000"/>
                  <a:gd name="T39" fmla="*/ 2147483647 h 10000"/>
                  <a:gd name="T40" fmla="*/ 2147483647 w 10000"/>
                  <a:gd name="T41" fmla="*/ 2147483647 h 10000"/>
                  <a:gd name="T42" fmla="*/ 2147483647 w 10000"/>
                  <a:gd name="T43" fmla="*/ 2147483647 h 10000"/>
                  <a:gd name="T44" fmla="*/ 2147483647 w 10000"/>
                  <a:gd name="T45" fmla="*/ 2147483647 h 10000"/>
                  <a:gd name="T46" fmla="*/ 2147483647 w 10000"/>
                  <a:gd name="T47" fmla="*/ 2147483647 h 10000"/>
                  <a:gd name="T48" fmla="*/ 2147483647 w 10000"/>
                  <a:gd name="T49" fmla="*/ 2147483647 h 10000"/>
                  <a:gd name="T50" fmla="*/ 2147483647 w 10000"/>
                  <a:gd name="T51" fmla="*/ 2147483647 h 10000"/>
                  <a:gd name="T52" fmla="*/ 2147483647 w 10000"/>
                  <a:gd name="T53" fmla="*/ 2147483647 h 10000"/>
                  <a:gd name="T54" fmla="*/ 2147483647 w 10000"/>
                  <a:gd name="T55" fmla="*/ 2147483647 h 10000"/>
                  <a:gd name="T56" fmla="*/ 2147483647 w 10000"/>
                  <a:gd name="T57" fmla="*/ 2147483647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solidFill>
                <a:srgbClr val="92D050"/>
              </a:solidFill>
              <a:ln w="9525">
                <a:solidFill>
                  <a:schemeClr val="bg1"/>
                </a:solidFill>
                <a:round/>
                <a:headEnd/>
                <a:tailEnd/>
              </a:ln>
            </p:spPr>
            <p:txBody>
              <a:bodyPr/>
              <a:lstStyle/>
              <a:p>
                <a:endParaRPr lang="el-GR"/>
              </a:p>
            </p:txBody>
          </p:sp>
          <p:sp>
            <p:nvSpPr>
              <p:cNvPr id="82979" name="Freeform 342">
                <a:extLst>
                  <a:ext uri="{FF2B5EF4-FFF2-40B4-BE49-F238E27FC236}">
                    <a16:creationId xmlns:a16="http://schemas.microsoft.com/office/drawing/2014/main" id="{50AE0FB0-1E17-4228-9D06-C1C80B34F523}"/>
                  </a:ext>
                </a:extLst>
              </p:cNvPr>
              <p:cNvSpPr>
                <a:spLocks/>
              </p:cNvSpPr>
              <p:nvPr/>
            </p:nvSpPr>
            <p:spPr bwMode="auto">
              <a:xfrm rot="471028">
                <a:off x="4440238" y="3171825"/>
                <a:ext cx="304800" cy="293688"/>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2147483647 h 10000"/>
                  <a:gd name="T24" fmla="*/ 2147483647 w 10043"/>
                  <a:gd name="T25" fmla="*/ 2147483647 h 10000"/>
                  <a:gd name="T26" fmla="*/ 2147483647 w 10043"/>
                  <a:gd name="T27" fmla="*/ 2147483647 h 10000"/>
                  <a:gd name="T28" fmla="*/ 2147483647 w 10043"/>
                  <a:gd name="T29" fmla="*/ 2147483647 h 10000"/>
                  <a:gd name="T30" fmla="*/ 2147483647 w 10043"/>
                  <a:gd name="T31" fmla="*/ 2147483647 h 10000"/>
                  <a:gd name="T32" fmla="*/ 2147483647 w 10043"/>
                  <a:gd name="T33" fmla="*/ 2147483647 h 10000"/>
                  <a:gd name="T34" fmla="*/ 2147483647 w 10043"/>
                  <a:gd name="T35" fmla="*/ 2147483647 h 10000"/>
                  <a:gd name="T36" fmla="*/ 2147483647 w 10043"/>
                  <a:gd name="T37" fmla="*/ 2147483647 h 10000"/>
                  <a:gd name="T38" fmla="*/ 2147483647 w 10043"/>
                  <a:gd name="T39" fmla="*/ 2147483647 h 10000"/>
                  <a:gd name="T40" fmla="*/ 2147483647 w 10043"/>
                  <a:gd name="T41" fmla="*/ 0 h 10000"/>
                  <a:gd name="T42" fmla="*/ 2147483647 w 10043"/>
                  <a:gd name="T43" fmla="*/ 2147483647 h 10000"/>
                  <a:gd name="T44" fmla="*/ 2147483647 w 10043"/>
                  <a:gd name="T45" fmla="*/ 2147483647 h 10000"/>
                  <a:gd name="T46" fmla="*/ 2147483647 w 10043"/>
                  <a:gd name="T47" fmla="*/ 2147483647 h 10000"/>
                  <a:gd name="T48" fmla="*/ 2147483647 w 10043"/>
                  <a:gd name="T49" fmla="*/ 2147483647 h 10000"/>
                  <a:gd name="T50" fmla="*/ 2147483647 w 10043"/>
                  <a:gd name="T51" fmla="*/ 2147483647 h 10000"/>
                  <a:gd name="T52" fmla="*/ 2147483647 w 10043"/>
                  <a:gd name="T53" fmla="*/ 2147483647 h 10000"/>
                  <a:gd name="T54" fmla="*/ 2147483647 w 10043"/>
                  <a:gd name="T55" fmla="*/ 2147483647 h 10000"/>
                  <a:gd name="T56" fmla="*/ 2147483647 w 10043"/>
                  <a:gd name="T57" fmla="*/ 2147483647 h 10000"/>
                  <a:gd name="T58" fmla="*/ 2147483647 w 10043"/>
                  <a:gd name="T59" fmla="*/ 2147483647 h 10000"/>
                  <a:gd name="T60" fmla="*/ 2147483647 w 10043"/>
                  <a:gd name="T61" fmla="*/ 2147483647 h 10000"/>
                  <a:gd name="T62" fmla="*/ 2147483647 w 10043"/>
                  <a:gd name="T63" fmla="*/ 2147483647 h 10000"/>
                  <a:gd name="T64" fmla="*/ 2147483647 w 10043"/>
                  <a:gd name="T65" fmla="*/ 2147483647 h 10000"/>
                  <a:gd name="T66" fmla="*/ 2147483647 w 10043"/>
                  <a:gd name="T67" fmla="*/ 2147483647 h 10000"/>
                  <a:gd name="T68" fmla="*/ 2147483647 w 10043"/>
                  <a:gd name="T69" fmla="*/ 2147483647 h 10000"/>
                  <a:gd name="T70" fmla="*/ 2147483647 w 10043"/>
                  <a:gd name="T71" fmla="*/ 2147483647 h 10000"/>
                  <a:gd name="T72" fmla="*/ 2147483647 w 10043"/>
                  <a:gd name="T73" fmla="*/ 2147483647 h 10000"/>
                  <a:gd name="T74" fmla="*/ 2147483647 w 10043"/>
                  <a:gd name="T75" fmla="*/ 2147483647 h 10000"/>
                  <a:gd name="T76" fmla="*/ 2147483647 w 10043"/>
                  <a:gd name="T77" fmla="*/ 2147483647 h 10000"/>
                  <a:gd name="T78" fmla="*/ 2147483647 w 10043"/>
                  <a:gd name="T79" fmla="*/ 2147483647 h 10000"/>
                  <a:gd name="T80" fmla="*/ 2147483647 w 10043"/>
                  <a:gd name="T81" fmla="*/ 2147483647 h 10000"/>
                  <a:gd name="T82" fmla="*/ 2147483647 w 10043"/>
                  <a:gd name="T83" fmla="*/ 2147483647 h 10000"/>
                  <a:gd name="T84" fmla="*/ 2147483647 w 10043"/>
                  <a:gd name="T85" fmla="*/ 2147483647 h 10000"/>
                  <a:gd name="T86" fmla="*/ 2147483647 w 10043"/>
                  <a:gd name="T87" fmla="*/ 2147483647 h 10000"/>
                  <a:gd name="T88" fmla="*/ 2147483647 w 10043"/>
                  <a:gd name="T89" fmla="*/ 2147483647 h 10000"/>
                  <a:gd name="T90" fmla="*/ 2147483647 w 10043"/>
                  <a:gd name="T91" fmla="*/ 2147483647 h 10000"/>
                  <a:gd name="T92" fmla="*/ 2147483647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rgbClr val="92D050"/>
              </a:solidFill>
              <a:ln w="9525">
                <a:solidFill>
                  <a:schemeClr val="bg1"/>
                </a:solidFill>
                <a:round/>
                <a:headEnd/>
                <a:tailEnd/>
              </a:ln>
            </p:spPr>
            <p:txBody>
              <a:bodyPr/>
              <a:lstStyle/>
              <a:p>
                <a:endParaRPr lang="el-GR"/>
              </a:p>
            </p:txBody>
          </p:sp>
          <p:sp>
            <p:nvSpPr>
              <p:cNvPr id="82980" name="Freeform 343">
                <a:extLst>
                  <a:ext uri="{FF2B5EF4-FFF2-40B4-BE49-F238E27FC236}">
                    <a16:creationId xmlns:a16="http://schemas.microsoft.com/office/drawing/2014/main" id="{F67BD121-7B0C-4E39-8384-6EB6037C9BAD}"/>
                  </a:ext>
                </a:extLst>
              </p:cNvPr>
              <p:cNvSpPr>
                <a:spLocks/>
              </p:cNvSpPr>
              <p:nvPr/>
            </p:nvSpPr>
            <p:spPr bwMode="auto">
              <a:xfrm>
                <a:off x="4699000" y="3348038"/>
                <a:ext cx="311150" cy="315912"/>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rgbClr val="92D050"/>
              </a:solidFill>
              <a:ln w="9525">
                <a:solidFill>
                  <a:schemeClr val="bg1"/>
                </a:solidFill>
                <a:round/>
                <a:headEnd/>
                <a:tailEnd/>
              </a:ln>
            </p:spPr>
            <p:txBody>
              <a:bodyPr/>
              <a:lstStyle/>
              <a:p>
                <a:endParaRPr lang="el-GR"/>
              </a:p>
            </p:txBody>
          </p:sp>
          <p:sp>
            <p:nvSpPr>
              <p:cNvPr id="82981" name="Freeform 344">
                <a:extLst>
                  <a:ext uri="{FF2B5EF4-FFF2-40B4-BE49-F238E27FC236}">
                    <a16:creationId xmlns:a16="http://schemas.microsoft.com/office/drawing/2014/main" id="{C909D8E8-4F3D-4E62-832E-5C9B2E991684}"/>
                  </a:ext>
                </a:extLst>
              </p:cNvPr>
              <p:cNvSpPr>
                <a:spLocks/>
              </p:cNvSpPr>
              <p:nvPr/>
            </p:nvSpPr>
            <p:spPr bwMode="auto">
              <a:xfrm>
                <a:off x="4691063" y="3040063"/>
                <a:ext cx="200025" cy="292100"/>
              </a:xfrm>
              <a:custGeom>
                <a:avLst/>
                <a:gdLst>
                  <a:gd name="T0" fmla="*/ 2147483647 w 10045"/>
                  <a:gd name="T1" fmla="*/ 2147483647 h 10019"/>
                  <a:gd name="T2" fmla="*/ 2147483647 w 10045"/>
                  <a:gd name="T3" fmla="*/ 2147483647 h 10019"/>
                  <a:gd name="T4" fmla="*/ 2147483647 w 10045"/>
                  <a:gd name="T5" fmla="*/ 2147483647 h 10019"/>
                  <a:gd name="T6" fmla="*/ 2147483647 w 10045"/>
                  <a:gd name="T7" fmla="*/ 2147483647 h 10019"/>
                  <a:gd name="T8" fmla="*/ 2147483647 w 10045"/>
                  <a:gd name="T9" fmla="*/ 2147483647 h 10019"/>
                  <a:gd name="T10" fmla="*/ 2147483647 w 10045"/>
                  <a:gd name="T11" fmla="*/ 2147483647 h 10019"/>
                  <a:gd name="T12" fmla="*/ 2147483647 w 10045"/>
                  <a:gd name="T13" fmla="*/ 2147483647 h 10019"/>
                  <a:gd name="T14" fmla="*/ 2147483647 w 10045"/>
                  <a:gd name="T15" fmla="*/ 2147483647 h 10019"/>
                  <a:gd name="T16" fmla="*/ 2147483647 w 10045"/>
                  <a:gd name="T17" fmla="*/ 2147483647 h 10019"/>
                  <a:gd name="T18" fmla="*/ 0 w 10045"/>
                  <a:gd name="T19" fmla="*/ 2147483647 h 10019"/>
                  <a:gd name="T20" fmla="*/ 2147483647 w 10045"/>
                  <a:gd name="T21" fmla="*/ 2147483647 h 10019"/>
                  <a:gd name="T22" fmla="*/ 2147483647 w 10045"/>
                  <a:gd name="T23" fmla="*/ 2147483647 h 10019"/>
                  <a:gd name="T24" fmla="*/ 2147483647 w 10045"/>
                  <a:gd name="T25" fmla="*/ 2147483647 h 10019"/>
                  <a:gd name="T26" fmla="*/ 2147483647 w 10045"/>
                  <a:gd name="T27" fmla="*/ 2147483647 h 10019"/>
                  <a:gd name="T28" fmla="*/ 2147483647 w 10045"/>
                  <a:gd name="T29" fmla="*/ 2147483647 h 10019"/>
                  <a:gd name="T30" fmla="*/ 2147483647 w 10045"/>
                  <a:gd name="T31" fmla="*/ 2147483647 h 10019"/>
                  <a:gd name="T32" fmla="*/ 2147483647 w 10045"/>
                  <a:gd name="T33" fmla="*/ 2147483647 h 10019"/>
                  <a:gd name="T34" fmla="*/ 2147483647 w 10045"/>
                  <a:gd name="T35" fmla="*/ 2147483647 h 10019"/>
                  <a:gd name="T36" fmla="*/ 2147483647 w 10045"/>
                  <a:gd name="T37" fmla="*/ 2147483647 h 10019"/>
                  <a:gd name="T38" fmla="*/ 2147483647 w 10045"/>
                  <a:gd name="T39" fmla="*/ 2147483647 h 10019"/>
                  <a:gd name="T40" fmla="*/ 2147483647 w 10045"/>
                  <a:gd name="T41" fmla="*/ 2147483647 h 10019"/>
                  <a:gd name="T42" fmla="*/ 2147483647 w 10045"/>
                  <a:gd name="T43" fmla="*/ 2147483647 h 10019"/>
                  <a:gd name="T44" fmla="*/ 2147483647 w 10045"/>
                  <a:gd name="T45" fmla="*/ 2147483647 h 10019"/>
                  <a:gd name="T46" fmla="*/ 2147483647 w 10045"/>
                  <a:gd name="T47" fmla="*/ 2147483647 h 10019"/>
                  <a:gd name="T48" fmla="*/ 2147483647 w 10045"/>
                  <a:gd name="T49" fmla="*/ 2147483647 h 10019"/>
                  <a:gd name="T50" fmla="*/ 2147483647 w 10045"/>
                  <a:gd name="T51" fmla="*/ 2147483647 h 10019"/>
                  <a:gd name="T52" fmla="*/ 2147483647 w 10045"/>
                  <a:gd name="T53" fmla="*/ 2147483647 h 10019"/>
                  <a:gd name="T54" fmla="*/ 2147483647 w 10045"/>
                  <a:gd name="T55" fmla="*/ 2147483647 h 10019"/>
                  <a:gd name="T56" fmla="*/ 2147483647 w 10045"/>
                  <a:gd name="T57" fmla="*/ 2147483647 h 10019"/>
                  <a:gd name="T58" fmla="*/ 2147483647 w 10045"/>
                  <a:gd name="T59" fmla="*/ 2147483647 h 10019"/>
                  <a:gd name="T60" fmla="*/ 2147483647 w 10045"/>
                  <a:gd name="T61" fmla="*/ 2147483647 h 10019"/>
                  <a:gd name="T62" fmla="*/ 2147483647 w 10045"/>
                  <a:gd name="T63" fmla="*/ 2147483647 h 10019"/>
                  <a:gd name="T64" fmla="*/ 2147483647 w 10045"/>
                  <a:gd name="T65" fmla="*/ 2147483647 h 10019"/>
                  <a:gd name="T66" fmla="*/ 2147483647 w 10045"/>
                  <a:gd name="T67" fmla="*/ 2147483647 h 10019"/>
                  <a:gd name="T68" fmla="*/ 2147483647 w 10045"/>
                  <a:gd name="T69" fmla="*/ 2147483647 h 10019"/>
                  <a:gd name="T70" fmla="*/ 2147483647 w 10045"/>
                  <a:gd name="T71" fmla="*/ 2147483647 h 10019"/>
                  <a:gd name="T72" fmla="*/ 2147483647 w 10045"/>
                  <a:gd name="T73" fmla="*/ 2147483647 h 10019"/>
                  <a:gd name="T74" fmla="*/ 2147483647 w 10045"/>
                  <a:gd name="T75" fmla="*/ 2147483647 h 10019"/>
                  <a:gd name="T76" fmla="*/ 2147483647 w 10045"/>
                  <a:gd name="T77" fmla="*/ 2147483647 h 10019"/>
                  <a:gd name="T78" fmla="*/ 2147483647 w 10045"/>
                  <a:gd name="T79" fmla="*/ 2147483647 h 10019"/>
                  <a:gd name="T80" fmla="*/ 2147483647 w 10045"/>
                  <a:gd name="T81" fmla="*/ 2147483647 h 10019"/>
                  <a:gd name="T82" fmla="*/ 2147483647 w 10045"/>
                  <a:gd name="T83" fmla="*/ 2147483647 h 10019"/>
                  <a:gd name="T84" fmla="*/ 2147483647 w 10045"/>
                  <a:gd name="T85" fmla="*/ 2147483647 h 10019"/>
                  <a:gd name="T86" fmla="*/ 2147483647 w 10045"/>
                  <a:gd name="T87" fmla="*/ 2147483647 h 10019"/>
                  <a:gd name="T88" fmla="*/ 2147483647 w 10045"/>
                  <a:gd name="T89" fmla="*/ 2147483647 h 10019"/>
                  <a:gd name="T90" fmla="*/ 2147483647 w 10045"/>
                  <a:gd name="T91" fmla="*/ 2147483647 h 10019"/>
                  <a:gd name="T92" fmla="*/ 2147483647 w 10045"/>
                  <a:gd name="T93" fmla="*/ 2147483647 h 10019"/>
                  <a:gd name="T94" fmla="*/ 2147483647 w 10045"/>
                  <a:gd name="T95" fmla="*/ 2147483647 h 10019"/>
                  <a:gd name="T96" fmla="*/ 2147483647 w 10045"/>
                  <a:gd name="T97" fmla="*/ 2147483647 h 10019"/>
                  <a:gd name="T98" fmla="*/ 2147483647 w 10045"/>
                  <a:gd name="T99" fmla="*/ 2147483647 h 10019"/>
                  <a:gd name="T100" fmla="*/ 2147483647 w 10045"/>
                  <a:gd name="T101" fmla="*/ 2147483647 h 10019"/>
                  <a:gd name="T102" fmla="*/ 2147483647 w 10045"/>
                  <a:gd name="T103" fmla="*/ 0 h 10019"/>
                  <a:gd name="T104" fmla="*/ 2147483647 w 10045"/>
                  <a:gd name="T105" fmla="*/ 2147483647 h 10019"/>
                  <a:gd name="T106" fmla="*/ 2147483647 w 10045"/>
                  <a:gd name="T107" fmla="*/ 2147483647 h 10019"/>
                  <a:gd name="T108" fmla="*/ 2147483647 w 10045"/>
                  <a:gd name="T109" fmla="*/ 2147483647 h 10019"/>
                  <a:gd name="T110" fmla="*/ 2147483647 w 10045"/>
                  <a:gd name="T111" fmla="*/ 2147483647 h 10019"/>
                  <a:gd name="T112" fmla="*/ 2147483647 w 10045"/>
                  <a:gd name="T113" fmla="*/ 2147483647 h 10019"/>
                  <a:gd name="T114" fmla="*/ 2147483647 w 10045"/>
                  <a:gd name="T115" fmla="*/ 2147483647 h 10019"/>
                  <a:gd name="T116" fmla="*/ 2147483647 w 10045"/>
                  <a:gd name="T117" fmla="*/ 2147483647 h 10019"/>
                  <a:gd name="T118" fmla="*/ 2147483647 w 10045"/>
                  <a:gd name="T119" fmla="*/ 2147483647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solidFill>
                <a:srgbClr val="92D050"/>
              </a:solidFill>
              <a:ln w="9525">
                <a:solidFill>
                  <a:schemeClr val="bg1"/>
                </a:solidFill>
                <a:round/>
                <a:headEnd/>
                <a:tailEnd/>
              </a:ln>
            </p:spPr>
            <p:txBody>
              <a:bodyPr/>
              <a:lstStyle/>
              <a:p>
                <a:endParaRPr lang="el-GR"/>
              </a:p>
            </p:txBody>
          </p:sp>
          <p:sp>
            <p:nvSpPr>
              <p:cNvPr id="82982" name="Freeform 345">
                <a:extLst>
                  <a:ext uri="{FF2B5EF4-FFF2-40B4-BE49-F238E27FC236}">
                    <a16:creationId xmlns:a16="http://schemas.microsoft.com/office/drawing/2014/main" id="{8EC1C9FB-B504-4763-9F83-8A5928D9BB2F}"/>
                  </a:ext>
                </a:extLst>
              </p:cNvPr>
              <p:cNvSpPr>
                <a:spLocks/>
              </p:cNvSpPr>
              <p:nvPr/>
            </p:nvSpPr>
            <p:spPr bwMode="auto">
              <a:xfrm>
                <a:off x="4665663" y="3100388"/>
                <a:ext cx="76200" cy="101600"/>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92D050"/>
              </a:solidFill>
              <a:ln w="9525">
                <a:solidFill>
                  <a:schemeClr val="bg1"/>
                </a:solidFill>
                <a:round/>
                <a:headEnd/>
                <a:tailEnd/>
              </a:ln>
            </p:spPr>
            <p:txBody>
              <a:bodyPr/>
              <a:lstStyle/>
              <a:p>
                <a:endParaRPr lang="el-GR"/>
              </a:p>
            </p:txBody>
          </p:sp>
          <p:sp>
            <p:nvSpPr>
              <p:cNvPr id="50" name="Freeform 346">
                <a:extLst>
                  <a:ext uri="{FF2B5EF4-FFF2-40B4-BE49-F238E27FC236}">
                    <a16:creationId xmlns:a16="http://schemas.microsoft.com/office/drawing/2014/main" id="{504B6F92-9AE6-433B-AACF-C674E019A9F1}"/>
                  </a:ext>
                </a:extLst>
              </p:cNvPr>
              <p:cNvSpPr>
                <a:spLocks/>
              </p:cNvSpPr>
              <p:nvPr/>
            </p:nvSpPr>
            <p:spPr bwMode="auto">
              <a:xfrm rot="-633815">
                <a:off x="5046356" y="3533051"/>
                <a:ext cx="159791" cy="163820"/>
              </a:xfrm>
              <a:custGeom>
                <a:avLst/>
                <a:gdLst>
                  <a:gd name="T0" fmla="*/ 2147483646 w 9874"/>
                  <a:gd name="T1" fmla="*/ 2147483646 h 10000"/>
                  <a:gd name="T2" fmla="*/ 2147483646 w 9874"/>
                  <a:gd name="T3" fmla="*/ 2147483646 h 10000"/>
                  <a:gd name="T4" fmla="*/ 2147483646 w 9874"/>
                  <a:gd name="T5" fmla="*/ 2147483646 h 10000"/>
                  <a:gd name="T6" fmla="*/ 2147483646 w 9874"/>
                  <a:gd name="T7" fmla="*/ 0 h 10000"/>
                  <a:gd name="T8" fmla="*/ 2147483646 w 9874"/>
                  <a:gd name="T9" fmla="*/ 2147483646 h 10000"/>
                  <a:gd name="T10" fmla="*/ 2147483646 w 9874"/>
                  <a:gd name="T11" fmla="*/ 2147483646 h 10000"/>
                  <a:gd name="T12" fmla="*/ 2147483646 w 9874"/>
                  <a:gd name="T13" fmla="*/ 2147483646 h 10000"/>
                  <a:gd name="T14" fmla="*/ 2147483646 w 9874"/>
                  <a:gd name="T15" fmla="*/ 2147483646 h 10000"/>
                  <a:gd name="T16" fmla="*/ 2147483646 w 9874"/>
                  <a:gd name="T17" fmla="*/ 2147483646 h 10000"/>
                  <a:gd name="T18" fmla="*/ 0 w 9874"/>
                  <a:gd name="T19" fmla="*/ 2147483646 h 10000"/>
                  <a:gd name="T20" fmla="*/ 2147483646 w 9874"/>
                  <a:gd name="T21" fmla="*/ 2147483646 h 10000"/>
                  <a:gd name="T22" fmla="*/ 2147483646 w 9874"/>
                  <a:gd name="T23" fmla="*/ 2147483646 h 10000"/>
                  <a:gd name="T24" fmla="*/ 2147483646 w 9874"/>
                  <a:gd name="T25" fmla="*/ 2147483646 h 10000"/>
                  <a:gd name="T26" fmla="*/ 2147483646 w 9874"/>
                  <a:gd name="T27" fmla="*/ 2147483646 h 10000"/>
                  <a:gd name="T28" fmla="*/ 2147483646 w 9874"/>
                  <a:gd name="T29" fmla="*/ 2147483646 h 10000"/>
                  <a:gd name="T30" fmla="*/ 2147483646 w 9874"/>
                  <a:gd name="T31" fmla="*/ 2147483646 h 10000"/>
                  <a:gd name="T32" fmla="*/ 2147483646 w 9874"/>
                  <a:gd name="T33" fmla="*/ 2147483646 h 10000"/>
                  <a:gd name="T34" fmla="*/ 2147483646 w 9874"/>
                  <a:gd name="T35" fmla="*/ 2147483646 h 10000"/>
                  <a:gd name="T36" fmla="*/ 2147483646 w 9874"/>
                  <a:gd name="T37" fmla="*/ 2147483646 h 10000"/>
                  <a:gd name="T38" fmla="*/ 2147483646 w 9874"/>
                  <a:gd name="T39" fmla="*/ 2147483646 h 10000"/>
                  <a:gd name="T40" fmla="*/ 2147483646 w 9874"/>
                  <a:gd name="T41" fmla="*/ 2147483646 h 10000"/>
                  <a:gd name="T42" fmla="*/ 2147483646 w 9874"/>
                  <a:gd name="T43" fmla="*/ 2147483646 h 10000"/>
                  <a:gd name="T44" fmla="*/ 2147483646 w 9874"/>
                  <a:gd name="T45" fmla="*/ 2147483646 h 10000"/>
                  <a:gd name="T46" fmla="*/ 2147483646 w 9874"/>
                  <a:gd name="T47" fmla="*/ 2147483646 h 10000"/>
                  <a:gd name="T48" fmla="*/ 2147483646 w 9874"/>
                  <a:gd name="T49" fmla="*/ 2147483646 h 10000"/>
                  <a:gd name="T50" fmla="*/ 2147483646 w 9874"/>
                  <a:gd name="T51" fmla="*/ 2147483646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51" name="Freeform 351">
                <a:extLst>
                  <a:ext uri="{FF2B5EF4-FFF2-40B4-BE49-F238E27FC236}">
                    <a16:creationId xmlns:a16="http://schemas.microsoft.com/office/drawing/2014/main" id="{CF4DC70B-62E9-4144-B495-516FC1C412FF}"/>
                  </a:ext>
                </a:extLst>
              </p:cNvPr>
              <p:cNvSpPr>
                <a:spLocks/>
              </p:cNvSpPr>
              <p:nvPr/>
            </p:nvSpPr>
            <p:spPr bwMode="auto">
              <a:xfrm>
                <a:off x="5037945" y="3280198"/>
                <a:ext cx="203524" cy="167382"/>
              </a:xfrm>
              <a:custGeom>
                <a:avLst/>
                <a:gdLst>
                  <a:gd name="T0" fmla="*/ 2147483646 w 10000"/>
                  <a:gd name="T1" fmla="*/ 2147483646 h 10000"/>
                  <a:gd name="T2" fmla="*/ 2147483646 w 10000"/>
                  <a:gd name="T3" fmla="*/ 2147483646 h 10000"/>
                  <a:gd name="T4" fmla="*/ 2147483646 w 10000"/>
                  <a:gd name="T5" fmla="*/ 2147483646 h 10000"/>
                  <a:gd name="T6" fmla="*/ 2147483646 w 10000"/>
                  <a:gd name="T7" fmla="*/ 0 h 10000"/>
                  <a:gd name="T8" fmla="*/ 2147483646 w 10000"/>
                  <a:gd name="T9" fmla="*/ 2147483646 h 10000"/>
                  <a:gd name="T10" fmla="*/ 2147483646 w 10000"/>
                  <a:gd name="T11" fmla="*/ 2147483646 h 10000"/>
                  <a:gd name="T12" fmla="*/ 2147483646 w 10000"/>
                  <a:gd name="T13" fmla="*/ 2147483646 h 10000"/>
                  <a:gd name="T14" fmla="*/ 2147483646 w 10000"/>
                  <a:gd name="T15" fmla="*/ 2147483646 h 10000"/>
                  <a:gd name="T16" fmla="*/ 2147483646 w 10000"/>
                  <a:gd name="T17" fmla="*/ 2147483646 h 10000"/>
                  <a:gd name="T18" fmla="*/ 2147483646 w 10000"/>
                  <a:gd name="T19" fmla="*/ 2147483646 h 10000"/>
                  <a:gd name="T20" fmla="*/ 2147483646 w 10000"/>
                  <a:gd name="T21" fmla="*/ 2147483646 h 10000"/>
                  <a:gd name="T22" fmla="*/ 147736086 w 10000"/>
                  <a:gd name="T23" fmla="*/ 2147483646 h 10000"/>
                  <a:gd name="T24" fmla="*/ 2147483646 w 10000"/>
                  <a:gd name="T25" fmla="*/ 2147483646 h 10000"/>
                  <a:gd name="T26" fmla="*/ 2147483646 w 10000"/>
                  <a:gd name="T27" fmla="*/ 2147483646 h 10000"/>
                  <a:gd name="T28" fmla="*/ 2147483646 w 10000"/>
                  <a:gd name="T29" fmla="*/ 2147483646 h 10000"/>
                  <a:gd name="T30" fmla="*/ 2147483646 w 10000"/>
                  <a:gd name="T31" fmla="*/ 2147483646 h 10000"/>
                  <a:gd name="T32" fmla="*/ 2147483646 w 10000"/>
                  <a:gd name="T33" fmla="*/ 2147483646 h 10000"/>
                  <a:gd name="T34" fmla="*/ 2147483646 w 10000"/>
                  <a:gd name="T35" fmla="*/ 2147483646 h 10000"/>
                  <a:gd name="T36" fmla="*/ 2147483646 w 10000"/>
                  <a:gd name="T37" fmla="*/ 2147483646 h 10000"/>
                  <a:gd name="T38" fmla="*/ 2147483646 w 10000"/>
                  <a:gd name="T39" fmla="*/ 2147483646 h 10000"/>
                  <a:gd name="T40" fmla="*/ 2147483646 w 10000"/>
                  <a:gd name="T41" fmla="*/ 2147483646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2985" name="Freeform 353">
                <a:extLst>
                  <a:ext uri="{FF2B5EF4-FFF2-40B4-BE49-F238E27FC236}">
                    <a16:creationId xmlns:a16="http://schemas.microsoft.com/office/drawing/2014/main" id="{EF9CC73F-BDB7-45B5-A041-C0B5013FAA68}"/>
                  </a:ext>
                </a:extLst>
              </p:cNvPr>
              <p:cNvSpPr>
                <a:spLocks/>
              </p:cNvSpPr>
              <p:nvPr/>
            </p:nvSpPr>
            <p:spPr bwMode="auto">
              <a:xfrm>
                <a:off x="4830763" y="3201988"/>
                <a:ext cx="158750" cy="82550"/>
              </a:xfrm>
              <a:custGeom>
                <a:avLst/>
                <a:gdLst>
                  <a:gd name="T0" fmla="*/ 2147483647 w 10569"/>
                  <a:gd name="T1" fmla="*/ 2147483647 h 10092"/>
                  <a:gd name="T2" fmla="*/ 2147483647 w 10569"/>
                  <a:gd name="T3" fmla="*/ 2147483647 h 10092"/>
                  <a:gd name="T4" fmla="*/ 2147483647 w 10569"/>
                  <a:gd name="T5" fmla="*/ 2147483647 h 10092"/>
                  <a:gd name="T6" fmla="*/ 2147483647 w 10569"/>
                  <a:gd name="T7" fmla="*/ 0 h 10092"/>
                  <a:gd name="T8" fmla="*/ 2147483647 w 10569"/>
                  <a:gd name="T9" fmla="*/ 2051762966 h 10092"/>
                  <a:gd name="T10" fmla="*/ 2147483647 w 10569"/>
                  <a:gd name="T11" fmla="*/ 0 h 10092"/>
                  <a:gd name="T12" fmla="*/ 2147483647 w 10569"/>
                  <a:gd name="T13" fmla="*/ 2051762966 h 10092"/>
                  <a:gd name="T14" fmla="*/ 2147483647 w 10569"/>
                  <a:gd name="T15" fmla="*/ 2147483647 h 10092"/>
                  <a:gd name="T16" fmla="*/ 2147483647 w 10569"/>
                  <a:gd name="T17" fmla="*/ 2147483647 h 10092"/>
                  <a:gd name="T18" fmla="*/ 1906009187 w 10569"/>
                  <a:gd name="T19" fmla="*/ 2147483647 h 10092"/>
                  <a:gd name="T20" fmla="*/ 2147483647 w 10569"/>
                  <a:gd name="T21" fmla="*/ 2147483647 h 10092"/>
                  <a:gd name="T22" fmla="*/ 2147483647 w 10569"/>
                  <a:gd name="T23" fmla="*/ 2147483647 h 10092"/>
                  <a:gd name="T24" fmla="*/ 2147483647 w 10569"/>
                  <a:gd name="T25" fmla="*/ 2147483647 h 10092"/>
                  <a:gd name="T26" fmla="*/ 2147483647 w 10569"/>
                  <a:gd name="T27" fmla="*/ 2147483647 h 10092"/>
                  <a:gd name="T28" fmla="*/ 2147483647 w 10569"/>
                  <a:gd name="T29" fmla="*/ 2147483647 h 10092"/>
                  <a:gd name="T30" fmla="*/ 2147483647 w 10569"/>
                  <a:gd name="T31" fmla="*/ 2147483647 h 10092"/>
                  <a:gd name="T32" fmla="*/ 2147483647 w 10569"/>
                  <a:gd name="T33" fmla="*/ 2147483647 h 10092"/>
                  <a:gd name="T34" fmla="*/ 2147483647 w 10569"/>
                  <a:gd name="T35" fmla="*/ 2147483647 h 10092"/>
                  <a:gd name="T36" fmla="*/ 2147483647 w 10569"/>
                  <a:gd name="T37" fmla="*/ 2147483647 h 10092"/>
                  <a:gd name="T38" fmla="*/ 2147483647 w 10569"/>
                  <a:gd name="T39" fmla="*/ 2147483647 h 10092"/>
                  <a:gd name="T40" fmla="*/ 2147483647 w 10569"/>
                  <a:gd name="T41" fmla="*/ 2147483647 h 10092"/>
                  <a:gd name="T42" fmla="*/ 2147483647 w 10569"/>
                  <a:gd name="T43" fmla="*/ 2147483647 h 10092"/>
                  <a:gd name="T44" fmla="*/ 2147483647 w 10569"/>
                  <a:gd name="T45" fmla="*/ 2147483647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solidFill>
                <a:srgbClr val="92D050"/>
              </a:solidFill>
              <a:ln w="9525">
                <a:solidFill>
                  <a:schemeClr val="bg1"/>
                </a:solidFill>
                <a:round/>
                <a:headEnd/>
                <a:tailEnd/>
              </a:ln>
            </p:spPr>
            <p:txBody>
              <a:bodyPr/>
              <a:lstStyle/>
              <a:p>
                <a:endParaRPr lang="el-GR"/>
              </a:p>
            </p:txBody>
          </p:sp>
          <p:sp>
            <p:nvSpPr>
              <p:cNvPr id="53" name="Freeform 354">
                <a:extLst>
                  <a:ext uri="{FF2B5EF4-FFF2-40B4-BE49-F238E27FC236}">
                    <a16:creationId xmlns:a16="http://schemas.microsoft.com/office/drawing/2014/main" id="{74B17BE3-48B3-4B8D-83C2-8F00327026A6}"/>
                  </a:ext>
                </a:extLst>
              </p:cNvPr>
              <p:cNvSpPr>
                <a:spLocks/>
              </p:cNvSpPr>
              <p:nvPr/>
            </p:nvSpPr>
            <p:spPr bwMode="auto">
              <a:xfrm>
                <a:off x="4943753" y="3287320"/>
                <a:ext cx="137925" cy="96155"/>
              </a:xfrm>
              <a:custGeom>
                <a:avLst/>
                <a:gdLst>
                  <a:gd name="T0" fmla="*/ 2147483646 w 9980"/>
                  <a:gd name="T1" fmla="*/ 0 h 10000"/>
                  <a:gd name="T2" fmla="*/ 2147483646 w 9980"/>
                  <a:gd name="T3" fmla="*/ 1146309471 h 10000"/>
                  <a:gd name="T4" fmla="*/ 2147483646 w 9980"/>
                  <a:gd name="T5" fmla="*/ 1665489132 h 10000"/>
                  <a:gd name="T6" fmla="*/ 2147483646 w 9980"/>
                  <a:gd name="T7" fmla="*/ 2147483646 h 10000"/>
                  <a:gd name="T8" fmla="*/ 2147483646 w 9980"/>
                  <a:gd name="T9" fmla="*/ 1996026625 h 10000"/>
                  <a:gd name="T10" fmla="*/ 2147483646 w 9980"/>
                  <a:gd name="T11" fmla="*/ 1665489132 h 10000"/>
                  <a:gd name="T12" fmla="*/ 2147483646 w 9980"/>
                  <a:gd name="T13" fmla="*/ 2147483646 h 10000"/>
                  <a:gd name="T14" fmla="*/ 579158307 w 9980"/>
                  <a:gd name="T15" fmla="*/ 2147483646 h 10000"/>
                  <a:gd name="T16" fmla="*/ 155334902 w 9980"/>
                  <a:gd name="T17" fmla="*/ 2147483646 h 10000"/>
                  <a:gd name="T18" fmla="*/ 2147483646 w 9980"/>
                  <a:gd name="T19" fmla="*/ 2147483646 h 10000"/>
                  <a:gd name="T20" fmla="*/ 2147483646 w 9980"/>
                  <a:gd name="T21" fmla="*/ 2147483646 h 10000"/>
                  <a:gd name="T22" fmla="*/ 2147483646 w 9980"/>
                  <a:gd name="T23" fmla="*/ 2147483646 h 10000"/>
                  <a:gd name="T24" fmla="*/ 2147483646 w 9980"/>
                  <a:gd name="T25" fmla="*/ 2147483646 h 10000"/>
                  <a:gd name="T26" fmla="*/ 2147483646 w 9980"/>
                  <a:gd name="T27" fmla="*/ 2147483646 h 10000"/>
                  <a:gd name="T28" fmla="*/ 2147483646 w 9980"/>
                  <a:gd name="T29" fmla="*/ 2147483646 h 10000"/>
                  <a:gd name="T30" fmla="*/ 2147483646 w 9980"/>
                  <a:gd name="T31" fmla="*/ 2147483646 h 10000"/>
                  <a:gd name="T32" fmla="*/ 2147483646 w 9980"/>
                  <a:gd name="T33" fmla="*/ 2147483646 h 10000"/>
                  <a:gd name="T34" fmla="*/ 2147483646 w 9980"/>
                  <a:gd name="T35" fmla="*/ 1146309471 h 10000"/>
                  <a:gd name="T36" fmla="*/ 2147483646 w 9980"/>
                  <a:gd name="T37" fmla="*/ 94320627 h 10000"/>
                  <a:gd name="T38" fmla="*/ 2147483646 w 9980"/>
                  <a:gd name="T39" fmla="*/ 250572289 h 10000"/>
                  <a:gd name="T40" fmla="*/ 2147483646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55" name="Freeform 355">
                <a:extLst>
                  <a:ext uri="{FF2B5EF4-FFF2-40B4-BE49-F238E27FC236}">
                    <a16:creationId xmlns:a16="http://schemas.microsoft.com/office/drawing/2014/main" id="{B63F3219-FF63-47D8-BE7D-72DE52E0143E}"/>
                  </a:ext>
                </a:extLst>
              </p:cNvPr>
              <p:cNvSpPr>
                <a:spLocks/>
              </p:cNvSpPr>
              <p:nvPr/>
            </p:nvSpPr>
            <p:spPr bwMode="auto">
              <a:xfrm>
                <a:off x="4948799" y="3248146"/>
                <a:ext cx="132878" cy="69446"/>
              </a:xfrm>
              <a:custGeom>
                <a:avLst/>
                <a:gdLst>
                  <a:gd name="T0" fmla="*/ 2147483646 w 10000"/>
                  <a:gd name="T1" fmla="*/ 85299240 h 9595"/>
                  <a:gd name="T2" fmla="*/ 2147483646 w 10000"/>
                  <a:gd name="T3" fmla="*/ 13576773 h 9595"/>
                  <a:gd name="T4" fmla="*/ 2147483646 w 10000"/>
                  <a:gd name="T5" fmla="*/ 14455609 h 9595"/>
                  <a:gd name="T6" fmla="*/ 2147483646 w 10000"/>
                  <a:gd name="T7" fmla="*/ 85299240 h 9595"/>
                  <a:gd name="T8" fmla="*/ 2147483646 w 10000"/>
                  <a:gd name="T9" fmla="*/ 409818380 h 9595"/>
                  <a:gd name="T10" fmla="*/ 0 w 10000"/>
                  <a:gd name="T11" fmla="*/ 734500748 h 9595"/>
                  <a:gd name="T12" fmla="*/ 2147483646 w 10000"/>
                  <a:gd name="T13" fmla="*/ 1059017558 h 9595"/>
                  <a:gd name="T14" fmla="*/ 2147483646 w 10000"/>
                  <a:gd name="T15" fmla="*/ 1253991381 h 9595"/>
                  <a:gd name="T16" fmla="*/ 2147483646 w 10000"/>
                  <a:gd name="T17" fmla="*/ 1401365760 h 9595"/>
                  <a:gd name="T18" fmla="*/ 2147483646 w 10000"/>
                  <a:gd name="T19" fmla="*/ 1206535080 h 9595"/>
                  <a:gd name="T20" fmla="*/ 2147483646 w 10000"/>
                  <a:gd name="T21" fmla="*/ 1117738892 h 9595"/>
                  <a:gd name="T22" fmla="*/ 2147483646 w 10000"/>
                  <a:gd name="T23" fmla="*/ 800069697 h 9595"/>
                  <a:gd name="T24" fmla="*/ 2147483646 w 10000"/>
                  <a:gd name="T25" fmla="*/ 865641717 h 9595"/>
                  <a:gd name="T26" fmla="*/ 2147483646 w 10000"/>
                  <a:gd name="T27" fmla="*/ 726322096 h 9595"/>
                  <a:gd name="T28" fmla="*/ 2147483646 w 10000"/>
                  <a:gd name="T29" fmla="*/ 572221676 h 9595"/>
                  <a:gd name="T30" fmla="*/ 2147483646 w 10000"/>
                  <a:gd name="T31" fmla="*/ 314602478 h 9595"/>
                  <a:gd name="T32" fmla="*/ 2147483646 w 10000"/>
                  <a:gd name="T33" fmla="*/ 177307990 h 9595"/>
                  <a:gd name="T34" fmla="*/ 2147483646 w 10000"/>
                  <a:gd name="T35" fmla="*/ 85299240 h 9595"/>
                  <a:gd name="T36" fmla="*/ 2147483646 w 10000"/>
                  <a:gd name="T37" fmla="*/ 85299240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2988" name="Freeform 356">
                <a:extLst>
                  <a:ext uri="{FF2B5EF4-FFF2-40B4-BE49-F238E27FC236}">
                    <a16:creationId xmlns:a16="http://schemas.microsoft.com/office/drawing/2014/main" id="{9DB7B736-B4F7-4D8F-9942-5E0D6A1C5542}"/>
                  </a:ext>
                </a:extLst>
              </p:cNvPr>
              <p:cNvSpPr>
                <a:spLocks/>
              </p:cNvSpPr>
              <p:nvPr/>
            </p:nvSpPr>
            <p:spPr bwMode="auto">
              <a:xfrm>
                <a:off x="5097463" y="3429000"/>
                <a:ext cx="182562" cy="141288"/>
              </a:xfrm>
              <a:custGeom>
                <a:avLst/>
                <a:gdLst>
                  <a:gd name="T0" fmla="*/ 2147483647 w 10000"/>
                  <a:gd name="T1" fmla="*/ 2147483647 h 10000"/>
                  <a:gd name="T2" fmla="*/ 2147483647 w 10000"/>
                  <a:gd name="T3" fmla="*/ 2147483647 h 10000"/>
                  <a:gd name="T4" fmla="*/ 0 w 10000"/>
                  <a:gd name="T5" fmla="*/ 0 h 10000"/>
                  <a:gd name="T6" fmla="*/ 0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2147483647 w 10000"/>
                  <a:gd name="T43" fmla="*/ 2147483647 h 10000"/>
                  <a:gd name="T44" fmla="*/ 2147483647 w 10000"/>
                  <a:gd name="T45" fmla="*/ 0 h 10000"/>
                  <a:gd name="T46" fmla="*/ 2147483647 w 10000"/>
                  <a:gd name="T47" fmla="*/ 2147483647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solidFill>
                <a:srgbClr val="FF0000"/>
              </a:solidFill>
              <a:ln w="9525">
                <a:solidFill>
                  <a:schemeClr val="bg1"/>
                </a:solidFill>
                <a:round/>
                <a:headEnd/>
                <a:tailEnd/>
              </a:ln>
            </p:spPr>
            <p:txBody>
              <a:bodyPr/>
              <a:lstStyle/>
              <a:p>
                <a:endParaRPr lang="el-GR"/>
              </a:p>
            </p:txBody>
          </p:sp>
          <p:sp>
            <p:nvSpPr>
              <p:cNvPr id="82989" name="Freeform 361">
                <a:extLst>
                  <a:ext uri="{FF2B5EF4-FFF2-40B4-BE49-F238E27FC236}">
                    <a16:creationId xmlns:a16="http://schemas.microsoft.com/office/drawing/2014/main" id="{E509CAB7-2B54-4AFD-A896-F3020A7B8C63}"/>
                  </a:ext>
                </a:extLst>
              </p:cNvPr>
              <p:cNvSpPr>
                <a:spLocks/>
              </p:cNvSpPr>
              <p:nvPr/>
            </p:nvSpPr>
            <p:spPr bwMode="auto">
              <a:xfrm>
                <a:off x="4691063" y="3314700"/>
                <a:ext cx="114300" cy="65088"/>
              </a:xfrm>
              <a:custGeom>
                <a:avLst/>
                <a:gdLst>
                  <a:gd name="T0" fmla="*/ 2147483647 w 10000"/>
                  <a:gd name="T1" fmla="*/ 667136758 h 11466"/>
                  <a:gd name="T2" fmla="*/ 2147483647 w 10000"/>
                  <a:gd name="T3" fmla="*/ 427289987 h 11466"/>
                  <a:gd name="T4" fmla="*/ 2147483647 w 10000"/>
                  <a:gd name="T5" fmla="*/ 187444085 h 11466"/>
                  <a:gd name="T6" fmla="*/ 2147483647 w 10000"/>
                  <a:gd name="T7" fmla="*/ 373756277 h 11466"/>
                  <a:gd name="T8" fmla="*/ 2147483647 w 10000"/>
                  <a:gd name="T9" fmla="*/ 0 h 11466"/>
                  <a:gd name="T10" fmla="*/ 2147483647 w 10000"/>
                  <a:gd name="T11" fmla="*/ 360335251 h 11466"/>
                  <a:gd name="T12" fmla="*/ 0 w 10000"/>
                  <a:gd name="T13" fmla="*/ 1146828523 h 11466"/>
                  <a:gd name="T14" fmla="*/ 0 w 10000"/>
                  <a:gd name="T15" fmla="*/ 1626484974 h 11466"/>
                  <a:gd name="T16" fmla="*/ 2147483647 w 10000"/>
                  <a:gd name="T17" fmla="*/ 1626484974 h 11466"/>
                  <a:gd name="T18" fmla="*/ 2147483647 w 10000"/>
                  <a:gd name="T19" fmla="*/ 2147483647 h 11466"/>
                  <a:gd name="T20" fmla="*/ 2147483647 w 10000"/>
                  <a:gd name="T21" fmla="*/ 2106177682 h 11466"/>
                  <a:gd name="T22" fmla="*/ 2147483647 w 10000"/>
                  <a:gd name="T23" fmla="*/ 1733558458 h 11466"/>
                  <a:gd name="T24" fmla="*/ 2147483647 w 10000"/>
                  <a:gd name="T25" fmla="*/ 1946737734 h 11466"/>
                  <a:gd name="T26" fmla="*/ 2147483647 w 10000"/>
                  <a:gd name="T27" fmla="*/ 1626484974 h 11466"/>
                  <a:gd name="T28" fmla="*/ 2147483647 w 10000"/>
                  <a:gd name="T29" fmla="*/ 1386639106 h 11466"/>
                  <a:gd name="T30" fmla="*/ 2147483647 w 10000"/>
                  <a:gd name="T31" fmla="*/ 1386639106 h 11466"/>
                  <a:gd name="T32" fmla="*/ 2147483647 w 10000"/>
                  <a:gd name="T33" fmla="*/ 1146828523 h 11466"/>
                  <a:gd name="T34" fmla="*/ 2147483647 w 10000"/>
                  <a:gd name="T35" fmla="*/ 667136758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solidFill>
                <a:srgbClr val="92D050"/>
              </a:solidFill>
              <a:ln w="9525">
                <a:solidFill>
                  <a:schemeClr val="bg1"/>
                </a:solidFill>
                <a:round/>
                <a:headEnd/>
                <a:tailEnd/>
              </a:ln>
            </p:spPr>
            <p:txBody>
              <a:bodyPr/>
              <a:lstStyle/>
              <a:p>
                <a:endParaRPr lang="el-GR"/>
              </a:p>
            </p:txBody>
          </p:sp>
          <p:sp>
            <p:nvSpPr>
              <p:cNvPr id="82990" name="Freeform 363">
                <a:extLst>
                  <a:ext uri="{FF2B5EF4-FFF2-40B4-BE49-F238E27FC236}">
                    <a16:creationId xmlns:a16="http://schemas.microsoft.com/office/drawing/2014/main" id="{76578BA9-CBC3-48D6-B5E8-6D50F6AE275B}"/>
                  </a:ext>
                </a:extLst>
              </p:cNvPr>
              <p:cNvSpPr>
                <a:spLocks/>
              </p:cNvSpPr>
              <p:nvPr/>
            </p:nvSpPr>
            <p:spPr bwMode="auto">
              <a:xfrm>
                <a:off x="4633913" y="3168650"/>
                <a:ext cx="71437" cy="74613"/>
              </a:xfrm>
              <a:custGeom>
                <a:avLst/>
                <a:gdLst>
                  <a:gd name="T0" fmla="*/ 2147483647 w 10056"/>
                  <a:gd name="T1" fmla="*/ 2147483647 h 10000"/>
                  <a:gd name="T2" fmla="*/ 2147483647 w 10056"/>
                  <a:gd name="T3" fmla="*/ 2147483647 h 10000"/>
                  <a:gd name="T4" fmla="*/ 2147483647 w 10056"/>
                  <a:gd name="T5" fmla="*/ 2147483647 h 10000"/>
                  <a:gd name="T6" fmla="*/ 2147483647 w 10056"/>
                  <a:gd name="T7" fmla="*/ 2147483647 h 10000"/>
                  <a:gd name="T8" fmla="*/ 2147483647 w 10056"/>
                  <a:gd name="T9" fmla="*/ 2147483647 h 10000"/>
                  <a:gd name="T10" fmla="*/ 2147483647 w 10056"/>
                  <a:gd name="T11" fmla="*/ 2147483647 h 10000"/>
                  <a:gd name="T12" fmla="*/ 2147483647 w 10056"/>
                  <a:gd name="T13" fmla="*/ 2147483647 h 10000"/>
                  <a:gd name="T14" fmla="*/ 2147483647 w 10056"/>
                  <a:gd name="T15" fmla="*/ 2147483647 h 10000"/>
                  <a:gd name="T16" fmla="*/ 2147483647 w 10056"/>
                  <a:gd name="T17" fmla="*/ 2147483647 h 10000"/>
                  <a:gd name="T18" fmla="*/ 2147483647 w 10056"/>
                  <a:gd name="T19" fmla="*/ 2147483647 h 10000"/>
                  <a:gd name="T20" fmla="*/ 2147483647 w 10056"/>
                  <a:gd name="T21" fmla="*/ 1178100135 h 10000"/>
                  <a:gd name="T22" fmla="*/ 2147483647 w 10056"/>
                  <a:gd name="T23" fmla="*/ 1178100135 h 10000"/>
                  <a:gd name="T24" fmla="*/ 2147483647 w 10056"/>
                  <a:gd name="T25" fmla="*/ 0 h 10000"/>
                  <a:gd name="T26" fmla="*/ 416029751 w 10056"/>
                  <a:gd name="T27" fmla="*/ 1178100135 h 10000"/>
                  <a:gd name="T28" fmla="*/ 0 w 10056"/>
                  <a:gd name="T29" fmla="*/ 1251589635 h 10000"/>
                  <a:gd name="T30" fmla="*/ 828348607 w 10056"/>
                  <a:gd name="T31" fmla="*/ 2147483647 h 10000"/>
                  <a:gd name="T32" fmla="*/ 2147483647 w 10056"/>
                  <a:gd name="T33" fmla="*/ 21474836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solidFill>
                <a:srgbClr val="92D050"/>
              </a:solidFill>
              <a:ln w="9525">
                <a:solidFill>
                  <a:schemeClr val="bg1"/>
                </a:solidFill>
                <a:round/>
                <a:headEnd/>
                <a:tailEnd/>
              </a:ln>
            </p:spPr>
            <p:txBody>
              <a:bodyPr/>
              <a:lstStyle/>
              <a:p>
                <a:endParaRPr lang="el-GR"/>
              </a:p>
            </p:txBody>
          </p:sp>
          <p:sp>
            <p:nvSpPr>
              <p:cNvPr id="82991" name="Freeform 252">
                <a:extLst>
                  <a:ext uri="{FF2B5EF4-FFF2-40B4-BE49-F238E27FC236}">
                    <a16:creationId xmlns:a16="http://schemas.microsoft.com/office/drawing/2014/main" id="{8BDA42CA-0406-48CD-AF4E-BFF5B544CA09}"/>
                  </a:ext>
                </a:extLst>
              </p:cNvPr>
              <p:cNvSpPr>
                <a:spLocks/>
              </p:cNvSpPr>
              <p:nvPr/>
            </p:nvSpPr>
            <p:spPr bwMode="auto">
              <a:xfrm rot="-466474">
                <a:off x="4865688" y="3344863"/>
                <a:ext cx="88900" cy="47625"/>
              </a:xfrm>
              <a:custGeom>
                <a:avLst/>
                <a:gdLst>
                  <a:gd name="T0" fmla="*/ 0 w 1912593"/>
                  <a:gd name="T1" fmla="*/ 0 h 1229193"/>
                  <a:gd name="T2" fmla="*/ 0 w 1912593"/>
                  <a:gd name="T3" fmla="*/ 0 h 1229193"/>
                  <a:gd name="T4" fmla="*/ 0 w 1912593"/>
                  <a:gd name="T5" fmla="*/ 0 h 1229193"/>
                  <a:gd name="T6" fmla="*/ 0 w 1912593"/>
                  <a:gd name="T7" fmla="*/ 0 h 1229193"/>
                  <a:gd name="T8" fmla="*/ 0 w 1912593"/>
                  <a:gd name="T9" fmla="*/ 0 h 1229193"/>
                  <a:gd name="T10" fmla="*/ 0 w 1912593"/>
                  <a:gd name="T11" fmla="*/ 0 h 1229193"/>
                  <a:gd name="T12" fmla="*/ 0 w 1912593"/>
                  <a:gd name="T13" fmla="*/ 0 h 1229193"/>
                  <a:gd name="T14" fmla="*/ 0 w 1912593"/>
                  <a:gd name="T15" fmla="*/ 0 h 1229193"/>
                  <a:gd name="T16" fmla="*/ 0 w 1912593"/>
                  <a:gd name="T17" fmla="*/ 0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solidFill>
                <a:srgbClr val="92D050"/>
              </a:solidFill>
              <a:ln w="9525">
                <a:solidFill>
                  <a:schemeClr val="bg1"/>
                </a:solidFill>
                <a:round/>
                <a:headEnd/>
                <a:tailEnd/>
              </a:ln>
            </p:spPr>
            <p:txBody>
              <a:bodyPr/>
              <a:lstStyle/>
              <a:p>
                <a:endParaRPr lang="el-GR"/>
              </a:p>
            </p:txBody>
          </p:sp>
          <p:sp>
            <p:nvSpPr>
              <p:cNvPr id="60" name="Freeform 253">
                <a:extLst>
                  <a:ext uri="{FF2B5EF4-FFF2-40B4-BE49-F238E27FC236}">
                    <a16:creationId xmlns:a16="http://schemas.microsoft.com/office/drawing/2014/main" id="{5DEDD4DF-BB8D-4A46-A2EC-151D1AD8F33E}"/>
                  </a:ext>
                </a:extLst>
              </p:cNvPr>
              <p:cNvSpPr>
                <a:spLocks/>
              </p:cNvSpPr>
              <p:nvPr/>
            </p:nvSpPr>
            <p:spPr bwMode="auto">
              <a:xfrm>
                <a:off x="4869744" y="3354985"/>
                <a:ext cx="142972" cy="147795"/>
              </a:xfrm>
              <a:custGeom>
                <a:avLst/>
                <a:gdLst>
                  <a:gd name="T0" fmla="*/ 0 w 3644175"/>
                  <a:gd name="T1" fmla="*/ 0 h 3780713"/>
                  <a:gd name="T2" fmla="*/ 0 w 3644175"/>
                  <a:gd name="T3" fmla="*/ 0 h 3780713"/>
                  <a:gd name="T4" fmla="*/ 0 w 3644175"/>
                  <a:gd name="T5" fmla="*/ 0 h 3780713"/>
                  <a:gd name="T6" fmla="*/ 0 w 3644175"/>
                  <a:gd name="T7" fmla="*/ 0 h 3780713"/>
                  <a:gd name="T8" fmla="*/ 0 w 3644175"/>
                  <a:gd name="T9" fmla="*/ 0 h 3780713"/>
                  <a:gd name="T10" fmla="*/ 0 w 3644175"/>
                  <a:gd name="T11" fmla="*/ 0 h 3780713"/>
                  <a:gd name="T12" fmla="*/ 0 w 3644175"/>
                  <a:gd name="T13" fmla="*/ 0 h 3780713"/>
                  <a:gd name="T14" fmla="*/ 0 w 3644175"/>
                  <a:gd name="T15" fmla="*/ 0 h 3780713"/>
                  <a:gd name="T16" fmla="*/ 0 w 3644175"/>
                  <a:gd name="T17" fmla="*/ 0 h 3780713"/>
                  <a:gd name="T18" fmla="*/ 0 w 3644175"/>
                  <a:gd name="T19" fmla="*/ 0 h 3780713"/>
                  <a:gd name="T20" fmla="*/ 0 w 3644175"/>
                  <a:gd name="T21" fmla="*/ 0 h 3780713"/>
                  <a:gd name="T22" fmla="*/ 0 w 3644175"/>
                  <a:gd name="T23" fmla="*/ 0 h 3780713"/>
                  <a:gd name="T24" fmla="*/ 0 w 3644175"/>
                  <a:gd name="T25" fmla="*/ 0 h 3780713"/>
                  <a:gd name="T26" fmla="*/ 0 w 3644175"/>
                  <a:gd name="T27" fmla="*/ 0 h 3780713"/>
                  <a:gd name="T28" fmla="*/ 0 w 3644175"/>
                  <a:gd name="T29" fmla="*/ 0 h 3780713"/>
                  <a:gd name="T30" fmla="*/ 0 w 3644175"/>
                  <a:gd name="T31" fmla="*/ 0 h 3780713"/>
                  <a:gd name="T32" fmla="*/ 0 w 3644175"/>
                  <a:gd name="T33" fmla="*/ 0 h 3780713"/>
                  <a:gd name="T34" fmla="*/ 0 w 3644175"/>
                  <a:gd name="T35" fmla="*/ 0 h 3780713"/>
                  <a:gd name="T36" fmla="*/ 0 w 3644175"/>
                  <a:gd name="T37" fmla="*/ 0 h 3780713"/>
                  <a:gd name="T38" fmla="*/ 0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1" name="Freeform 254">
                <a:extLst>
                  <a:ext uri="{FF2B5EF4-FFF2-40B4-BE49-F238E27FC236}">
                    <a16:creationId xmlns:a16="http://schemas.microsoft.com/office/drawing/2014/main" id="{795E7439-C9E3-4099-B29A-F88C14D35001}"/>
                  </a:ext>
                </a:extLst>
              </p:cNvPr>
              <p:cNvSpPr>
                <a:spLocks/>
              </p:cNvSpPr>
              <p:nvPr/>
            </p:nvSpPr>
            <p:spPr bwMode="auto">
              <a:xfrm>
                <a:off x="4928615" y="3406625"/>
                <a:ext cx="99238" cy="97936"/>
              </a:xfrm>
              <a:custGeom>
                <a:avLst/>
                <a:gdLst>
                  <a:gd name="T0" fmla="*/ 0 w 2398426"/>
                  <a:gd name="T1" fmla="*/ 0 h 2488994"/>
                  <a:gd name="T2" fmla="*/ 0 w 2398426"/>
                  <a:gd name="T3" fmla="*/ 0 h 2488994"/>
                  <a:gd name="T4" fmla="*/ 0 w 2398426"/>
                  <a:gd name="T5" fmla="*/ 0 h 2488994"/>
                  <a:gd name="T6" fmla="*/ 0 w 2398426"/>
                  <a:gd name="T7" fmla="*/ 0 h 2488994"/>
                  <a:gd name="T8" fmla="*/ 0 w 2398426"/>
                  <a:gd name="T9" fmla="*/ 0 h 2488994"/>
                  <a:gd name="T10" fmla="*/ 0 w 2398426"/>
                  <a:gd name="T11" fmla="*/ 0 h 2488994"/>
                  <a:gd name="T12" fmla="*/ 0 w 2398426"/>
                  <a:gd name="T13" fmla="*/ 0 h 2488994"/>
                  <a:gd name="T14" fmla="*/ 0 w 2398426"/>
                  <a:gd name="T15" fmla="*/ 0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2" name="Freeform 255">
                <a:extLst>
                  <a:ext uri="{FF2B5EF4-FFF2-40B4-BE49-F238E27FC236}">
                    <a16:creationId xmlns:a16="http://schemas.microsoft.com/office/drawing/2014/main" id="{138E6037-23E4-4BEE-83B3-37D9FA3CF1ED}"/>
                  </a:ext>
                </a:extLst>
              </p:cNvPr>
              <p:cNvSpPr>
                <a:spLocks/>
              </p:cNvSpPr>
              <p:nvPr/>
            </p:nvSpPr>
            <p:spPr bwMode="auto">
              <a:xfrm rot="286500">
                <a:off x="5000941" y="3467167"/>
                <a:ext cx="43732" cy="58761"/>
              </a:xfrm>
              <a:custGeom>
                <a:avLst/>
                <a:gdLst>
                  <a:gd name="T0" fmla="*/ 0 w 1259245"/>
                  <a:gd name="T1" fmla="*/ 0 h 1506961"/>
                  <a:gd name="T2" fmla="*/ 0 w 1259245"/>
                  <a:gd name="T3" fmla="*/ 0 h 1506961"/>
                  <a:gd name="T4" fmla="*/ 0 w 1259245"/>
                  <a:gd name="T5" fmla="*/ 0 h 1506961"/>
                  <a:gd name="T6" fmla="*/ 0 w 1259245"/>
                  <a:gd name="T7" fmla="*/ 0 h 1506961"/>
                  <a:gd name="T8" fmla="*/ 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3" name="Freeform 256">
                <a:extLst>
                  <a:ext uri="{FF2B5EF4-FFF2-40B4-BE49-F238E27FC236}">
                    <a16:creationId xmlns:a16="http://schemas.microsoft.com/office/drawing/2014/main" id="{76D970C8-01D7-46FE-BD50-9110C09F4BA6}"/>
                  </a:ext>
                </a:extLst>
              </p:cNvPr>
              <p:cNvSpPr>
                <a:spLocks/>
              </p:cNvSpPr>
              <p:nvPr/>
            </p:nvSpPr>
            <p:spPr bwMode="auto">
              <a:xfrm>
                <a:off x="5002624" y="3365669"/>
                <a:ext cx="70645" cy="56981"/>
              </a:xfrm>
              <a:custGeom>
                <a:avLst/>
                <a:gdLst>
                  <a:gd name="T0" fmla="*/ 0 w 1678899"/>
                  <a:gd name="T1" fmla="*/ 0 h 1259174"/>
                  <a:gd name="T2" fmla="*/ 0 w 1678899"/>
                  <a:gd name="T3" fmla="*/ 0 h 1259174"/>
                  <a:gd name="T4" fmla="*/ 0 w 1678899"/>
                  <a:gd name="T5" fmla="*/ 0 h 1259174"/>
                  <a:gd name="T6" fmla="*/ 0 w 1678899"/>
                  <a:gd name="T7" fmla="*/ 0 h 1259174"/>
                  <a:gd name="T8" fmla="*/ 0 w 1678899"/>
                  <a:gd name="T9" fmla="*/ 0 h 1259174"/>
                  <a:gd name="T10" fmla="*/ 0 w 1678899"/>
                  <a:gd name="T11" fmla="*/ 0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4" name="Freeform 257">
                <a:extLst>
                  <a:ext uri="{FF2B5EF4-FFF2-40B4-BE49-F238E27FC236}">
                    <a16:creationId xmlns:a16="http://schemas.microsoft.com/office/drawing/2014/main" id="{78F886A1-A311-4733-A3DF-E0FDDCF7963C}"/>
                  </a:ext>
                </a:extLst>
              </p:cNvPr>
              <p:cNvSpPr>
                <a:spLocks/>
              </p:cNvSpPr>
              <p:nvPr/>
            </p:nvSpPr>
            <p:spPr bwMode="auto">
              <a:xfrm>
                <a:off x="5014397" y="3417309"/>
                <a:ext cx="100921" cy="97936"/>
              </a:xfrm>
              <a:custGeom>
                <a:avLst/>
                <a:gdLst>
                  <a:gd name="T0" fmla="*/ 0 w 2578308"/>
                  <a:gd name="T1" fmla="*/ 0 h 2368446"/>
                  <a:gd name="T2" fmla="*/ 0 w 2578308"/>
                  <a:gd name="T3" fmla="*/ 0 h 2368446"/>
                  <a:gd name="T4" fmla="*/ 0 w 2578308"/>
                  <a:gd name="T5" fmla="*/ 0 h 2368446"/>
                  <a:gd name="T6" fmla="*/ 0 w 2578308"/>
                  <a:gd name="T7" fmla="*/ 0 h 2368446"/>
                  <a:gd name="T8" fmla="*/ 0 w 2578308"/>
                  <a:gd name="T9" fmla="*/ 0 h 2368446"/>
                  <a:gd name="T10" fmla="*/ 0 w 2578308"/>
                  <a:gd name="T11" fmla="*/ 0 h 2368446"/>
                  <a:gd name="T12" fmla="*/ 0 w 2578308"/>
                  <a:gd name="T13" fmla="*/ 0 h 2368446"/>
                  <a:gd name="T14" fmla="*/ 0 w 2578308"/>
                  <a:gd name="T15" fmla="*/ 0 h 2368446"/>
                  <a:gd name="T16" fmla="*/ 0 w 2578308"/>
                  <a:gd name="T17" fmla="*/ 0 h 2368446"/>
                  <a:gd name="T18" fmla="*/ 0 w 2578308"/>
                  <a:gd name="T19" fmla="*/ 0 h 2368446"/>
                  <a:gd name="T20" fmla="*/ 0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5" name="Freeform 258">
                <a:extLst>
                  <a:ext uri="{FF2B5EF4-FFF2-40B4-BE49-F238E27FC236}">
                    <a16:creationId xmlns:a16="http://schemas.microsoft.com/office/drawing/2014/main" id="{5CC70B8E-A35C-4D7A-B033-4CE721666EE9}"/>
                  </a:ext>
                </a:extLst>
              </p:cNvPr>
              <p:cNvSpPr>
                <a:spLocks/>
              </p:cNvSpPr>
              <p:nvPr/>
            </p:nvSpPr>
            <p:spPr bwMode="auto">
              <a:xfrm>
                <a:off x="5041309" y="3477851"/>
                <a:ext cx="40368" cy="49858"/>
              </a:xfrm>
              <a:custGeom>
                <a:avLst/>
                <a:gdLst>
                  <a:gd name="T0" fmla="*/ 0 w 1097536"/>
                  <a:gd name="T1" fmla="*/ 0 h 1184223"/>
                  <a:gd name="T2" fmla="*/ 0 w 1097536"/>
                  <a:gd name="T3" fmla="*/ 0 h 1184223"/>
                  <a:gd name="T4" fmla="*/ 0 w 1097536"/>
                  <a:gd name="T5" fmla="*/ 0 h 1184223"/>
                  <a:gd name="T6" fmla="*/ 0 w 1097536"/>
                  <a:gd name="T7" fmla="*/ 0 h 1184223"/>
                  <a:gd name="T8" fmla="*/ 0 w 1097536"/>
                  <a:gd name="T9" fmla="*/ 0 h 1184223"/>
                  <a:gd name="T10" fmla="*/ 0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6" name="Freeform 259">
                <a:extLst>
                  <a:ext uri="{FF2B5EF4-FFF2-40B4-BE49-F238E27FC236}">
                    <a16:creationId xmlns:a16="http://schemas.microsoft.com/office/drawing/2014/main" id="{99D7DC65-641D-4354-B72C-4C616A55988D}"/>
                  </a:ext>
                </a:extLst>
              </p:cNvPr>
              <p:cNvSpPr>
                <a:spLocks/>
              </p:cNvSpPr>
              <p:nvPr/>
            </p:nvSpPr>
            <p:spPr bwMode="auto">
              <a:xfrm>
                <a:off x="5059812" y="3504560"/>
                <a:ext cx="63916" cy="60542"/>
              </a:xfrm>
              <a:custGeom>
                <a:avLst/>
                <a:gdLst>
                  <a:gd name="T0" fmla="*/ 0 w 1852882"/>
                  <a:gd name="T1" fmla="*/ 0 h 1521018"/>
                  <a:gd name="T2" fmla="*/ 0 w 1852882"/>
                  <a:gd name="T3" fmla="*/ 0 h 1521018"/>
                  <a:gd name="T4" fmla="*/ 0 w 1852882"/>
                  <a:gd name="T5" fmla="*/ 0 h 1521018"/>
                  <a:gd name="T6" fmla="*/ 0 w 1852882"/>
                  <a:gd name="T7" fmla="*/ 0 h 1521018"/>
                  <a:gd name="T8" fmla="*/ 0 w 1852882"/>
                  <a:gd name="T9" fmla="*/ 0 h 1521018"/>
                  <a:gd name="T10" fmla="*/ 0 w 1852882"/>
                  <a:gd name="T11" fmla="*/ 0 h 1521018"/>
                  <a:gd name="T12" fmla="*/ 0 w 1852882"/>
                  <a:gd name="T13" fmla="*/ 0 h 1521018"/>
                  <a:gd name="T14" fmla="*/ 0 w 1852882"/>
                  <a:gd name="T15" fmla="*/ 0 h 1521018"/>
                  <a:gd name="T16" fmla="*/ 0 w 1852882"/>
                  <a:gd name="T17" fmla="*/ 0 h 1521018"/>
                  <a:gd name="T18" fmla="*/ 0 w 1852882"/>
                  <a:gd name="T19" fmla="*/ 0 h 1521018"/>
                  <a:gd name="T20" fmla="*/ 0 w 1852882"/>
                  <a:gd name="T21" fmla="*/ 0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67" name="Freeform 260">
                <a:extLst>
                  <a:ext uri="{FF2B5EF4-FFF2-40B4-BE49-F238E27FC236}">
                    <a16:creationId xmlns:a16="http://schemas.microsoft.com/office/drawing/2014/main" id="{1C54AA77-98B2-41CA-966E-CE170C02112D}"/>
                  </a:ext>
                </a:extLst>
              </p:cNvPr>
              <p:cNvSpPr>
                <a:spLocks/>
              </p:cNvSpPr>
              <p:nvPr/>
            </p:nvSpPr>
            <p:spPr bwMode="auto">
              <a:xfrm>
                <a:off x="5019444" y="3495657"/>
                <a:ext cx="53824" cy="110401"/>
              </a:xfrm>
              <a:custGeom>
                <a:avLst/>
                <a:gdLst>
                  <a:gd name="T0" fmla="*/ 0 w 444747"/>
                  <a:gd name="T1" fmla="*/ 1 h 900169"/>
                  <a:gd name="T2" fmla="*/ 0 w 444747"/>
                  <a:gd name="T3" fmla="*/ 1 h 900169"/>
                  <a:gd name="T4" fmla="*/ 0 w 444747"/>
                  <a:gd name="T5" fmla="*/ 2 h 900169"/>
                  <a:gd name="T6" fmla="*/ 1 w 444747"/>
                  <a:gd name="T7" fmla="*/ 3 h 900169"/>
                  <a:gd name="T8" fmla="*/ 1 w 444747"/>
                  <a:gd name="T9" fmla="*/ 3 h 900169"/>
                  <a:gd name="T10" fmla="*/ 1 w 444747"/>
                  <a:gd name="T11" fmla="*/ 2 h 900169"/>
                  <a:gd name="T12" fmla="*/ 1 w 444747"/>
                  <a:gd name="T13" fmla="*/ 2 h 900169"/>
                  <a:gd name="T14" fmla="*/ 1 w 444747"/>
                  <a:gd name="T15" fmla="*/ 2 h 900169"/>
                  <a:gd name="T16" fmla="*/ 1 w 444747"/>
                  <a:gd name="T17" fmla="*/ 2 h 900169"/>
                  <a:gd name="T18" fmla="*/ 1 w 444747"/>
                  <a:gd name="T19" fmla="*/ 1 h 900169"/>
                  <a:gd name="T20" fmla="*/ 1 w 444747"/>
                  <a:gd name="T21" fmla="*/ 0 h 900169"/>
                  <a:gd name="T22" fmla="*/ 0 w 444747"/>
                  <a:gd name="T23" fmla="*/ 1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00" name="Freeform 257">
                <a:extLst>
                  <a:ext uri="{FF2B5EF4-FFF2-40B4-BE49-F238E27FC236}">
                    <a16:creationId xmlns:a16="http://schemas.microsoft.com/office/drawing/2014/main" id="{6E1FDBE6-9BE7-4816-9B75-D7720CAD944E}"/>
                  </a:ext>
                </a:extLst>
              </p:cNvPr>
              <p:cNvSpPr>
                <a:spLocks/>
              </p:cNvSpPr>
              <p:nvPr/>
            </p:nvSpPr>
            <p:spPr bwMode="auto">
              <a:xfrm>
                <a:off x="4252913" y="3009900"/>
                <a:ext cx="109537" cy="163513"/>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rgbClr val="92D050"/>
              </a:solidFill>
              <a:ln w="9525">
                <a:solidFill>
                  <a:schemeClr val="bg1"/>
                </a:solidFill>
                <a:round/>
                <a:headEnd/>
                <a:tailEnd/>
              </a:ln>
            </p:spPr>
            <p:txBody>
              <a:bodyPr/>
              <a:lstStyle/>
              <a:p>
                <a:endParaRPr lang="el-GR"/>
              </a:p>
            </p:txBody>
          </p:sp>
          <p:sp>
            <p:nvSpPr>
              <p:cNvPr id="69" name="Freeform 258">
                <a:extLst>
                  <a:ext uri="{FF2B5EF4-FFF2-40B4-BE49-F238E27FC236}">
                    <a16:creationId xmlns:a16="http://schemas.microsoft.com/office/drawing/2014/main" id="{404BACA0-48AF-4CC5-A56F-EC7F74276CF1}"/>
                  </a:ext>
                </a:extLst>
              </p:cNvPr>
              <p:cNvSpPr>
                <a:spLocks/>
              </p:cNvSpPr>
              <p:nvPr/>
            </p:nvSpPr>
            <p:spPr bwMode="auto">
              <a:xfrm>
                <a:off x="5830174" y="1674046"/>
                <a:ext cx="437323" cy="557346"/>
              </a:xfrm>
              <a:custGeom>
                <a:avLst/>
                <a:gdLst>
                  <a:gd name="T0" fmla="*/ 2147483646 w 336"/>
                  <a:gd name="T1" fmla="*/ 2147483646 h 427"/>
                  <a:gd name="T2" fmla="*/ 2147483646 w 336"/>
                  <a:gd name="T3" fmla="*/ 2147483646 h 427"/>
                  <a:gd name="T4" fmla="*/ 2147483646 w 336"/>
                  <a:gd name="T5" fmla="*/ 2147483646 h 427"/>
                  <a:gd name="T6" fmla="*/ 2147483646 w 336"/>
                  <a:gd name="T7" fmla="*/ 2147483646 h 427"/>
                  <a:gd name="T8" fmla="*/ 2147483646 w 336"/>
                  <a:gd name="T9" fmla="*/ 2147483646 h 427"/>
                  <a:gd name="T10" fmla="*/ 2147483646 w 336"/>
                  <a:gd name="T11" fmla="*/ 2147483646 h 427"/>
                  <a:gd name="T12" fmla="*/ 2147483646 w 336"/>
                  <a:gd name="T13" fmla="*/ 2147483646 h 427"/>
                  <a:gd name="T14" fmla="*/ 2147483646 w 336"/>
                  <a:gd name="T15" fmla="*/ 2147483646 h 427"/>
                  <a:gd name="T16" fmla="*/ 2147483646 w 336"/>
                  <a:gd name="T17" fmla="*/ 2147483646 h 427"/>
                  <a:gd name="T18" fmla="*/ 2147483646 w 336"/>
                  <a:gd name="T19" fmla="*/ 2147483646 h 427"/>
                  <a:gd name="T20" fmla="*/ 2147483646 w 336"/>
                  <a:gd name="T21" fmla="*/ 2147483646 h 427"/>
                  <a:gd name="T22" fmla="*/ 2147483646 w 336"/>
                  <a:gd name="T23" fmla="*/ 0 h 427"/>
                  <a:gd name="T24" fmla="*/ 2147483646 w 336"/>
                  <a:gd name="T25" fmla="*/ 2147483646 h 427"/>
                  <a:gd name="T26" fmla="*/ 2147483646 w 336"/>
                  <a:gd name="T27" fmla="*/ 2147483646 h 427"/>
                  <a:gd name="T28" fmla="*/ 2147483646 w 336"/>
                  <a:gd name="T29" fmla="*/ 2147483646 h 427"/>
                  <a:gd name="T30" fmla="*/ 2147483646 w 336"/>
                  <a:gd name="T31" fmla="*/ 2147483646 h 427"/>
                  <a:gd name="T32" fmla="*/ 2147483646 w 336"/>
                  <a:gd name="T33" fmla="*/ 2147483646 h 427"/>
                  <a:gd name="T34" fmla="*/ 2147483646 w 336"/>
                  <a:gd name="T35" fmla="*/ 2147483646 h 427"/>
                  <a:gd name="T36" fmla="*/ 2147483646 w 336"/>
                  <a:gd name="T37" fmla="*/ 2147483646 h 427"/>
                  <a:gd name="T38" fmla="*/ 2147483646 w 336"/>
                  <a:gd name="T39" fmla="*/ 2147483646 h 427"/>
                  <a:gd name="T40" fmla="*/ 2147483646 w 336"/>
                  <a:gd name="T41" fmla="*/ 2147483646 h 427"/>
                  <a:gd name="T42" fmla="*/ 2147483646 w 336"/>
                  <a:gd name="T43" fmla="*/ 2147483646 h 427"/>
                  <a:gd name="T44" fmla="*/ 2147483646 w 336"/>
                  <a:gd name="T45" fmla="*/ 2147483646 h 427"/>
                  <a:gd name="T46" fmla="*/ 2147483646 w 336"/>
                  <a:gd name="T47" fmla="*/ 2147483646 h 427"/>
                  <a:gd name="T48" fmla="*/ 2147483646 w 336"/>
                  <a:gd name="T49" fmla="*/ 2147483646 h 427"/>
                  <a:gd name="T50" fmla="*/ 2147483646 w 336"/>
                  <a:gd name="T51" fmla="*/ 2147483646 h 427"/>
                  <a:gd name="T52" fmla="*/ 2147483646 w 336"/>
                  <a:gd name="T53" fmla="*/ 2147483646 h 427"/>
                  <a:gd name="T54" fmla="*/ 0 w 336"/>
                  <a:gd name="T55" fmla="*/ 2147483646 h 427"/>
                  <a:gd name="T56" fmla="*/ 2147483646 w 336"/>
                  <a:gd name="T57" fmla="*/ 2147483646 h 427"/>
                  <a:gd name="T58" fmla="*/ 2147483646 w 336"/>
                  <a:gd name="T59" fmla="*/ 2147483646 h 427"/>
                  <a:gd name="T60" fmla="*/ 2147483646 w 336"/>
                  <a:gd name="T61" fmla="*/ 2147483646 h 427"/>
                  <a:gd name="T62" fmla="*/ 2147483646 w 336"/>
                  <a:gd name="T63" fmla="*/ 2147483646 h 427"/>
                  <a:gd name="T64" fmla="*/ 2147483646 w 336"/>
                  <a:gd name="T65" fmla="*/ 2147483646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02" name="Freeform 259">
                <a:extLst>
                  <a:ext uri="{FF2B5EF4-FFF2-40B4-BE49-F238E27FC236}">
                    <a16:creationId xmlns:a16="http://schemas.microsoft.com/office/drawing/2014/main" id="{86FF5F64-825F-43A9-9155-1CA4FC1E038A}"/>
                  </a:ext>
                </a:extLst>
              </p:cNvPr>
              <p:cNvSpPr>
                <a:spLocks/>
              </p:cNvSpPr>
              <p:nvPr/>
            </p:nvSpPr>
            <p:spPr bwMode="auto">
              <a:xfrm>
                <a:off x="5572125" y="4953000"/>
                <a:ext cx="166688" cy="346075"/>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rgbClr val="FF0000"/>
              </a:solidFill>
              <a:ln w="9525">
                <a:solidFill>
                  <a:schemeClr val="bg1"/>
                </a:solidFill>
                <a:round/>
                <a:headEnd/>
                <a:tailEnd/>
              </a:ln>
            </p:spPr>
            <p:txBody>
              <a:bodyPr/>
              <a:lstStyle/>
              <a:p>
                <a:endParaRPr lang="el-GR"/>
              </a:p>
            </p:txBody>
          </p:sp>
          <p:sp>
            <p:nvSpPr>
              <p:cNvPr id="83003" name="Freeform 266">
                <a:extLst>
                  <a:ext uri="{FF2B5EF4-FFF2-40B4-BE49-F238E27FC236}">
                    <a16:creationId xmlns:a16="http://schemas.microsoft.com/office/drawing/2014/main" id="{507D9B0C-BBEE-46B9-8002-EF2006792613}"/>
                  </a:ext>
                </a:extLst>
              </p:cNvPr>
              <p:cNvSpPr>
                <a:spLocks/>
              </p:cNvSpPr>
              <p:nvPr/>
            </p:nvSpPr>
            <p:spPr bwMode="auto">
              <a:xfrm>
                <a:off x="8312150" y="5712877"/>
                <a:ext cx="179387" cy="204788"/>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rgbClr val="92D050"/>
              </a:solidFill>
              <a:ln w="9525">
                <a:solidFill>
                  <a:schemeClr val="bg1"/>
                </a:solidFill>
                <a:round/>
                <a:headEnd/>
                <a:tailEnd/>
              </a:ln>
            </p:spPr>
            <p:txBody>
              <a:bodyPr/>
              <a:lstStyle/>
              <a:p>
                <a:endParaRPr lang="el-GR"/>
              </a:p>
            </p:txBody>
          </p:sp>
          <p:sp>
            <p:nvSpPr>
              <p:cNvPr id="83004" name="Freeform 267">
                <a:extLst>
                  <a:ext uri="{FF2B5EF4-FFF2-40B4-BE49-F238E27FC236}">
                    <a16:creationId xmlns:a16="http://schemas.microsoft.com/office/drawing/2014/main" id="{CD22983C-DAE1-45F5-B489-D1AF068CD6AF}"/>
                  </a:ext>
                </a:extLst>
              </p:cNvPr>
              <p:cNvSpPr>
                <a:spLocks/>
              </p:cNvSpPr>
              <p:nvPr/>
            </p:nvSpPr>
            <p:spPr bwMode="auto">
              <a:xfrm>
                <a:off x="8467725" y="5528727"/>
                <a:ext cx="125412" cy="201613"/>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rgbClr val="92D050"/>
              </a:solidFill>
              <a:ln w="9525">
                <a:solidFill>
                  <a:schemeClr val="bg1"/>
                </a:solidFill>
                <a:round/>
                <a:headEnd/>
                <a:tailEnd/>
              </a:ln>
            </p:spPr>
            <p:txBody>
              <a:bodyPr/>
              <a:lstStyle/>
              <a:p>
                <a:endParaRPr lang="el-GR"/>
              </a:p>
            </p:txBody>
          </p:sp>
          <p:sp>
            <p:nvSpPr>
              <p:cNvPr id="83005" name="Freeform 268">
                <a:extLst>
                  <a:ext uri="{FF2B5EF4-FFF2-40B4-BE49-F238E27FC236}">
                    <a16:creationId xmlns:a16="http://schemas.microsoft.com/office/drawing/2014/main" id="{C6F8C5E9-1935-4155-800F-4435ED4279A3}"/>
                  </a:ext>
                </a:extLst>
              </p:cNvPr>
              <p:cNvSpPr>
                <a:spLocks/>
              </p:cNvSpPr>
              <p:nvPr/>
            </p:nvSpPr>
            <p:spPr bwMode="auto">
              <a:xfrm>
                <a:off x="7323138" y="4938713"/>
                <a:ext cx="989012" cy="750887"/>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rgbClr val="92D050"/>
              </a:solidFill>
              <a:ln w="9525">
                <a:solidFill>
                  <a:schemeClr val="bg1"/>
                </a:solidFill>
                <a:round/>
                <a:headEnd/>
                <a:tailEnd/>
              </a:ln>
            </p:spPr>
            <p:txBody>
              <a:bodyPr/>
              <a:lstStyle/>
              <a:p>
                <a:endParaRPr lang="el-GR"/>
              </a:p>
            </p:txBody>
          </p:sp>
          <p:sp>
            <p:nvSpPr>
              <p:cNvPr id="83006" name="Freeform 269">
                <a:extLst>
                  <a:ext uri="{FF2B5EF4-FFF2-40B4-BE49-F238E27FC236}">
                    <a16:creationId xmlns:a16="http://schemas.microsoft.com/office/drawing/2014/main" id="{D1790F61-32F2-4235-BB52-DA713DFBF2C3}"/>
                  </a:ext>
                </a:extLst>
              </p:cNvPr>
              <p:cNvSpPr>
                <a:spLocks/>
              </p:cNvSpPr>
              <p:nvPr/>
            </p:nvSpPr>
            <p:spPr bwMode="auto">
              <a:xfrm>
                <a:off x="8099425" y="5734050"/>
                <a:ext cx="87313" cy="119063"/>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rgbClr val="92D050"/>
              </a:solidFill>
              <a:ln w="9525">
                <a:solidFill>
                  <a:schemeClr val="bg1"/>
                </a:solidFill>
                <a:round/>
                <a:headEnd/>
                <a:tailEnd/>
              </a:ln>
            </p:spPr>
            <p:txBody>
              <a:bodyPr/>
              <a:lstStyle/>
              <a:p>
                <a:endParaRPr lang="el-GR"/>
              </a:p>
            </p:txBody>
          </p:sp>
          <p:sp>
            <p:nvSpPr>
              <p:cNvPr id="83007" name="Freeform 271">
                <a:extLst>
                  <a:ext uri="{FF2B5EF4-FFF2-40B4-BE49-F238E27FC236}">
                    <a16:creationId xmlns:a16="http://schemas.microsoft.com/office/drawing/2014/main" id="{8CC5364A-D34E-400F-AF91-3CB9035FDEE4}"/>
                  </a:ext>
                </a:extLst>
              </p:cNvPr>
              <p:cNvSpPr>
                <a:spLocks/>
              </p:cNvSpPr>
              <p:nvPr/>
            </p:nvSpPr>
            <p:spPr bwMode="auto">
              <a:xfrm>
                <a:off x="7259638" y="4486275"/>
                <a:ext cx="227012" cy="265113"/>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rgbClr val="FF0000"/>
              </a:solidFill>
              <a:ln w="9525">
                <a:solidFill>
                  <a:schemeClr val="bg1"/>
                </a:solidFill>
                <a:round/>
                <a:headEnd/>
                <a:tailEnd/>
              </a:ln>
            </p:spPr>
            <p:txBody>
              <a:bodyPr/>
              <a:lstStyle/>
              <a:p>
                <a:endParaRPr lang="el-GR"/>
              </a:p>
            </p:txBody>
          </p:sp>
          <p:sp>
            <p:nvSpPr>
              <p:cNvPr id="83008" name="Freeform 274">
                <a:extLst>
                  <a:ext uri="{FF2B5EF4-FFF2-40B4-BE49-F238E27FC236}">
                    <a16:creationId xmlns:a16="http://schemas.microsoft.com/office/drawing/2014/main" id="{DB21C2E6-3320-406D-A12C-3AE98714BFC5}"/>
                  </a:ext>
                </a:extLst>
              </p:cNvPr>
              <p:cNvSpPr>
                <a:spLocks/>
              </p:cNvSpPr>
              <p:nvPr/>
            </p:nvSpPr>
            <p:spPr bwMode="auto">
              <a:xfrm>
                <a:off x="7456488" y="4618038"/>
                <a:ext cx="141287" cy="173037"/>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rgbClr val="FF0000"/>
              </a:solidFill>
              <a:ln w="9525">
                <a:solidFill>
                  <a:schemeClr val="bg1"/>
                </a:solidFill>
                <a:round/>
                <a:headEnd/>
                <a:tailEnd/>
              </a:ln>
            </p:spPr>
            <p:txBody>
              <a:bodyPr/>
              <a:lstStyle/>
              <a:p>
                <a:endParaRPr lang="el-GR"/>
              </a:p>
            </p:txBody>
          </p:sp>
          <p:sp>
            <p:nvSpPr>
              <p:cNvPr id="83009" name="Freeform 275">
                <a:extLst>
                  <a:ext uri="{FF2B5EF4-FFF2-40B4-BE49-F238E27FC236}">
                    <a16:creationId xmlns:a16="http://schemas.microsoft.com/office/drawing/2014/main" id="{4A210C51-A28E-49E2-BCE0-43C4A5ED8101}"/>
                  </a:ext>
                </a:extLst>
              </p:cNvPr>
              <p:cNvSpPr>
                <a:spLocks/>
              </p:cNvSpPr>
              <p:nvPr/>
            </p:nvSpPr>
            <p:spPr bwMode="auto">
              <a:xfrm>
                <a:off x="7135813" y="4814888"/>
                <a:ext cx="265112" cy="60325"/>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rgbClr val="FF0000"/>
              </a:solidFill>
              <a:ln w="9525">
                <a:solidFill>
                  <a:schemeClr val="bg1"/>
                </a:solidFill>
                <a:round/>
                <a:headEnd/>
                <a:tailEnd/>
              </a:ln>
            </p:spPr>
            <p:txBody>
              <a:bodyPr/>
              <a:lstStyle/>
              <a:p>
                <a:endParaRPr lang="el-GR"/>
              </a:p>
            </p:txBody>
          </p:sp>
          <p:sp>
            <p:nvSpPr>
              <p:cNvPr id="83010" name="Freeform 276">
                <a:extLst>
                  <a:ext uri="{FF2B5EF4-FFF2-40B4-BE49-F238E27FC236}">
                    <a16:creationId xmlns:a16="http://schemas.microsoft.com/office/drawing/2014/main" id="{E2CB7A10-6E4C-4E40-BB9B-03D2519F93C1}"/>
                  </a:ext>
                </a:extLst>
              </p:cNvPr>
              <p:cNvSpPr>
                <a:spLocks/>
              </p:cNvSpPr>
              <p:nvPr/>
            </p:nvSpPr>
            <p:spPr bwMode="auto">
              <a:xfrm>
                <a:off x="2928938" y="3178175"/>
                <a:ext cx="158750" cy="179388"/>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rgbClr val="92D050"/>
              </a:solidFill>
              <a:ln w="9525">
                <a:solidFill>
                  <a:schemeClr val="bg1"/>
                </a:solidFill>
                <a:round/>
                <a:headEnd/>
                <a:tailEnd/>
              </a:ln>
            </p:spPr>
            <p:txBody>
              <a:bodyPr/>
              <a:lstStyle/>
              <a:p>
                <a:endParaRPr lang="el-GR"/>
              </a:p>
            </p:txBody>
          </p:sp>
          <p:sp>
            <p:nvSpPr>
              <p:cNvPr id="83011" name="Freeform 277">
                <a:extLst>
                  <a:ext uri="{FF2B5EF4-FFF2-40B4-BE49-F238E27FC236}">
                    <a16:creationId xmlns:a16="http://schemas.microsoft.com/office/drawing/2014/main" id="{A3D1C05E-1BCD-43AC-8BBC-12820504C811}"/>
                  </a:ext>
                </a:extLst>
              </p:cNvPr>
              <p:cNvSpPr>
                <a:spLocks/>
              </p:cNvSpPr>
              <p:nvPr/>
            </p:nvSpPr>
            <p:spPr bwMode="auto">
              <a:xfrm>
                <a:off x="2276475" y="4084638"/>
                <a:ext cx="276225" cy="77787"/>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rgbClr val="92D050"/>
              </a:solidFill>
              <a:ln w="9525">
                <a:solidFill>
                  <a:schemeClr val="bg1"/>
                </a:solidFill>
                <a:round/>
                <a:headEnd/>
                <a:tailEnd/>
              </a:ln>
            </p:spPr>
            <p:txBody>
              <a:bodyPr/>
              <a:lstStyle/>
              <a:p>
                <a:endParaRPr lang="el-GR"/>
              </a:p>
            </p:txBody>
          </p:sp>
          <p:sp>
            <p:nvSpPr>
              <p:cNvPr id="83012" name="Freeform 278">
                <a:extLst>
                  <a:ext uri="{FF2B5EF4-FFF2-40B4-BE49-F238E27FC236}">
                    <a16:creationId xmlns:a16="http://schemas.microsoft.com/office/drawing/2014/main" id="{E63D9D6D-EEFD-4316-A91C-0046DB1E7DA9}"/>
                  </a:ext>
                </a:extLst>
              </p:cNvPr>
              <p:cNvSpPr>
                <a:spLocks/>
              </p:cNvSpPr>
              <p:nvPr/>
            </p:nvSpPr>
            <p:spPr bwMode="auto">
              <a:xfrm>
                <a:off x="2552700" y="4170363"/>
                <a:ext cx="171450" cy="47625"/>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rgbClr val="FF0000"/>
              </a:solidFill>
              <a:ln w="9525">
                <a:solidFill>
                  <a:schemeClr val="bg1"/>
                </a:solidFill>
                <a:round/>
                <a:headEnd/>
                <a:tailEnd/>
              </a:ln>
            </p:spPr>
            <p:txBody>
              <a:bodyPr/>
              <a:lstStyle/>
              <a:p>
                <a:endParaRPr lang="el-GR"/>
              </a:p>
            </p:txBody>
          </p:sp>
          <p:sp>
            <p:nvSpPr>
              <p:cNvPr id="83013" name="Freeform 279">
                <a:extLst>
                  <a:ext uri="{FF2B5EF4-FFF2-40B4-BE49-F238E27FC236}">
                    <a16:creationId xmlns:a16="http://schemas.microsoft.com/office/drawing/2014/main" id="{4B9A24BE-30DB-4C85-9923-B0CBF33AA98C}"/>
                  </a:ext>
                </a:extLst>
              </p:cNvPr>
              <p:cNvSpPr>
                <a:spLocks/>
              </p:cNvSpPr>
              <p:nvPr/>
            </p:nvSpPr>
            <p:spPr bwMode="auto">
              <a:xfrm>
                <a:off x="4814888" y="3643313"/>
                <a:ext cx="77787" cy="46037"/>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rgbClr val="92D050"/>
              </a:solidFill>
              <a:ln w="9525">
                <a:solidFill>
                  <a:schemeClr val="bg1"/>
                </a:solidFill>
                <a:round/>
                <a:headEnd/>
                <a:tailEnd/>
              </a:ln>
            </p:spPr>
            <p:txBody>
              <a:bodyPr/>
              <a:lstStyle/>
              <a:p>
                <a:endParaRPr lang="el-GR"/>
              </a:p>
            </p:txBody>
          </p:sp>
          <p:sp>
            <p:nvSpPr>
              <p:cNvPr id="83014" name="Freeform 280">
                <a:extLst>
                  <a:ext uri="{FF2B5EF4-FFF2-40B4-BE49-F238E27FC236}">
                    <a16:creationId xmlns:a16="http://schemas.microsoft.com/office/drawing/2014/main" id="{009F0E03-6C98-4534-96DF-850277F536F6}"/>
                  </a:ext>
                </a:extLst>
              </p:cNvPr>
              <p:cNvSpPr>
                <a:spLocks/>
              </p:cNvSpPr>
              <p:nvPr/>
            </p:nvSpPr>
            <p:spPr bwMode="auto">
              <a:xfrm>
                <a:off x="4727575" y="3554413"/>
                <a:ext cx="31750" cy="61912"/>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rgbClr val="92D050"/>
              </a:solidFill>
              <a:ln w="9525">
                <a:solidFill>
                  <a:schemeClr val="bg1"/>
                </a:solidFill>
                <a:round/>
                <a:headEnd/>
                <a:tailEnd/>
              </a:ln>
            </p:spPr>
            <p:txBody>
              <a:bodyPr/>
              <a:lstStyle/>
              <a:p>
                <a:endParaRPr lang="el-GR"/>
              </a:p>
            </p:txBody>
          </p:sp>
          <p:sp>
            <p:nvSpPr>
              <p:cNvPr id="83015" name="Freeform 281">
                <a:extLst>
                  <a:ext uri="{FF2B5EF4-FFF2-40B4-BE49-F238E27FC236}">
                    <a16:creationId xmlns:a16="http://schemas.microsoft.com/office/drawing/2014/main" id="{D41D9579-7D5E-417B-A937-F278945ADC11}"/>
                  </a:ext>
                </a:extLst>
              </p:cNvPr>
              <p:cNvSpPr>
                <a:spLocks/>
              </p:cNvSpPr>
              <p:nvPr/>
            </p:nvSpPr>
            <p:spPr bwMode="auto">
              <a:xfrm>
                <a:off x="4719638" y="3490913"/>
                <a:ext cx="39687" cy="47625"/>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rgbClr val="92D050"/>
              </a:solidFill>
              <a:ln w="9525">
                <a:solidFill>
                  <a:schemeClr val="bg1"/>
                </a:solidFill>
                <a:round/>
                <a:headEnd/>
                <a:tailEnd/>
              </a:ln>
            </p:spPr>
            <p:txBody>
              <a:bodyPr/>
              <a:lstStyle/>
              <a:p>
                <a:endParaRPr lang="el-GR"/>
              </a:p>
            </p:txBody>
          </p:sp>
          <p:sp>
            <p:nvSpPr>
              <p:cNvPr id="83016" name="Freeform 282">
                <a:extLst>
                  <a:ext uri="{FF2B5EF4-FFF2-40B4-BE49-F238E27FC236}">
                    <a16:creationId xmlns:a16="http://schemas.microsoft.com/office/drawing/2014/main" id="{A78D8767-368E-4D1C-817C-1F32590D37D3}"/>
                  </a:ext>
                </a:extLst>
              </p:cNvPr>
              <p:cNvSpPr>
                <a:spLocks/>
              </p:cNvSpPr>
              <p:nvPr/>
            </p:nvSpPr>
            <p:spPr bwMode="auto">
              <a:xfrm>
                <a:off x="5518150" y="3667125"/>
                <a:ext cx="39688" cy="793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solidFill>
                <a:schemeClr val="bg1"/>
              </a:solidFill>
              <a:ln w="9525">
                <a:solidFill>
                  <a:schemeClr val="bg2"/>
                </a:solidFill>
                <a:round/>
                <a:headEnd/>
                <a:tailEnd/>
              </a:ln>
            </p:spPr>
            <p:txBody>
              <a:bodyPr/>
              <a:lstStyle/>
              <a:p>
                <a:endParaRPr lang="el-GR"/>
              </a:p>
            </p:txBody>
          </p:sp>
          <p:sp>
            <p:nvSpPr>
              <p:cNvPr id="83017" name="Rectangle 283">
                <a:extLst>
                  <a:ext uri="{FF2B5EF4-FFF2-40B4-BE49-F238E27FC236}">
                    <a16:creationId xmlns:a16="http://schemas.microsoft.com/office/drawing/2014/main" id="{58A49C5B-0C5C-499E-90B4-B9EA8267774F}"/>
                  </a:ext>
                </a:extLst>
              </p:cNvPr>
              <p:cNvSpPr>
                <a:spLocks noChangeArrowheads="1"/>
              </p:cNvSpPr>
              <p:nvPr/>
            </p:nvSpPr>
            <p:spPr bwMode="auto">
              <a:xfrm>
                <a:off x="5378450" y="3898900"/>
                <a:ext cx="0" cy="3175"/>
              </a:xfrm>
              <a:prstGeom prst="rect">
                <a:avLst/>
              </a:prstGeom>
              <a:solidFill>
                <a:schemeClr val="bg1"/>
              </a:solidFill>
              <a:ln w="9525">
                <a:solidFill>
                  <a:schemeClr val="bg2"/>
                </a:solidFill>
                <a:miter lim="800000"/>
                <a:headEnd/>
                <a:tailEnd/>
              </a:ln>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ct val="15000"/>
                  </a:spcBef>
                </a:pPr>
                <a:endParaRPr lang="en-US" altLang="en-US" sz="1400">
                  <a:solidFill>
                    <a:srgbClr val="FFFFFF"/>
                  </a:solidFill>
                  <a:latin typeface="Arial" panose="020B0604020202020204" pitchFamily="34" charset="0"/>
                  <a:ea typeface="ＭＳ Ｐゴシック" panose="020B0600070205080204" pitchFamily="34" charset="-128"/>
                </a:endParaRPr>
              </a:p>
            </p:txBody>
          </p:sp>
          <p:sp>
            <p:nvSpPr>
              <p:cNvPr id="86" name="Freeform 284">
                <a:extLst>
                  <a:ext uri="{FF2B5EF4-FFF2-40B4-BE49-F238E27FC236}">
                    <a16:creationId xmlns:a16="http://schemas.microsoft.com/office/drawing/2014/main" id="{C4C931B2-8C89-47C3-8700-BEF117AD1B57}"/>
                  </a:ext>
                </a:extLst>
              </p:cNvPr>
              <p:cNvSpPr>
                <a:spLocks/>
              </p:cNvSpPr>
              <p:nvPr/>
            </p:nvSpPr>
            <p:spPr bwMode="auto">
              <a:xfrm>
                <a:off x="5120364" y="3517025"/>
                <a:ext cx="491148" cy="179846"/>
              </a:xfrm>
              <a:custGeom>
                <a:avLst/>
                <a:gdLst>
                  <a:gd name="T0" fmla="*/ 2147483646 w 10616"/>
                  <a:gd name="T1" fmla="*/ 2147483646 h 10000"/>
                  <a:gd name="T2" fmla="*/ 2147483646 w 10616"/>
                  <a:gd name="T3" fmla="*/ 2147483646 h 10000"/>
                  <a:gd name="T4" fmla="*/ 2147483646 w 10616"/>
                  <a:gd name="T5" fmla="*/ 2147483646 h 10000"/>
                  <a:gd name="T6" fmla="*/ 2147483646 w 10616"/>
                  <a:gd name="T7" fmla="*/ 2147483646 h 10000"/>
                  <a:gd name="T8" fmla="*/ 2147483646 w 10616"/>
                  <a:gd name="T9" fmla="*/ 2147483646 h 10000"/>
                  <a:gd name="T10" fmla="*/ 2147483646 w 10616"/>
                  <a:gd name="T11" fmla="*/ 2147483646 h 10000"/>
                  <a:gd name="T12" fmla="*/ 2147483646 w 10616"/>
                  <a:gd name="T13" fmla="*/ 2147483646 h 10000"/>
                  <a:gd name="T14" fmla="*/ 2147483646 w 10616"/>
                  <a:gd name="T15" fmla="*/ 2147483646 h 10000"/>
                  <a:gd name="T16" fmla="*/ 2147483646 w 10616"/>
                  <a:gd name="T17" fmla="*/ 2147483646 h 10000"/>
                  <a:gd name="T18" fmla="*/ 2147483646 w 10616"/>
                  <a:gd name="T19" fmla="*/ 2147483646 h 10000"/>
                  <a:gd name="T20" fmla="*/ 2147483646 w 10616"/>
                  <a:gd name="T21" fmla="*/ 2147483646 h 10000"/>
                  <a:gd name="T22" fmla="*/ 2147483646 w 10616"/>
                  <a:gd name="T23" fmla="*/ 2147483646 h 10000"/>
                  <a:gd name="T24" fmla="*/ 2147483646 w 10616"/>
                  <a:gd name="T25" fmla="*/ 0 h 10000"/>
                  <a:gd name="T26" fmla="*/ 2147483646 w 10616"/>
                  <a:gd name="T27" fmla="*/ 0 h 10000"/>
                  <a:gd name="T28" fmla="*/ 2147483646 w 10616"/>
                  <a:gd name="T29" fmla="*/ 2147483646 h 10000"/>
                  <a:gd name="T30" fmla="*/ 2147483646 w 10616"/>
                  <a:gd name="T31" fmla="*/ 2147483646 h 10000"/>
                  <a:gd name="T32" fmla="*/ 2147483646 w 10616"/>
                  <a:gd name="T33" fmla="*/ 2147483646 h 10000"/>
                  <a:gd name="T34" fmla="*/ 2147483646 w 10616"/>
                  <a:gd name="T35" fmla="*/ 2147483646 h 10000"/>
                  <a:gd name="T36" fmla="*/ 2147483646 w 10616"/>
                  <a:gd name="T37" fmla="*/ 2147483646 h 10000"/>
                  <a:gd name="T38" fmla="*/ 2147483646 w 10616"/>
                  <a:gd name="T39" fmla="*/ 0 h 10000"/>
                  <a:gd name="T40" fmla="*/ 2147483646 w 10616"/>
                  <a:gd name="T41" fmla="*/ 0 h 10000"/>
                  <a:gd name="T42" fmla="*/ 2147483646 w 10616"/>
                  <a:gd name="T43" fmla="*/ 0 h 10000"/>
                  <a:gd name="T44" fmla="*/ 2147483646 w 10616"/>
                  <a:gd name="T45" fmla="*/ 2147483646 h 10000"/>
                  <a:gd name="T46" fmla="*/ 2147483646 w 10616"/>
                  <a:gd name="T47" fmla="*/ 2147483646 h 10000"/>
                  <a:gd name="T48" fmla="*/ 2147483646 w 10616"/>
                  <a:gd name="T49" fmla="*/ 2147483646 h 10000"/>
                  <a:gd name="T50" fmla="*/ 2147483646 w 10616"/>
                  <a:gd name="T51" fmla="*/ 2147483646 h 10000"/>
                  <a:gd name="T52" fmla="*/ 2147483646 w 10616"/>
                  <a:gd name="T53" fmla="*/ 2147483646 h 10000"/>
                  <a:gd name="T54" fmla="*/ 2147483646 w 10616"/>
                  <a:gd name="T55" fmla="*/ 2147483646 h 10000"/>
                  <a:gd name="T56" fmla="*/ 2147483646 w 10616"/>
                  <a:gd name="T57" fmla="*/ 2147483646 h 10000"/>
                  <a:gd name="T58" fmla="*/ 2147483646 w 10616"/>
                  <a:gd name="T59" fmla="*/ 2147483646 h 10000"/>
                  <a:gd name="T60" fmla="*/ 2147483646 w 10616"/>
                  <a:gd name="T61" fmla="*/ 2147483646 h 10000"/>
                  <a:gd name="T62" fmla="*/ 0 w 10616"/>
                  <a:gd name="T63" fmla="*/ 2147483646 h 10000"/>
                  <a:gd name="T64" fmla="*/ 2147483646 w 10616"/>
                  <a:gd name="T65" fmla="*/ 2147483646 h 10000"/>
                  <a:gd name="T66" fmla="*/ 2147483646 w 10616"/>
                  <a:gd name="T67" fmla="*/ 2147483646 h 10000"/>
                  <a:gd name="T68" fmla="*/ 2147483646 w 10616"/>
                  <a:gd name="T69" fmla="*/ 2147483646 h 10000"/>
                  <a:gd name="T70" fmla="*/ 2147483646 w 10616"/>
                  <a:gd name="T71" fmla="*/ 2147483646 h 10000"/>
                  <a:gd name="T72" fmla="*/ 2147483646 w 10616"/>
                  <a:gd name="T73" fmla="*/ 2147483646 h 10000"/>
                  <a:gd name="T74" fmla="*/ 2147483646 w 10616"/>
                  <a:gd name="T75" fmla="*/ 2147483646 h 10000"/>
                  <a:gd name="T76" fmla="*/ 2147483646 w 10616"/>
                  <a:gd name="T77" fmla="*/ 2147483646 h 10000"/>
                  <a:gd name="T78" fmla="*/ 2147483646 w 10616"/>
                  <a:gd name="T79" fmla="*/ 2147483646 h 10000"/>
                  <a:gd name="T80" fmla="*/ 2147483646 w 10616"/>
                  <a:gd name="T81" fmla="*/ 2147483646 h 10000"/>
                  <a:gd name="T82" fmla="*/ 2147483646 w 10616"/>
                  <a:gd name="T83" fmla="*/ 2147483646 h 10000"/>
                  <a:gd name="T84" fmla="*/ 2147483646 w 10616"/>
                  <a:gd name="T85" fmla="*/ 2147483646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7" name="Freeform 285">
                <a:extLst>
                  <a:ext uri="{FF2B5EF4-FFF2-40B4-BE49-F238E27FC236}">
                    <a16:creationId xmlns:a16="http://schemas.microsoft.com/office/drawing/2014/main" id="{0ED2E74F-BCDD-4501-A0AF-23AD48F4A14D}"/>
                  </a:ext>
                </a:extLst>
              </p:cNvPr>
              <p:cNvSpPr>
                <a:spLocks/>
              </p:cNvSpPr>
              <p:nvPr/>
            </p:nvSpPr>
            <p:spPr bwMode="auto">
              <a:xfrm>
                <a:off x="5367620" y="3666600"/>
                <a:ext cx="179976" cy="146014"/>
              </a:xfrm>
              <a:custGeom>
                <a:avLst/>
                <a:gdLst>
                  <a:gd name="T0" fmla="*/ 2147483646 w 139"/>
                  <a:gd name="T1" fmla="*/ 2147483646 h 114"/>
                  <a:gd name="T2" fmla="*/ 2147483646 w 139"/>
                  <a:gd name="T3" fmla="*/ 2147483646 h 114"/>
                  <a:gd name="T4" fmla="*/ 2147483646 w 139"/>
                  <a:gd name="T5" fmla="*/ 2147483646 h 114"/>
                  <a:gd name="T6" fmla="*/ 2147483646 w 139"/>
                  <a:gd name="T7" fmla="*/ 2147483646 h 114"/>
                  <a:gd name="T8" fmla="*/ 2147483646 w 139"/>
                  <a:gd name="T9" fmla="*/ 2147483646 h 114"/>
                  <a:gd name="T10" fmla="*/ 2147483646 w 139"/>
                  <a:gd name="T11" fmla="*/ 2147483646 h 114"/>
                  <a:gd name="T12" fmla="*/ 2147483646 w 139"/>
                  <a:gd name="T13" fmla="*/ 0 h 114"/>
                  <a:gd name="T14" fmla="*/ 2147483646 w 139"/>
                  <a:gd name="T15" fmla="*/ 2147483646 h 114"/>
                  <a:gd name="T16" fmla="*/ 2147483646 w 139"/>
                  <a:gd name="T17" fmla="*/ 2147483646 h 114"/>
                  <a:gd name="T18" fmla="*/ 2147483646 w 139"/>
                  <a:gd name="T19" fmla="*/ 2147483646 h 114"/>
                  <a:gd name="T20" fmla="*/ 2147483646 w 139"/>
                  <a:gd name="T21" fmla="*/ 2147483646 h 114"/>
                  <a:gd name="T22" fmla="*/ 2147483646 w 139"/>
                  <a:gd name="T23" fmla="*/ 2147483646 h 114"/>
                  <a:gd name="T24" fmla="*/ 2147483646 w 139"/>
                  <a:gd name="T25" fmla="*/ 2147483646 h 114"/>
                  <a:gd name="T26" fmla="*/ 0 w 139"/>
                  <a:gd name="T27" fmla="*/ 2147483646 h 114"/>
                  <a:gd name="T28" fmla="*/ 2147483646 w 139"/>
                  <a:gd name="T29" fmla="*/ 2147483646 h 114"/>
                  <a:gd name="T30" fmla="*/ 2147483646 w 139"/>
                  <a:gd name="T31" fmla="*/ 2147483646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20" name="Freeform 286">
                <a:extLst>
                  <a:ext uri="{FF2B5EF4-FFF2-40B4-BE49-F238E27FC236}">
                    <a16:creationId xmlns:a16="http://schemas.microsoft.com/office/drawing/2014/main" id="{2D923CF3-D1E1-41C0-B899-5D4672B6D4B1}"/>
                  </a:ext>
                </a:extLst>
              </p:cNvPr>
              <p:cNvSpPr>
                <a:spLocks/>
              </p:cNvSpPr>
              <p:nvPr/>
            </p:nvSpPr>
            <p:spPr bwMode="auto">
              <a:xfrm>
                <a:off x="5343525" y="3783013"/>
                <a:ext cx="127000" cy="115887"/>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chemeClr val="bg1"/>
              </a:solidFill>
              <a:ln w="9525">
                <a:solidFill>
                  <a:schemeClr val="bg2"/>
                </a:solidFill>
                <a:round/>
                <a:headEnd/>
                <a:tailEnd/>
              </a:ln>
            </p:spPr>
            <p:txBody>
              <a:bodyPr/>
              <a:lstStyle/>
              <a:p>
                <a:endParaRPr lang="el-GR"/>
              </a:p>
            </p:txBody>
          </p:sp>
          <p:sp>
            <p:nvSpPr>
              <p:cNvPr id="83021" name="Freeform 287">
                <a:extLst>
                  <a:ext uri="{FF2B5EF4-FFF2-40B4-BE49-F238E27FC236}">
                    <a16:creationId xmlns:a16="http://schemas.microsoft.com/office/drawing/2014/main" id="{77AB70F8-FCF3-47BF-9997-02CBE662EAB6}"/>
                  </a:ext>
                </a:extLst>
              </p:cNvPr>
              <p:cNvSpPr>
                <a:spLocks/>
              </p:cNvSpPr>
              <p:nvPr/>
            </p:nvSpPr>
            <p:spPr bwMode="auto">
              <a:xfrm>
                <a:off x="5343525" y="3783013"/>
                <a:ext cx="127000" cy="115887"/>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rgbClr val="FF0000"/>
              </a:solidFill>
              <a:ln w="9525">
                <a:solidFill>
                  <a:schemeClr val="bg1"/>
                </a:solidFill>
                <a:round/>
                <a:headEnd/>
                <a:tailEnd/>
              </a:ln>
            </p:spPr>
            <p:txBody>
              <a:bodyPr/>
              <a:lstStyle/>
              <a:p>
                <a:endParaRPr lang="el-GR"/>
              </a:p>
            </p:txBody>
          </p:sp>
          <p:sp>
            <p:nvSpPr>
              <p:cNvPr id="90" name="Freeform 288">
                <a:extLst>
                  <a:ext uri="{FF2B5EF4-FFF2-40B4-BE49-F238E27FC236}">
                    <a16:creationId xmlns:a16="http://schemas.microsoft.com/office/drawing/2014/main" id="{522CBB5A-AE29-4B52-B18E-CB6BC2FEAF3E}"/>
                  </a:ext>
                </a:extLst>
              </p:cNvPr>
              <p:cNvSpPr>
                <a:spLocks/>
              </p:cNvSpPr>
              <p:nvPr/>
            </p:nvSpPr>
            <p:spPr bwMode="auto">
              <a:xfrm>
                <a:off x="5783077" y="4001364"/>
                <a:ext cx="119422" cy="78349"/>
              </a:xfrm>
              <a:custGeom>
                <a:avLst/>
                <a:gdLst>
                  <a:gd name="T0" fmla="*/ 2147483646 w 90"/>
                  <a:gd name="T1" fmla="*/ 2147483646 h 60"/>
                  <a:gd name="T2" fmla="*/ 2147483646 w 90"/>
                  <a:gd name="T3" fmla="*/ 2147483646 h 60"/>
                  <a:gd name="T4" fmla="*/ 2147483646 w 90"/>
                  <a:gd name="T5" fmla="*/ 2147483646 h 60"/>
                  <a:gd name="T6" fmla="*/ 2147483646 w 90"/>
                  <a:gd name="T7" fmla="*/ 2147483646 h 60"/>
                  <a:gd name="T8" fmla="*/ 2147483646 w 90"/>
                  <a:gd name="T9" fmla="*/ 0 h 60"/>
                  <a:gd name="T10" fmla="*/ 2147483646 w 90"/>
                  <a:gd name="T11" fmla="*/ 2147483646 h 60"/>
                  <a:gd name="T12" fmla="*/ 2147483646 w 90"/>
                  <a:gd name="T13" fmla="*/ 2147483646 h 60"/>
                  <a:gd name="T14" fmla="*/ 0 w 90"/>
                  <a:gd name="T15" fmla="*/ 2147483646 h 60"/>
                  <a:gd name="T16" fmla="*/ 2147483646 w 90"/>
                  <a:gd name="T17" fmla="*/ 2147483646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91" name="Freeform 289">
                <a:extLst>
                  <a:ext uri="{FF2B5EF4-FFF2-40B4-BE49-F238E27FC236}">
                    <a16:creationId xmlns:a16="http://schemas.microsoft.com/office/drawing/2014/main" id="{DC58D0A0-0892-4EE7-8CB0-65BB800F5E2E}"/>
                  </a:ext>
                </a:extLst>
              </p:cNvPr>
              <p:cNvSpPr>
                <a:spLocks/>
              </p:cNvSpPr>
              <p:nvPr/>
            </p:nvSpPr>
            <p:spPr bwMode="auto">
              <a:xfrm>
                <a:off x="5799897" y="4031634"/>
                <a:ext cx="188385" cy="217240"/>
              </a:xfrm>
              <a:custGeom>
                <a:avLst/>
                <a:gdLst>
                  <a:gd name="T0" fmla="*/ 2147483646 w 24"/>
                  <a:gd name="T1" fmla="*/ 2147483646 h 28"/>
                  <a:gd name="T2" fmla="*/ 2147483646 w 24"/>
                  <a:gd name="T3" fmla="*/ 2147483646 h 28"/>
                  <a:gd name="T4" fmla="*/ 2147483646 w 24"/>
                  <a:gd name="T5" fmla="*/ 2147483646 h 28"/>
                  <a:gd name="T6" fmla="*/ 2147483646 w 24"/>
                  <a:gd name="T7" fmla="*/ 2147483646 h 28"/>
                  <a:gd name="T8" fmla="*/ 0 w 24"/>
                  <a:gd name="T9" fmla="*/ 2147483646 h 28"/>
                  <a:gd name="T10" fmla="*/ 2147483646 w 24"/>
                  <a:gd name="T11" fmla="*/ 2147483646 h 28"/>
                  <a:gd name="T12" fmla="*/ 2147483646 w 24"/>
                  <a:gd name="T13" fmla="*/ 2147483646 h 28"/>
                  <a:gd name="T14" fmla="*/ 2147483646 w 24"/>
                  <a:gd name="T15" fmla="*/ 2147483646 h 28"/>
                  <a:gd name="T16" fmla="*/ 2147483646 w 24"/>
                  <a:gd name="T17" fmla="*/ 2147483646 h 28"/>
                  <a:gd name="T18" fmla="*/ 2147483646 w 24"/>
                  <a:gd name="T19" fmla="*/ 2147483646 h 28"/>
                  <a:gd name="T20" fmla="*/ 2147483646 w 24"/>
                  <a:gd name="T21" fmla="*/ 2147483646 h 28"/>
                  <a:gd name="T22" fmla="*/ 2147483646 w 24"/>
                  <a:gd name="T23" fmla="*/ 2147483646 h 28"/>
                  <a:gd name="T24" fmla="*/ 2147483646 w 24"/>
                  <a:gd name="T25" fmla="*/ 0 h 28"/>
                  <a:gd name="T26" fmla="*/ 2147483646 w 24"/>
                  <a:gd name="T27" fmla="*/ 0 h 28"/>
                  <a:gd name="T28" fmla="*/ 2147483646 w 24"/>
                  <a:gd name="T29" fmla="*/ 2147483646 h 28"/>
                  <a:gd name="T30" fmla="*/ 2147483646 w 24"/>
                  <a:gd name="T31" fmla="*/ 2147483646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92" name="Freeform 290">
                <a:extLst>
                  <a:ext uri="{FF2B5EF4-FFF2-40B4-BE49-F238E27FC236}">
                    <a16:creationId xmlns:a16="http://schemas.microsoft.com/office/drawing/2014/main" id="{1A121086-15F4-4E44-B8E0-9558CF1A9919}"/>
                  </a:ext>
                </a:extLst>
              </p:cNvPr>
              <p:cNvSpPr>
                <a:spLocks/>
              </p:cNvSpPr>
              <p:nvPr/>
            </p:nvSpPr>
            <p:spPr bwMode="auto">
              <a:xfrm>
                <a:off x="5566097" y="4172307"/>
                <a:ext cx="264076" cy="165600"/>
              </a:xfrm>
              <a:custGeom>
                <a:avLst/>
                <a:gdLst>
                  <a:gd name="T0" fmla="*/ 2147483646 w 34"/>
                  <a:gd name="T1" fmla="*/ 0 h 21"/>
                  <a:gd name="T2" fmla="*/ 2147483646 w 34"/>
                  <a:gd name="T3" fmla="*/ 2147483646 h 21"/>
                  <a:gd name="T4" fmla="*/ 2147483646 w 34"/>
                  <a:gd name="T5" fmla="*/ 2147483646 h 21"/>
                  <a:gd name="T6" fmla="*/ 2147483646 w 34"/>
                  <a:gd name="T7" fmla="*/ 2147483646 h 21"/>
                  <a:gd name="T8" fmla="*/ 0 w 34"/>
                  <a:gd name="T9" fmla="*/ 2147483646 h 21"/>
                  <a:gd name="T10" fmla="*/ 2147483646 w 34"/>
                  <a:gd name="T11" fmla="*/ 2147483646 h 21"/>
                  <a:gd name="T12" fmla="*/ 2147483646 w 34"/>
                  <a:gd name="T13" fmla="*/ 2147483646 h 21"/>
                  <a:gd name="T14" fmla="*/ 2147483646 w 34"/>
                  <a:gd name="T15" fmla="*/ 2147483646 h 21"/>
                  <a:gd name="T16" fmla="*/ 2147483646 w 34"/>
                  <a:gd name="T17" fmla="*/ 2147483646 h 21"/>
                  <a:gd name="T18" fmla="*/ 2147483646 w 34"/>
                  <a:gd name="T19" fmla="*/ 2147483646 h 21"/>
                  <a:gd name="T20" fmla="*/ 2147483646 w 34"/>
                  <a:gd name="T21" fmla="*/ 2147483646 h 21"/>
                  <a:gd name="T22" fmla="*/ 2147483646 w 34"/>
                  <a:gd name="T23" fmla="*/ 2147483646 h 21"/>
                  <a:gd name="T24" fmla="*/ 2147483646 w 34"/>
                  <a:gd name="T25" fmla="*/ 2147483646 h 21"/>
                  <a:gd name="T26" fmla="*/ 2147483646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25" name="Freeform 291">
                <a:extLst>
                  <a:ext uri="{FF2B5EF4-FFF2-40B4-BE49-F238E27FC236}">
                    <a16:creationId xmlns:a16="http://schemas.microsoft.com/office/drawing/2014/main" id="{9C7129E8-F5F4-4413-B687-A02C08687403}"/>
                  </a:ext>
                </a:extLst>
              </p:cNvPr>
              <p:cNvSpPr>
                <a:spLocks/>
              </p:cNvSpPr>
              <p:nvPr/>
            </p:nvSpPr>
            <p:spPr bwMode="auto">
              <a:xfrm>
                <a:off x="5378450" y="3813175"/>
                <a:ext cx="492125" cy="422275"/>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rgbClr val="FF0000"/>
              </a:solidFill>
              <a:ln w="9525">
                <a:solidFill>
                  <a:schemeClr val="bg1"/>
                </a:solidFill>
                <a:round/>
                <a:headEnd/>
                <a:tailEnd/>
              </a:ln>
            </p:spPr>
            <p:txBody>
              <a:bodyPr/>
              <a:lstStyle/>
              <a:p>
                <a:endParaRPr lang="el-GR"/>
              </a:p>
            </p:txBody>
          </p:sp>
          <p:sp>
            <p:nvSpPr>
              <p:cNvPr id="83026" name="Freeform 292">
                <a:extLst>
                  <a:ext uri="{FF2B5EF4-FFF2-40B4-BE49-F238E27FC236}">
                    <a16:creationId xmlns:a16="http://schemas.microsoft.com/office/drawing/2014/main" id="{4B5DB94A-7130-43BA-8D96-57DAC2825228}"/>
                  </a:ext>
                </a:extLst>
              </p:cNvPr>
              <p:cNvSpPr>
                <a:spLocks/>
              </p:cNvSpPr>
              <p:nvPr/>
            </p:nvSpPr>
            <p:spPr bwMode="auto">
              <a:xfrm>
                <a:off x="5800725" y="4079875"/>
                <a:ext cx="77788" cy="92075"/>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rgbClr val="FF0000"/>
              </a:solidFill>
              <a:ln w="9525">
                <a:solidFill>
                  <a:schemeClr val="bg1"/>
                </a:solidFill>
                <a:round/>
                <a:headEnd/>
                <a:tailEnd/>
              </a:ln>
            </p:spPr>
            <p:txBody>
              <a:bodyPr/>
              <a:lstStyle/>
              <a:p>
                <a:endParaRPr lang="el-GR"/>
              </a:p>
            </p:txBody>
          </p:sp>
          <p:sp>
            <p:nvSpPr>
              <p:cNvPr id="95" name="Freeform 293">
                <a:extLst>
                  <a:ext uri="{FF2B5EF4-FFF2-40B4-BE49-F238E27FC236}">
                    <a16:creationId xmlns:a16="http://schemas.microsoft.com/office/drawing/2014/main" id="{F821F710-8FE5-4BB2-9BDD-61673DF4726E}"/>
                  </a:ext>
                </a:extLst>
              </p:cNvPr>
              <p:cNvSpPr>
                <a:spLocks/>
              </p:cNvSpPr>
              <p:nvPr/>
            </p:nvSpPr>
            <p:spPr bwMode="auto">
              <a:xfrm>
                <a:off x="5461812" y="3657697"/>
                <a:ext cx="250620" cy="251073"/>
              </a:xfrm>
              <a:custGeom>
                <a:avLst/>
                <a:gdLst>
                  <a:gd name="T0" fmla="*/ 2147483646 w 192"/>
                  <a:gd name="T1" fmla="*/ 2147483646 h 192"/>
                  <a:gd name="T2" fmla="*/ 2147483646 w 192"/>
                  <a:gd name="T3" fmla="*/ 2147483646 h 192"/>
                  <a:gd name="T4" fmla="*/ 2147483646 w 192"/>
                  <a:gd name="T5" fmla="*/ 2147483646 h 192"/>
                  <a:gd name="T6" fmla="*/ 2147483646 w 192"/>
                  <a:gd name="T7" fmla="*/ 2147483646 h 192"/>
                  <a:gd name="T8" fmla="*/ 2147483646 w 192"/>
                  <a:gd name="T9" fmla="*/ 2147483646 h 192"/>
                  <a:gd name="T10" fmla="*/ 2147483646 w 192"/>
                  <a:gd name="T11" fmla="*/ 0 h 192"/>
                  <a:gd name="T12" fmla="*/ 2147483646 w 192"/>
                  <a:gd name="T13" fmla="*/ 2147483646 h 192"/>
                  <a:gd name="T14" fmla="*/ 2147483646 w 192"/>
                  <a:gd name="T15" fmla="*/ 2147483646 h 192"/>
                  <a:gd name="T16" fmla="*/ 2147483646 w 192"/>
                  <a:gd name="T17" fmla="*/ 2147483646 h 192"/>
                  <a:gd name="T18" fmla="*/ 2147483646 w 192"/>
                  <a:gd name="T19" fmla="*/ 2147483646 h 192"/>
                  <a:gd name="T20" fmla="*/ 2147483646 w 192"/>
                  <a:gd name="T21" fmla="*/ 2147483646 h 192"/>
                  <a:gd name="T22" fmla="*/ 0 w 192"/>
                  <a:gd name="T23" fmla="*/ 2147483646 h 192"/>
                  <a:gd name="T24" fmla="*/ 0 w 192"/>
                  <a:gd name="T25" fmla="*/ 2147483646 h 192"/>
                  <a:gd name="T26" fmla="*/ 2147483646 w 192"/>
                  <a:gd name="T27" fmla="*/ 2147483646 h 192"/>
                  <a:gd name="T28" fmla="*/ 2147483646 w 192"/>
                  <a:gd name="T29" fmla="*/ 2147483646 h 192"/>
                  <a:gd name="T30" fmla="*/ 2147483646 w 192"/>
                  <a:gd name="T31" fmla="*/ 2147483646 h 192"/>
                  <a:gd name="T32" fmla="*/ 2147483646 w 192"/>
                  <a:gd name="T33" fmla="*/ 2147483646 h 192"/>
                  <a:gd name="T34" fmla="*/ 2147483646 w 192"/>
                  <a:gd name="T35" fmla="*/ 2147483646 h 192"/>
                  <a:gd name="T36" fmla="*/ 2147483646 w 192"/>
                  <a:gd name="T37" fmla="*/ 2147483646 h 192"/>
                  <a:gd name="T38" fmla="*/ 2147483646 w 192"/>
                  <a:gd name="T39" fmla="*/ 2147483646 h 192"/>
                  <a:gd name="T40" fmla="*/ 2147483646 w 192"/>
                  <a:gd name="T41" fmla="*/ 2147483646 h 192"/>
                  <a:gd name="T42" fmla="*/ 2147483646 w 192"/>
                  <a:gd name="T43" fmla="*/ 2147483646 h 192"/>
                  <a:gd name="T44" fmla="*/ 2147483646 w 192"/>
                  <a:gd name="T45" fmla="*/ 2147483646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96" name="Freeform 294">
                <a:extLst>
                  <a:ext uri="{FF2B5EF4-FFF2-40B4-BE49-F238E27FC236}">
                    <a16:creationId xmlns:a16="http://schemas.microsoft.com/office/drawing/2014/main" id="{7D078D2B-00E3-402D-9C77-2CDEEF9E0CE7}"/>
                  </a:ext>
                </a:extLst>
              </p:cNvPr>
              <p:cNvSpPr>
                <a:spLocks/>
              </p:cNvSpPr>
              <p:nvPr/>
            </p:nvSpPr>
            <p:spPr bwMode="auto">
              <a:xfrm>
                <a:off x="5604784" y="3590032"/>
                <a:ext cx="470963" cy="425577"/>
              </a:xfrm>
              <a:custGeom>
                <a:avLst/>
                <a:gdLst>
                  <a:gd name="T0" fmla="*/ 2147483646 w 60"/>
                  <a:gd name="T1" fmla="*/ 2147483646 h 55"/>
                  <a:gd name="T2" fmla="*/ 2147483646 w 60"/>
                  <a:gd name="T3" fmla="*/ 2147483646 h 55"/>
                  <a:gd name="T4" fmla="*/ 2147483646 w 60"/>
                  <a:gd name="T5" fmla="*/ 2147483646 h 55"/>
                  <a:gd name="T6" fmla="*/ 2147483646 w 60"/>
                  <a:gd name="T7" fmla="*/ 2147483646 h 55"/>
                  <a:gd name="T8" fmla="*/ 2147483646 w 60"/>
                  <a:gd name="T9" fmla="*/ 2147483646 h 55"/>
                  <a:gd name="T10" fmla="*/ 2147483646 w 60"/>
                  <a:gd name="T11" fmla="*/ 2147483646 h 55"/>
                  <a:gd name="T12" fmla="*/ 2147483646 w 60"/>
                  <a:gd name="T13" fmla="*/ 2147483646 h 55"/>
                  <a:gd name="T14" fmla="*/ 2147483646 w 60"/>
                  <a:gd name="T15" fmla="*/ 2147483646 h 55"/>
                  <a:gd name="T16" fmla="*/ 2147483646 w 60"/>
                  <a:gd name="T17" fmla="*/ 2147483646 h 55"/>
                  <a:gd name="T18" fmla="*/ 2147483646 w 60"/>
                  <a:gd name="T19" fmla="*/ 2147483646 h 55"/>
                  <a:gd name="T20" fmla="*/ 2147483646 w 60"/>
                  <a:gd name="T21" fmla="*/ 2147483646 h 55"/>
                  <a:gd name="T22" fmla="*/ 2147483646 w 60"/>
                  <a:gd name="T23" fmla="*/ 2147483646 h 55"/>
                  <a:gd name="T24" fmla="*/ 2147483646 w 60"/>
                  <a:gd name="T25" fmla="*/ 2147483646 h 55"/>
                  <a:gd name="T26" fmla="*/ 2147483646 w 60"/>
                  <a:gd name="T27" fmla="*/ 2147483646 h 55"/>
                  <a:gd name="T28" fmla="*/ 2147483646 w 60"/>
                  <a:gd name="T29" fmla="*/ 2147483646 h 55"/>
                  <a:gd name="T30" fmla="*/ 2147483646 w 60"/>
                  <a:gd name="T31" fmla="*/ 2147483646 h 55"/>
                  <a:gd name="T32" fmla="*/ 2147483646 w 60"/>
                  <a:gd name="T33" fmla="*/ 2147483646 h 55"/>
                  <a:gd name="T34" fmla="*/ 2147483646 w 60"/>
                  <a:gd name="T35" fmla="*/ 2147483646 h 55"/>
                  <a:gd name="T36" fmla="*/ 2147483646 w 60"/>
                  <a:gd name="T37" fmla="*/ 2147483646 h 55"/>
                  <a:gd name="T38" fmla="*/ 2147483646 w 60"/>
                  <a:gd name="T39" fmla="*/ 2147483646 h 55"/>
                  <a:gd name="T40" fmla="*/ 2147483646 w 60"/>
                  <a:gd name="T41" fmla="*/ 0 h 55"/>
                  <a:gd name="T42" fmla="*/ 2147483646 w 60"/>
                  <a:gd name="T43" fmla="*/ 2147483646 h 55"/>
                  <a:gd name="T44" fmla="*/ 2147483646 w 60"/>
                  <a:gd name="T45" fmla="*/ 2147483646 h 55"/>
                  <a:gd name="T46" fmla="*/ 0 w 60"/>
                  <a:gd name="T47" fmla="*/ 0 h 55"/>
                  <a:gd name="T48" fmla="*/ 0 w 60"/>
                  <a:gd name="T49" fmla="*/ 0 h 55"/>
                  <a:gd name="T50" fmla="*/ 0 w 60"/>
                  <a:gd name="T51" fmla="*/ 2147483646 h 55"/>
                  <a:gd name="T52" fmla="*/ 2147483646 w 60"/>
                  <a:gd name="T53" fmla="*/ 2147483646 h 55"/>
                  <a:gd name="T54" fmla="*/ 2147483646 w 60"/>
                  <a:gd name="T55" fmla="*/ 2147483646 h 55"/>
                  <a:gd name="T56" fmla="*/ 2147483646 w 60"/>
                  <a:gd name="T57" fmla="*/ 2147483646 h 55"/>
                  <a:gd name="T58" fmla="*/ 2147483646 w 60"/>
                  <a:gd name="T59" fmla="*/ 2147483646 h 55"/>
                  <a:gd name="T60" fmla="*/ 2147483646 w 60"/>
                  <a:gd name="T61" fmla="*/ 2147483646 h 55"/>
                  <a:gd name="T62" fmla="*/ 2147483646 w 60"/>
                  <a:gd name="T63" fmla="*/ 2147483646 h 55"/>
                  <a:gd name="T64" fmla="*/ 2147483646 w 60"/>
                  <a:gd name="T65" fmla="*/ 2147483646 h 55"/>
                  <a:gd name="T66" fmla="*/ 2147483646 w 60"/>
                  <a:gd name="T67" fmla="*/ 2147483646 h 55"/>
                  <a:gd name="T68" fmla="*/ 2147483646 w 60"/>
                  <a:gd name="T69" fmla="*/ 2147483646 h 55"/>
                  <a:gd name="T70" fmla="*/ 2147483646 w 60"/>
                  <a:gd name="T71" fmla="*/ 2147483646 h 55"/>
                  <a:gd name="T72" fmla="*/ 2147483646 w 60"/>
                  <a:gd name="T73" fmla="*/ 2147483646 h 55"/>
                  <a:gd name="T74" fmla="*/ 2147483646 w 60"/>
                  <a:gd name="T75" fmla="*/ 2147483646 h 55"/>
                  <a:gd name="T76" fmla="*/ 2147483646 w 60"/>
                  <a:gd name="T77" fmla="*/ 2147483646 h 55"/>
                  <a:gd name="T78" fmla="*/ 2147483646 w 60"/>
                  <a:gd name="T79" fmla="*/ 2147483646 h 55"/>
                  <a:gd name="T80" fmla="*/ 2147483646 w 60"/>
                  <a:gd name="T81" fmla="*/ 2147483646 h 55"/>
                  <a:gd name="T82" fmla="*/ 2147483646 w 60"/>
                  <a:gd name="T83" fmla="*/ 2147483646 h 55"/>
                  <a:gd name="T84" fmla="*/ 2147483646 w 60"/>
                  <a:gd name="T85" fmla="*/ 2147483646 h 55"/>
                  <a:gd name="T86" fmla="*/ 2147483646 w 60"/>
                  <a:gd name="T87" fmla="*/ 2147483646 h 55"/>
                  <a:gd name="T88" fmla="*/ 2147483646 w 60"/>
                  <a:gd name="T89" fmla="*/ 2147483646 h 55"/>
                  <a:gd name="T90" fmla="*/ 2147483646 w 60"/>
                  <a:gd name="T91" fmla="*/ 2147483646 h 55"/>
                  <a:gd name="T92" fmla="*/ 2147483646 w 60"/>
                  <a:gd name="T93" fmla="*/ 2147483646 h 55"/>
                  <a:gd name="T94" fmla="*/ 2147483646 w 60"/>
                  <a:gd name="T95" fmla="*/ 2147483646 h 55"/>
                  <a:gd name="T96" fmla="*/ 2147483646 w 60"/>
                  <a:gd name="T97" fmla="*/ 2147483646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97" name="Freeform 299">
                <a:extLst>
                  <a:ext uri="{FF2B5EF4-FFF2-40B4-BE49-F238E27FC236}">
                    <a16:creationId xmlns:a16="http://schemas.microsoft.com/office/drawing/2014/main" id="{E32A8B96-4CBC-4393-AD7C-706A1E07E298}"/>
                  </a:ext>
                </a:extLst>
              </p:cNvPr>
              <p:cNvSpPr>
                <a:spLocks/>
              </p:cNvSpPr>
              <p:nvPr/>
            </p:nvSpPr>
            <p:spPr bwMode="auto">
              <a:xfrm>
                <a:off x="5012716" y="2963241"/>
                <a:ext cx="159791" cy="108621"/>
              </a:xfrm>
              <a:custGeom>
                <a:avLst/>
                <a:gdLst>
                  <a:gd name="T0" fmla="*/ 2147483646 w 20"/>
                  <a:gd name="T1" fmla="*/ 2147483646 h 14"/>
                  <a:gd name="T2" fmla="*/ 2147483646 w 20"/>
                  <a:gd name="T3" fmla="*/ 2147483646 h 14"/>
                  <a:gd name="T4" fmla="*/ 2147483646 w 20"/>
                  <a:gd name="T5" fmla="*/ 0 h 14"/>
                  <a:gd name="T6" fmla="*/ 2147483646 w 20"/>
                  <a:gd name="T7" fmla="*/ 2147483646 h 14"/>
                  <a:gd name="T8" fmla="*/ 2147483646 w 20"/>
                  <a:gd name="T9" fmla="*/ 0 h 14"/>
                  <a:gd name="T10" fmla="*/ 2147483646 w 20"/>
                  <a:gd name="T11" fmla="*/ 0 h 14"/>
                  <a:gd name="T12" fmla="*/ 2147483646 w 20"/>
                  <a:gd name="T13" fmla="*/ 2147483646 h 14"/>
                  <a:gd name="T14" fmla="*/ 2147483646 w 20"/>
                  <a:gd name="T15" fmla="*/ 2147483646 h 14"/>
                  <a:gd name="T16" fmla="*/ 0 w 20"/>
                  <a:gd name="T17" fmla="*/ 2147483646 h 14"/>
                  <a:gd name="T18" fmla="*/ 2147483646 w 20"/>
                  <a:gd name="T19" fmla="*/ 2147483646 h 14"/>
                  <a:gd name="T20" fmla="*/ 2147483646 w 20"/>
                  <a:gd name="T21" fmla="*/ 2147483646 h 14"/>
                  <a:gd name="T22" fmla="*/ 2147483646 w 20"/>
                  <a:gd name="T23" fmla="*/ 2147483646 h 14"/>
                  <a:gd name="T24" fmla="*/ 2147483646 w 20"/>
                  <a:gd name="T25" fmla="*/ 2147483646 h 14"/>
                  <a:gd name="T26" fmla="*/ 2147483646 w 20"/>
                  <a:gd name="T27" fmla="*/ 2147483646 h 14"/>
                  <a:gd name="T28" fmla="*/ 2147483646 w 20"/>
                  <a:gd name="T29" fmla="*/ 2147483646 h 14"/>
                  <a:gd name="T30" fmla="*/ 2147483646 w 20"/>
                  <a:gd name="T31" fmla="*/ 2147483646 h 14"/>
                  <a:gd name="T32" fmla="*/ 2147483646 w 20"/>
                  <a:gd name="T33" fmla="*/ 2147483646 h 14"/>
                  <a:gd name="T34" fmla="*/ 2147483646 w 20"/>
                  <a:gd name="T35" fmla="*/ 2147483646 h 14"/>
                  <a:gd name="T36" fmla="*/ 2147483646 w 20"/>
                  <a:gd name="T37" fmla="*/ 2147483646 h 14"/>
                  <a:gd name="T38" fmla="*/ 2147483646 w 20"/>
                  <a:gd name="T39" fmla="*/ 2147483646 h 14"/>
                  <a:gd name="T40" fmla="*/ 2147483646 w 20"/>
                  <a:gd name="T41" fmla="*/ 2147483646 h 14"/>
                  <a:gd name="T42" fmla="*/ 2147483646 w 20"/>
                  <a:gd name="T43" fmla="*/ 2147483646 h 14"/>
                  <a:gd name="T44" fmla="*/ 2147483646 w 20"/>
                  <a:gd name="T45" fmla="*/ 2147483646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30" name="Freeform 300">
                <a:extLst>
                  <a:ext uri="{FF2B5EF4-FFF2-40B4-BE49-F238E27FC236}">
                    <a16:creationId xmlns:a16="http://schemas.microsoft.com/office/drawing/2014/main" id="{E54AC652-C76E-4CEF-9E0E-B95F94645FEE}"/>
                  </a:ext>
                </a:extLst>
              </p:cNvPr>
              <p:cNvSpPr>
                <a:spLocks/>
              </p:cNvSpPr>
              <p:nvPr/>
            </p:nvSpPr>
            <p:spPr bwMode="auto">
              <a:xfrm>
                <a:off x="5083175" y="2814638"/>
                <a:ext cx="119063" cy="101600"/>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rgbClr val="92D050"/>
              </a:solidFill>
              <a:ln w="9525">
                <a:solidFill>
                  <a:schemeClr val="bg1"/>
                </a:solidFill>
                <a:round/>
                <a:headEnd/>
                <a:tailEnd/>
              </a:ln>
            </p:spPr>
            <p:txBody>
              <a:bodyPr/>
              <a:lstStyle/>
              <a:p>
                <a:endParaRPr lang="el-GR"/>
              </a:p>
            </p:txBody>
          </p:sp>
          <p:sp>
            <p:nvSpPr>
              <p:cNvPr id="99" name="Freeform 301">
                <a:extLst>
                  <a:ext uri="{FF2B5EF4-FFF2-40B4-BE49-F238E27FC236}">
                    <a16:creationId xmlns:a16="http://schemas.microsoft.com/office/drawing/2014/main" id="{71B093DC-D7DC-4ED2-A60B-302A11ACF7E1}"/>
                  </a:ext>
                </a:extLst>
              </p:cNvPr>
              <p:cNvSpPr>
                <a:spLocks/>
              </p:cNvSpPr>
              <p:nvPr/>
            </p:nvSpPr>
            <p:spPr bwMode="auto">
              <a:xfrm>
                <a:off x="5078314" y="2972145"/>
                <a:ext cx="233800" cy="210117"/>
              </a:xfrm>
              <a:custGeom>
                <a:avLst/>
                <a:gdLst>
                  <a:gd name="T0" fmla="*/ 2147483646 w 30"/>
                  <a:gd name="T1" fmla="*/ 2147483646 h 27"/>
                  <a:gd name="T2" fmla="*/ 2147483646 w 30"/>
                  <a:gd name="T3" fmla="*/ 2147483646 h 27"/>
                  <a:gd name="T4" fmla="*/ 2147483646 w 30"/>
                  <a:gd name="T5" fmla="*/ 2147483646 h 27"/>
                  <a:gd name="T6" fmla="*/ 2147483646 w 30"/>
                  <a:gd name="T7" fmla="*/ 2147483646 h 27"/>
                  <a:gd name="T8" fmla="*/ 2147483646 w 30"/>
                  <a:gd name="T9" fmla="*/ 0 h 27"/>
                  <a:gd name="T10" fmla="*/ 2147483646 w 30"/>
                  <a:gd name="T11" fmla="*/ 2147483646 h 27"/>
                  <a:gd name="T12" fmla="*/ 2147483646 w 30"/>
                  <a:gd name="T13" fmla="*/ 2147483646 h 27"/>
                  <a:gd name="T14" fmla="*/ 2147483646 w 30"/>
                  <a:gd name="T15" fmla="*/ 2147483646 h 27"/>
                  <a:gd name="T16" fmla="*/ 2147483646 w 30"/>
                  <a:gd name="T17" fmla="*/ 2147483646 h 27"/>
                  <a:gd name="T18" fmla="*/ 2147483646 w 30"/>
                  <a:gd name="T19" fmla="*/ 2147483646 h 27"/>
                  <a:gd name="T20" fmla="*/ 2147483646 w 30"/>
                  <a:gd name="T21" fmla="*/ 2147483646 h 27"/>
                  <a:gd name="T22" fmla="*/ 2147483646 w 30"/>
                  <a:gd name="T23" fmla="*/ 2147483646 h 27"/>
                  <a:gd name="T24" fmla="*/ 2147483646 w 30"/>
                  <a:gd name="T25" fmla="*/ 2147483646 h 27"/>
                  <a:gd name="T26" fmla="*/ 2147483646 w 30"/>
                  <a:gd name="T27" fmla="*/ 2147483646 h 27"/>
                  <a:gd name="T28" fmla="*/ 2147483646 w 30"/>
                  <a:gd name="T29" fmla="*/ 2147483646 h 27"/>
                  <a:gd name="T30" fmla="*/ 2147483646 w 30"/>
                  <a:gd name="T31" fmla="*/ 2147483646 h 27"/>
                  <a:gd name="T32" fmla="*/ 0 w 30"/>
                  <a:gd name="T33" fmla="*/ 2147483646 h 27"/>
                  <a:gd name="T34" fmla="*/ 2147483646 w 30"/>
                  <a:gd name="T35" fmla="*/ 2147483646 h 27"/>
                  <a:gd name="T36" fmla="*/ 2147483646 w 30"/>
                  <a:gd name="T37" fmla="*/ 2147483646 h 27"/>
                  <a:gd name="T38" fmla="*/ 2147483646 w 30"/>
                  <a:gd name="T39" fmla="*/ 2147483646 h 27"/>
                  <a:gd name="T40" fmla="*/ 2147483646 w 30"/>
                  <a:gd name="T41" fmla="*/ 2147483646 h 27"/>
                  <a:gd name="T42" fmla="*/ 2147483646 w 30"/>
                  <a:gd name="T43" fmla="*/ 2147483646 h 27"/>
                  <a:gd name="T44" fmla="*/ 2147483646 w 30"/>
                  <a:gd name="T45" fmla="*/ 2147483646 h 27"/>
                  <a:gd name="T46" fmla="*/ 2147483646 w 30"/>
                  <a:gd name="T47" fmla="*/ 2147483646 h 27"/>
                  <a:gd name="T48" fmla="*/ 2147483646 w 30"/>
                  <a:gd name="T49" fmla="*/ 2147483646 h 27"/>
                  <a:gd name="T50" fmla="*/ 2147483646 w 30"/>
                  <a:gd name="T51" fmla="*/ 2147483646 h 27"/>
                  <a:gd name="T52" fmla="*/ 2147483646 w 30"/>
                  <a:gd name="T53" fmla="*/ 2147483646 h 27"/>
                  <a:gd name="T54" fmla="*/ 2147483646 w 30"/>
                  <a:gd name="T55" fmla="*/ 2147483646 h 27"/>
                  <a:gd name="T56" fmla="*/ 2147483646 w 30"/>
                  <a:gd name="T57" fmla="*/ 2147483646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32" name="Freeform 302">
                <a:extLst>
                  <a:ext uri="{FF2B5EF4-FFF2-40B4-BE49-F238E27FC236}">
                    <a16:creationId xmlns:a16="http://schemas.microsoft.com/office/drawing/2014/main" id="{C6B8A455-9F1E-4DC1-8339-09153190222F}"/>
                  </a:ext>
                </a:extLst>
              </p:cNvPr>
              <p:cNvSpPr>
                <a:spLocks/>
              </p:cNvSpPr>
              <p:nvPr/>
            </p:nvSpPr>
            <p:spPr bwMode="auto">
              <a:xfrm>
                <a:off x="5021263" y="2886075"/>
                <a:ext cx="190500" cy="107950"/>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rgbClr val="92D050"/>
              </a:solidFill>
              <a:ln w="9525">
                <a:solidFill>
                  <a:schemeClr val="bg1"/>
                </a:solidFill>
                <a:round/>
                <a:headEnd/>
                <a:tailEnd/>
              </a:ln>
            </p:spPr>
            <p:txBody>
              <a:bodyPr/>
              <a:lstStyle/>
              <a:p>
                <a:endParaRPr lang="el-GR"/>
              </a:p>
            </p:txBody>
          </p:sp>
          <p:sp>
            <p:nvSpPr>
              <p:cNvPr id="83033" name="Freeform 303">
                <a:extLst>
                  <a:ext uri="{FF2B5EF4-FFF2-40B4-BE49-F238E27FC236}">
                    <a16:creationId xmlns:a16="http://schemas.microsoft.com/office/drawing/2014/main" id="{85D664FB-60B8-489D-A0FC-EC295A6C496E}"/>
                  </a:ext>
                </a:extLst>
              </p:cNvPr>
              <p:cNvSpPr>
                <a:spLocks/>
              </p:cNvSpPr>
              <p:nvPr/>
            </p:nvSpPr>
            <p:spPr bwMode="auto">
              <a:xfrm>
                <a:off x="4119563" y="4337050"/>
                <a:ext cx="188912" cy="141288"/>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rgbClr val="FF0000"/>
              </a:solidFill>
              <a:ln w="9525">
                <a:solidFill>
                  <a:schemeClr val="bg1"/>
                </a:solidFill>
                <a:round/>
                <a:headEnd/>
                <a:tailEnd/>
              </a:ln>
            </p:spPr>
            <p:txBody>
              <a:bodyPr/>
              <a:lstStyle/>
              <a:p>
                <a:endParaRPr lang="el-GR"/>
              </a:p>
            </p:txBody>
          </p:sp>
          <p:sp>
            <p:nvSpPr>
              <p:cNvPr id="83034" name="Freeform 304">
                <a:extLst>
                  <a:ext uri="{FF2B5EF4-FFF2-40B4-BE49-F238E27FC236}">
                    <a16:creationId xmlns:a16="http://schemas.microsoft.com/office/drawing/2014/main" id="{88C82D79-A91E-42D2-AC71-05D1945B26B5}"/>
                  </a:ext>
                </a:extLst>
              </p:cNvPr>
              <p:cNvSpPr>
                <a:spLocks/>
              </p:cNvSpPr>
              <p:nvPr/>
            </p:nvSpPr>
            <p:spPr bwMode="auto">
              <a:xfrm>
                <a:off x="4073525" y="4235450"/>
                <a:ext cx="147638" cy="111125"/>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rgbClr val="FF0000"/>
              </a:solidFill>
              <a:ln w="9525">
                <a:solidFill>
                  <a:schemeClr val="bg1"/>
                </a:solidFill>
                <a:round/>
                <a:headEnd/>
                <a:tailEnd/>
              </a:ln>
            </p:spPr>
            <p:txBody>
              <a:bodyPr/>
              <a:lstStyle/>
              <a:p>
                <a:endParaRPr lang="el-GR"/>
              </a:p>
            </p:txBody>
          </p:sp>
          <p:sp>
            <p:nvSpPr>
              <p:cNvPr id="83035" name="Freeform 305">
                <a:extLst>
                  <a:ext uri="{FF2B5EF4-FFF2-40B4-BE49-F238E27FC236}">
                    <a16:creationId xmlns:a16="http://schemas.microsoft.com/office/drawing/2014/main" id="{688007A2-22B8-4550-96F9-3ABD8C6DAB28}"/>
                  </a:ext>
                </a:extLst>
              </p:cNvPr>
              <p:cNvSpPr>
                <a:spLocks/>
              </p:cNvSpPr>
              <p:nvPr/>
            </p:nvSpPr>
            <p:spPr bwMode="auto">
              <a:xfrm>
                <a:off x="4081463" y="3963988"/>
                <a:ext cx="298450" cy="319087"/>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rgbClr val="FF0000"/>
              </a:solidFill>
              <a:ln w="9525">
                <a:solidFill>
                  <a:schemeClr val="bg1"/>
                </a:solidFill>
                <a:round/>
                <a:headEnd/>
                <a:tailEnd/>
              </a:ln>
            </p:spPr>
            <p:txBody>
              <a:bodyPr/>
              <a:lstStyle/>
              <a:p>
                <a:endParaRPr lang="el-GR"/>
              </a:p>
            </p:txBody>
          </p:sp>
          <p:sp>
            <p:nvSpPr>
              <p:cNvPr id="104" name="Freeform 306">
                <a:extLst>
                  <a:ext uri="{FF2B5EF4-FFF2-40B4-BE49-F238E27FC236}">
                    <a16:creationId xmlns:a16="http://schemas.microsoft.com/office/drawing/2014/main" id="{77383DC7-5C25-4134-A1EE-6B6BFAB360AC}"/>
                  </a:ext>
                </a:extLst>
              </p:cNvPr>
              <p:cNvSpPr>
                <a:spLocks/>
              </p:cNvSpPr>
              <p:nvPr/>
            </p:nvSpPr>
            <p:spPr bwMode="auto">
              <a:xfrm>
                <a:off x="5108590" y="3830421"/>
                <a:ext cx="282578" cy="272440"/>
              </a:xfrm>
              <a:custGeom>
                <a:avLst/>
                <a:gdLst>
                  <a:gd name="T0" fmla="*/ 0 w 36"/>
                  <a:gd name="T1" fmla="*/ 2147483646 h 35"/>
                  <a:gd name="T2" fmla="*/ 2147483646 w 36"/>
                  <a:gd name="T3" fmla="*/ 2147483646 h 35"/>
                  <a:gd name="T4" fmla="*/ 2147483646 w 36"/>
                  <a:gd name="T5" fmla="*/ 2147483646 h 35"/>
                  <a:gd name="T6" fmla="*/ 2147483646 w 36"/>
                  <a:gd name="T7" fmla="*/ 2147483646 h 35"/>
                  <a:gd name="T8" fmla="*/ 2147483646 w 36"/>
                  <a:gd name="T9" fmla="*/ 2147483646 h 35"/>
                  <a:gd name="T10" fmla="*/ 2147483646 w 36"/>
                  <a:gd name="T11" fmla="*/ 2147483646 h 35"/>
                  <a:gd name="T12" fmla="*/ 2147483646 w 36"/>
                  <a:gd name="T13" fmla="*/ 2147483646 h 35"/>
                  <a:gd name="T14" fmla="*/ 2147483646 w 36"/>
                  <a:gd name="T15" fmla="*/ 2147483646 h 35"/>
                  <a:gd name="T16" fmla="*/ 2147483646 w 36"/>
                  <a:gd name="T17" fmla="*/ 2147483646 h 35"/>
                  <a:gd name="T18" fmla="*/ 2147483646 w 36"/>
                  <a:gd name="T19" fmla="*/ 2147483646 h 35"/>
                  <a:gd name="T20" fmla="*/ 2147483646 w 36"/>
                  <a:gd name="T21" fmla="*/ 2147483646 h 35"/>
                  <a:gd name="T22" fmla="*/ 2147483646 w 36"/>
                  <a:gd name="T23" fmla="*/ 2147483646 h 35"/>
                  <a:gd name="T24" fmla="*/ 2147483646 w 36"/>
                  <a:gd name="T25" fmla="*/ 2147483646 h 35"/>
                  <a:gd name="T26" fmla="*/ 2147483646 w 36"/>
                  <a:gd name="T27" fmla="*/ 2147483646 h 35"/>
                  <a:gd name="T28" fmla="*/ 2147483646 w 36"/>
                  <a:gd name="T29" fmla="*/ 2147483646 h 35"/>
                  <a:gd name="T30" fmla="*/ 2147483646 w 36"/>
                  <a:gd name="T31" fmla="*/ 2147483646 h 35"/>
                  <a:gd name="T32" fmla="*/ 2147483646 w 36"/>
                  <a:gd name="T33" fmla="*/ 2147483646 h 35"/>
                  <a:gd name="T34" fmla="*/ 2147483646 w 36"/>
                  <a:gd name="T35" fmla="*/ 2147483646 h 35"/>
                  <a:gd name="T36" fmla="*/ 2147483646 w 36"/>
                  <a:gd name="T37" fmla="*/ 2147483646 h 35"/>
                  <a:gd name="T38" fmla="*/ 2147483646 w 36"/>
                  <a:gd name="T39" fmla="*/ 2147483646 h 35"/>
                  <a:gd name="T40" fmla="*/ 2147483646 w 36"/>
                  <a:gd name="T41" fmla="*/ 0 h 35"/>
                  <a:gd name="T42" fmla="*/ 2147483646 w 36"/>
                  <a:gd name="T43" fmla="*/ 0 h 35"/>
                  <a:gd name="T44" fmla="*/ 2147483646 w 36"/>
                  <a:gd name="T45" fmla="*/ 2147483646 h 35"/>
                  <a:gd name="T46" fmla="*/ 0 w 36"/>
                  <a:gd name="T47" fmla="*/ 2147483646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05" name="Freeform 307">
                <a:extLst>
                  <a:ext uri="{FF2B5EF4-FFF2-40B4-BE49-F238E27FC236}">
                    <a16:creationId xmlns:a16="http://schemas.microsoft.com/office/drawing/2014/main" id="{513D5F9D-2867-4F21-9428-FC1AC79AB0D1}"/>
                  </a:ext>
                </a:extLst>
              </p:cNvPr>
              <p:cNvSpPr>
                <a:spLocks/>
              </p:cNvSpPr>
              <p:nvPr/>
            </p:nvSpPr>
            <p:spPr bwMode="auto">
              <a:xfrm>
                <a:off x="4723410" y="3782342"/>
                <a:ext cx="408728" cy="389964"/>
              </a:xfrm>
              <a:custGeom>
                <a:avLst/>
                <a:gdLst>
                  <a:gd name="T0" fmla="*/ 2147483646 w 52"/>
                  <a:gd name="T1" fmla="*/ 2147483646 h 50"/>
                  <a:gd name="T2" fmla="*/ 2147483646 w 52"/>
                  <a:gd name="T3" fmla="*/ 2147483646 h 50"/>
                  <a:gd name="T4" fmla="*/ 2147483646 w 52"/>
                  <a:gd name="T5" fmla="*/ 2147483646 h 50"/>
                  <a:gd name="T6" fmla="*/ 0 w 52"/>
                  <a:gd name="T7" fmla="*/ 2147483646 h 50"/>
                  <a:gd name="T8" fmla="*/ 0 w 52"/>
                  <a:gd name="T9" fmla="*/ 2147483646 h 50"/>
                  <a:gd name="T10" fmla="*/ 2147483646 w 52"/>
                  <a:gd name="T11" fmla="*/ 2147483646 h 50"/>
                  <a:gd name="T12" fmla="*/ 2147483646 w 52"/>
                  <a:gd name="T13" fmla="*/ 2147483646 h 50"/>
                  <a:gd name="T14" fmla="*/ 2147483646 w 52"/>
                  <a:gd name="T15" fmla="*/ 2147483646 h 50"/>
                  <a:gd name="T16" fmla="*/ 2147483646 w 52"/>
                  <a:gd name="T17" fmla="*/ 2147483646 h 50"/>
                  <a:gd name="T18" fmla="*/ 2147483646 w 52"/>
                  <a:gd name="T19" fmla="*/ 2147483646 h 50"/>
                  <a:gd name="T20" fmla="*/ 2147483646 w 52"/>
                  <a:gd name="T21" fmla="*/ 2147483646 h 50"/>
                  <a:gd name="T22" fmla="*/ 2147483646 w 52"/>
                  <a:gd name="T23" fmla="*/ 2147483646 h 50"/>
                  <a:gd name="T24" fmla="*/ 2147483646 w 52"/>
                  <a:gd name="T25" fmla="*/ 2147483646 h 50"/>
                  <a:gd name="T26" fmla="*/ 2147483646 w 52"/>
                  <a:gd name="T27" fmla="*/ 2147483646 h 50"/>
                  <a:gd name="T28" fmla="*/ 2147483646 w 52"/>
                  <a:gd name="T29" fmla="*/ 2147483646 h 50"/>
                  <a:gd name="T30" fmla="*/ 2147483646 w 52"/>
                  <a:gd name="T31" fmla="*/ 2147483646 h 50"/>
                  <a:gd name="T32" fmla="*/ 2147483646 w 52"/>
                  <a:gd name="T33" fmla="*/ 2147483646 h 50"/>
                  <a:gd name="T34" fmla="*/ 2147483646 w 52"/>
                  <a:gd name="T35" fmla="*/ 2147483646 h 50"/>
                  <a:gd name="T36" fmla="*/ 2147483646 w 52"/>
                  <a:gd name="T37" fmla="*/ 2147483646 h 50"/>
                  <a:gd name="T38" fmla="*/ 2147483646 w 52"/>
                  <a:gd name="T39" fmla="*/ 2147483646 h 50"/>
                  <a:gd name="T40" fmla="*/ 2147483646 w 52"/>
                  <a:gd name="T41" fmla="*/ 2147483646 h 50"/>
                  <a:gd name="T42" fmla="*/ 2147483646 w 52"/>
                  <a:gd name="T43" fmla="*/ 2147483646 h 50"/>
                  <a:gd name="T44" fmla="*/ 2147483646 w 52"/>
                  <a:gd name="T45" fmla="*/ 2147483646 h 50"/>
                  <a:gd name="T46" fmla="*/ 2147483646 w 52"/>
                  <a:gd name="T47" fmla="*/ 2147483646 h 50"/>
                  <a:gd name="T48" fmla="*/ 2147483646 w 52"/>
                  <a:gd name="T49" fmla="*/ 2147483646 h 50"/>
                  <a:gd name="T50" fmla="*/ 2147483646 w 52"/>
                  <a:gd name="T51" fmla="*/ 2147483646 h 50"/>
                  <a:gd name="T52" fmla="*/ 2147483646 w 52"/>
                  <a:gd name="T53" fmla="*/ 2147483646 h 50"/>
                  <a:gd name="T54" fmla="*/ 2147483646 w 52"/>
                  <a:gd name="T55" fmla="*/ 2147483646 h 50"/>
                  <a:gd name="T56" fmla="*/ 2147483646 w 52"/>
                  <a:gd name="T57" fmla="*/ 2147483646 h 50"/>
                  <a:gd name="T58" fmla="*/ 2147483646 w 52"/>
                  <a:gd name="T59" fmla="*/ 2147483646 h 50"/>
                  <a:gd name="T60" fmla="*/ 2147483646 w 52"/>
                  <a:gd name="T61" fmla="*/ 2147483646 h 50"/>
                  <a:gd name="T62" fmla="*/ 2147483646 w 52"/>
                  <a:gd name="T63" fmla="*/ 2147483646 h 50"/>
                  <a:gd name="T64" fmla="*/ 2147483646 w 52"/>
                  <a:gd name="T65" fmla="*/ 2147483646 h 50"/>
                  <a:gd name="T66" fmla="*/ 2147483646 w 52"/>
                  <a:gd name="T67" fmla="*/ 0 h 50"/>
                  <a:gd name="T68" fmla="*/ 2147483646 w 52"/>
                  <a:gd name="T69" fmla="*/ 2147483646 h 50"/>
                  <a:gd name="T70" fmla="*/ 2147483646 w 52"/>
                  <a:gd name="T71" fmla="*/ 2147483646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 h="50">
                    <a:moveTo>
                      <a:pt x="4" y="6"/>
                    </a:moveTo>
                    <a:cubicBezTo>
                      <a:pt x="3" y="9"/>
                      <a:pt x="3" y="9"/>
                      <a:pt x="3" y="9"/>
                    </a:cubicBezTo>
                    <a:cubicBezTo>
                      <a:pt x="2" y="10"/>
                      <a:pt x="2" y="10"/>
                      <a:pt x="2" y="10"/>
                    </a:cubicBezTo>
                    <a:cubicBezTo>
                      <a:pt x="0" y="12"/>
                      <a:pt x="0" y="12"/>
                      <a:pt x="0" y="12"/>
                    </a:cubicBezTo>
                    <a:cubicBezTo>
                      <a:pt x="0" y="29"/>
                      <a:pt x="0" y="29"/>
                      <a:pt x="0" y="29"/>
                    </a:cubicBezTo>
                    <a:cubicBezTo>
                      <a:pt x="6" y="34"/>
                      <a:pt x="6" y="34"/>
                      <a:pt x="6" y="34"/>
                    </a:cubicBezTo>
                    <a:cubicBezTo>
                      <a:pt x="9" y="35"/>
                      <a:pt x="9" y="35"/>
                      <a:pt x="9" y="35"/>
                    </a:cubicBezTo>
                    <a:cubicBezTo>
                      <a:pt x="17" y="36"/>
                      <a:pt x="17" y="36"/>
                      <a:pt x="17" y="36"/>
                    </a:cubicBezTo>
                    <a:cubicBezTo>
                      <a:pt x="19" y="38"/>
                      <a:pt x="19" y="38"/>
                      <a:pt x="19" y="38"/>
                    </a:cubicBezTo>
                    <a:cubicBezTo>
                      <a:pt x="23" y="36"/>
                      <a:pt x="23" y="36"/>
                      <a:pt x="23" y="36"/>
                    </a:cubicBezTo>
                    <a:cubicBezTo>
                      <a:pt x="47" y="49"/>
                      <a:pt x="47" y="49"/>
                      <a:pt x="47" y="49"/>
                    </a:cubicBezTo>
                    <a:cubicBezTo>
                      <a:pt x="47" y="48"/>
                      <a:pt x="47" y="48"/>
                      <a:pt x="47" y="48"/>
                    </a:cubicBezTo>
                    <a:cubicBezTo>
                      <a:pt x="47" y="49"/>
                      <a:pt x="47" y="49"/>
                      <a:pt x="47" y="49"/>
                    </a:cubicBezTo>
                    <a:cubicBezTo>
                      <a:pt x="48" y="50"/>
                      <a:pt x="48" y="50"/>
                      <a:pt x="48" y="50"/>
                    </a:cubicBezTo>
                    <a:cubicBezTo>
                      <a:pt x="48" y="47"/>
                      <a:pt x="48" y="47"/>
                      <a:pt x="48" y="47"/>
                    </a:cubicBezTo>
                    <a:cubicBezTo>
                      <a:pt x="51" y="47"/>
                      <a:pt x="51" y="47"/>
                      <a:pt x="51" y="47"/>
                    </a:cubicBezTo>
                    <a:cubicBezTo>
                      <a:pt x="52" y="41"/>
                      <a:pt x="52" y="41"/>
                      <a:pt x="52" y="41"/>
                    </a:cubicBezTo>
                    <a:cubicBezTo>
                      <a:pt x="51" y="41"/>
                      <a:pt x="51" y="41"/>
                      <a:pt x="51" y="41"/>
                    </a:cubicBezTo>
                    <a:cubicBezTo>
                      <a:pt x="50" y="41"/>
                      <a:pt x="51" y="16"/>
                      <a:pt x="51" y="16"/>
                    </a:cubicBezTo>
                    <a:cubicBezTo>
                      <a:pt x="51" y="16"/>
                      <a:pt x="50" y="14"/>
                      <a:pt x="50" y="14"/>
                    </a:cubicBezTo>
                    <a:cubicBezTo>
                      <a:pt x="50" y="13"/>
                      <a:pt x="49" y="11"/>
                      <a:pt x="49" y="11"/>
                    </a:cubicBezTo>
                    <a:cubicBezTo>
                      <a:pt x="50" y="8"/>
                      <a:pt x="50" y="8"/>
                      <a:pt x="50" y="8"/>
                    </a:cubicBezTo>
                    <a:cubicBezTo>
                      <a:pt x="51" y="6"/>
                      <a:pt x="51" y="6"/>
                      <a:pt x="51" y="6"/>
                    </a:cubicBezTo>
                    <a:cubicBezTo>
                      <a:pt x="48" y="5"/>
                      <a:pt x="48" y="5"/>
                      <a:pt x="48" y="5"/>
                    </a:cubicBezTo>
                    <a:cubicBezTo>
                      <a:pt x="45" y="3"/>
                      <a:pt x="45" y="3"/>
                      <a:pt x="45" y="3"/>
                    </a:cubicBezTo>
                    <a:cubicBezTo>
                      <a:pt x="41" y="2"/>
                      <a:pt x="41" y="2"/>
                      <a:pt x="41" y="2"/>
                    </a:cubicBezTo>
                    <a:cubicBezTo>
                      <a:pt x="35" y="4"/>
                      <a:pt x="35" y="4"/>
                      <a:pt x="35" y="4"/>
                    </a:cubicBezTo>
                    <a:cubicBezTo>
                      <a:pt x="35" y="8"/>
                      <a:pt x="35" y="8"/>
                      <a:pt x="35" y="8"/>
                    </a:cubicBezTo>
                    <a:cubicBezTo>
                      <a:pt x="29" y="10"/>
                      <a:pt x="29" y="10"/>
                      <a:pt x="29" y="10"/>
                    </a:cubicBezTo>
                    <a:cubicBezTo>
                      <a:pt x="25" y="7"/>
                      <a:pt x="25" y="7"/>
                      <a:pt x="25" y="7"/>
                    </a:cubicBezTo>
                    <a:cubicBezTo>
                      <a:pt x="22" y="5"/>
                      <a:pt x="22" y="5"/>
                      <a:pt x="22" y="5"/>
                    </a:cubicBezTo>
                    <a:cubicBezTo>
                      <a:pt x="20" y="3"/>
                      <a:pt x="20" y="3"/>
                      <a:pt x="20" y="3"/>
                    </a:cubicBezTo>
                    <a:cubicBezTo>
                      <a:pt x="13" y="2"/>
                      <a:pt x="13" y="2"/>
                      <a:pt x="13" y="2"/>
                    </a:cubicBezTo>
                    <a:cubicBezTo>
                      <a:pt x="8" y="0"/>
                      <a:pt x="8" y="0"/>
                      <a:pt x="8" y="0"/>
                    </a:cubicBezTo>
                    <a:cubicBezTo>
                      <a:pt x="8" y="2"/>
                      <a:pt x="8" y="2"/>
                      <a:pt x="8" y="2"/>
                    </a:cubicBezTo>
                    <a:lnTo>
                      <a:pt x="4" y="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06" name="Freeform 308">
                <a:extLst>
                  <a:ext uri="{FF2B5EF4-FFF2-40B4-BE49-F238E27FC236}">
                    <a16:creationId xmlns:a16="http://schemas.microsoft.com/office/drawing/2014/main" id="{675FAED5-02B0-4864-955E-30E2AD8AF4A6}"/>
                  </a:ext>
                </a:extLst>
              </p:cNvPr>
              <p:cNvSpPr>
                <a:spLocks/>
              </p:cNvSpPr>
              <p:nvPr/>
            </p:nvSpPr>
            <p:spPr bwMode="auto">
              <a:xfrm>
                <a:off x="4683041" y="3666600"/>
                <a:ext cx="102602" cy="194091"/>
              </a:xfrm>
              <a:custGeom>
                <a:avLst/>
                <a:gdLst>
                  <a:gd name="T0" fmla="*/ 2147483646 w 78"/>
                  <a:gd name="T1" fmla="*/ 2147483646 h 150"/>
                  <a:gd name="T2" fmla="*/ 2147483646 w 78"/>
                  <a:gd name="T3" fmla="*/ 2147483646 h 150"/>
                  <a:gd name="T4" fmla="*/ 2147483646 w 78"/>
                  <a:gd name="T5" fmla="*/ 2147483646 h 150"/>
                  <a:gd name="T6" fmla="*/ 0 w 78"/>
                  <a:gd name="T7" fmla="*/ 2147483646 h 150"/>
                  <a:gd name="T8" fmla="*/ 0 w 78"/>
                  <a:gd name="T9" fmla="*/ 2147483646 h 150"/>
                  <a:gd name="T10" fmla="*/ 2147483646 w 78"/>
                  <a:gd name="T11" fmla="*/ 2147483646 h 150"/>
                  <a:gd name="T12" fmla="*/ 2147483646 w 78"/>
                  <a:gd name="T13" fmla="*/ 2147483646 h 150"/>
                  <a:gd name="T14" fmla="*/ 2147483646 w 78"/>
                  <a:gd name="T15" fmla="*/ 2147483646 h 150"/>
                  <a:gd name="T16" fmla="*/ 2147483646 w 78"/>
                  <a:gd name="T17" fmla="*/ 2147483646 h 150"/>
                  <a:gd name="T18" fmla="*/ 2147483646 w 78"/>
                  <a:gd name="T19" fmla="*/ 2147483646 h 150"/>
                  <a:gd name="T20" fmla="*/ 2147483646 w 78"/>
                  <a:gd name="T21" fmla="*/ 2147483646 h 150"/>
                  <a:gd name="T22" fmla="*/ 2147483646 w 78"/>
                  <a:gd name="T23" fmla="*/ 2147483646 h 150"/>
                  <a:gd name="T24" fmla="*/ 2147483646 w 78"/>
                  <a:gd name="T25" fmla="*/ 2147483646 h 150"/>
                  <a:gd name="T26" fmla="*/ 2147483646 w 78"/>
                  <a:gd name="T27" fmla="*/ 2147483646 h 150"/>
                  <a:gd name="T28" fmla="*/ 2147483646 w 78"/>
                  <a:gd name="T29" fmla="*/ 2147483646 h 150"/>
                  <a:gd name="T30" fmla="*/ 2147483646 w 78"/>
                  <a:gd name="T31" fmla="*/ 2147483646 h 150"/>
                  <a:gd name="T32" fmla="*/ 2147483646 w 78"/>
                  <a:gd name="T33" fmla="*/ 2147483646 h 150"/>
                  <a:gd name="T34" fmla="*/ 2147483646 w 78"/>
                  <a:gd name="T35" fmla="*/ 2147483646 h 150"/>
                  <a:gd name="T36" fmla="*/ 2147483646 w 78"/>
                  <a:gd name="T37" fmla="*/ 0 h 150"/>
                  <a:gd name="T38" fmla="*/ 2147483646 w 78"/>
                  <a:gd name="T39" fmla="*/ 0 h 150"/>
                  <a:gd name="T40" fmla="*/ 2147483646 w 78"/>
                  <a:gd name="T41" fmla="*/ 2147483646 h 150"/>
                  <a:gd name="T42" fmla="*/ 2147483646 w 78"/>
                  <a:gd name="T43" fmla="*/ 2147483646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07" name="Freeform 309">
                <a:extLst>
                  <a:ext uri="{FF2B5EF4-FFF2-40B4-BE49-F238E27FC236}">
                    <a16:creationId xmlns:a16="http://schemas.microsoft.com/office/drawing/2014/main" id="{4985E54F-4C76-475C-B263-5807449AD007}"/>
                  </a:ext>
                </a:extLst>
              </p:cNvPr>
              <p:cNvSpPr>
                <a:spLocks/>
              </p:cNvSpPr>
              <p:nvPr/>
            </p:nvSpPr>
            <p:spPr bwMode="auto">
              <a:xfrm>
                <a:off x="4176755" y="3712897"/>
                <a:ext cx="296034" cy="227924"/>
              </a:xfrm>
              <a:custGeom>
                <a:avLst/>
                <a:gdLst>
                  <a:gd name="T0" fmla="*/ 2147483646 w 228"/>
                  <a:gd name="T1" fmla="*/ 2147483646 h 174"/>
                  <a:gd name="T2" fmla="*/ 2147483646 w 228"/>
                  <a:gd name="T3" fmla="*/ 2147483646 h 174"/>
                  <a:gd name="T4" fmla="*/ 2147483646 w 228"/>
                  <a:gd name="T5" fmla="*/ 2147483646 h 174"/>
                  <a:gd name="T6" fmla="*/ 2147483646 w 228"/>
                  <a:gd name="T7" fmla="*/ 2147483646 h 174"/>
                  <a:gd name="T8" fmla="*/ 2147483646 w 228"/>
                  <a:gd name="T9" fmla="*/ 2147483646 h 174"/>
                  <a:gd name="T10" fmla="*/ 2147483646 w 228"/>
                  <a:gd name="T11" fmla="*/ 2147483646 h 174"/>
                  <a:gd name="T12" fmla="*/ 2147483646 w 228"/>
                  <a:gd name="T13" fmla="*/ 2147483646 h 174"/>
                  <a:gd name="T14" fmla="*/ 2147483646 w 228"/>
                  <a:gd name="T15" fmla="*/ 2147483646 h 174"/>
                  <a:gd name="T16" fmla="*/ 2147483646 w 228"/>
                  <a:gd name="T17" fmla="*/ 2147483646 h 174"/>
                  <a:gd name="T18" fmla="*/ 2147483646 w 228"/>
                  <a:gd name="T19" fmla="*/ 2147483646 h 174"/>
                  <a:gd name="T20" fmla="*/ 2147483646 w 228"/>
                  <a:gd name="T21" fmla="*/ 2147483646 h 174"/>
                  <a:gd name="T22" fmla="*/ 2147483646 w 228"/>
                  <a:gd name="T23" fmla="*/ 2147483646 h 174"/>
                  <a:gd name="T24" fmla="*/ 2147483646 w 228"/>
                  <a:gd name="T25" fmla="*/ 2147483646 h 174"/>
                  <a:gd name="T26" fmla="*/ 2147483646 w 228"/>
                  <a:gd name="T27" fmla="*/ 0 h 174"/>
                  <a:gd name="T28" fmla="*/ 2147483646 w 228"/>
                  <a:gd name="T29" fmla="*/ 2147483646 h 174"/>
                  <a:gd name="T30" fmla="*/ 2147483646 w 228"/>
                  <a:gd name="T31" fmla="*/ 2147483646 h 174"/>
                  <a:gd name="T32" fmla="*/ 2147483646 w 228"/>
                  <a:gd name="T33" fmla="*/ 2147483646 h 174"/>
                  <a:gd name="T34" fmla="*/ 2147483646 w 228"/>
                  <a:gd name="T35" fmla="*/ 2147483646 h 174"/>
                  <a:gd name="T36" fmla="*/ 2147483646 w 228"/>
                  <a:gd name="T37" fmla="*/ 2147483646 h 174"/>
                  <a:gd name="T38" fmla="*/ 0 w 228"/>
                  <a:gd name="T39" fmla="*/ 2147483646 h 174"/>
                  <a:gd name="T40" fmla="*/ 2147483646 w 228"/>
                  <a:gd name="T41" fmla="*/ 2147483646 h 174"/>
                  <a:gd name="T42" fmla="*/ 2147483646 w 228"/>
                  <a:gd name="T43" fmla="*/ 2147483646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40" name="Freeform 310">
                <a:extLst>
                  <a:ext uri="{FF2B5EF4-FFF2-40B4-BE49-F238E27FC236}">
                    <a16:creationId xmlns:a16="http://schemas.microsoft.com/office/drawing/2014/main" id="{7896887A-CE5A-4115-A909-0335E83E7CDD}"/>
                  </a:ext>
                </a:extLst>
              </p:cNvPr>
              <p:cNvSpPr>
                <a:spLocks/>
              </p:cNvSpPr>
              <p:nvPr/>
            </p:nvSpPr>
            <p:spPr bwMode="auto">
              <a:xfrm>
                <a:off x="4087813" y="3940175"/>
                <a:ext cx="204787" cy="177800"/>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rgbClr val="FF0000"/>
              </a:solidFill>
              <a:ln w="9525">
                <a:solidFill>
                  <a:schemeClr val="bg1"/>
                </a:solidFill>
                <a:round/>
                <a:headEnd/>
                <a:tailEnd/>
              </a:ln>
            </p:spPr>
            <p:txBody>
              <a:bodyPr/>
              <a:lstStyle/>
              <a:p>
                <a:endParaRPr lang="el-GR"/>
              </a:p>
            </p:txBody>
          </p:sp>
          <p:sp>
            <p:nvSpPr>
              <p:cNvPr id="83041" name="Freeform 311">
                <a:extLst>
                  <a:ext uri="{FF2B5EF4-FFF2-40B4-BE49-F238E27FC236}">
                    <a16:creationId xmlns:a16="http://schemas.microsoft.com/office/drawing/2014/main" id="{257EA1BD-D7E6-42EB-8F20-502BE8C2FB50}"/>
                  </a:ext>
                </a:extLst>
              </p:cNvPr>
              <p:cNvSpPr>
                <a:spLocks/>
              </p:cNvSpPr>
              <p:nvPr/>
            </p:nvSpPr>
            <p:spPr bwMode="auto">
              <a:xfrm>
                <a:off x="4097338" y="4337050"/>
                <a:ext cx="61912" cy="47625"/>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rgbClr val="FF0000"/>
              </a:solidFill>
              <a:ln w="9525">
                <a:solidFill>
                  <a:schemeClr val="bg1"/>
                </a:solidFill>
                <a:round/>
                <a:headEnd/>
                <a:tailEnd/>
              </a:ln>
            </p:spPr>
            <p:txBody>
              <a:bodyPr/>
              <a:lstStyle/>
              <a:p>
                <a:endParaRPr lang="el-GR"/>
              </a:p>
            </p:txBody>
          </p:sp>
          <p:sp>
            <p:nvSpPr>
              <p:cNvPr id="83042" name="Freeform 312">
                <a:extLst>
                  <a:ext uri="{FF2B5EF4-FFF2-40B4-BE49-F238E27FC236}">
                    <a16:creationId xmlns:a16="http://schemas.microsoft.com/office/drawing/2014/main" id="{4966BA7B-183B-48BF-9D64-FA52FE4DB2AF}"/>
                  </a:ext>
                </a:extLst>
              </p:cNvPr>
              <p:cNvSpPr>
                <a:spLocks/>
              </p:cNvSpPr>
              <p:nvPr/>
            </p:nvSpPr>
            <p:spPr bwMode="auto">
              <a:xfrm>
                <a:off x="5046663" y="4065588"/>
                <a:ext cx="406400" cy="498475"/>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rgbClr val="FF0000"/>
              </a:solidFill>
              <a:ln w="9525">
                <a:solidFill>
                  <a:schemeClr val="bg1"/>
                </a:solidFill>
                <a:round/>
                <a:headEnd/>
                <a:tailEnd/>
              </a:ln>
            </p:spPr>
            <p:txBody>
              <a:bodyPr/>
              <a:lstStyle/>
              <a:p>
                <a:endParaRPr lang="el-GR"/>
              </a:p>
            </p:txBody>
          </p:sp>
          <p:sp>
            <p:nvSpPr>
              <p:cNvPr id="83043" name="Freeform 313">
                <a:extLst>
                  <a:ext uri="{FF2B5EF4-FFF2-40B4-BE49-F238E27FC236}">
                    <a16:creationId xmlns:a16="http://schemas.microsoft.com/office/drawing/2014/main" id="{5CE58197-A1B5-4841-A3EE-59DC6A006A1B}"/>
                  </a:ext>
                </a:extLst>
              </p:cNvPr>
              <p:cNvSpPr>
                <a:spLocks/>
              </p:cNvSpPr>
              <p:nvPr/>
            </p:nvSpPr>
            <p:spPr bwMode="auto">
              <a:xfrm>
                <a:off x="4292600" y="4392613"/>
                <a:ext cx="149225" cy="147637"/>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rgbClr val="FF0000"/>
              </a:solidFill>
              <a:ln w="9525">
                <a:solidFill>
                  <a:schemeClr val="bg1"/>
                </a:solidFill>
                <a:round/>
                <a:headEnd/>
                <a:tailEnd/>
              </a:ln>
            </p:spPr>
            <p:txBody>
              <a:bodyPr/>
              <a:lstStyle/>
              <a:p>
                <a:endParaRPr lang="el-GR"/>
              </a:p>
            </p:txBody>
          </p:sp>
          <p:sp>
            <p:nvSpPr>
              <p:cNvPr id="83044" name="Freeform 314">
                <a:extLst>
                  <a:ext uri="{FF2B5EF4-FFF2-40B4-BE49-F238E27FC236}">
                    <a16:creationId xmlns:a16="http://schemas.microsoft.com/office/drawing/2014/main" id="{740C5878-A8AE-4FC6-869B-489D3FF32D9E}"/>
                  </a:ext>
                </a:extLst>
              </p:cNvPr>
              <p:cNvSpPr>
                <a:spLocks/>
              </p:cNvSpPr>
              <p:nvPr/>
            </p:nvSpPr>
            <p:spPr bwMode="auto">
              <a:xfrm>
                <a:off x="4216400" y="4448175"/>
                <a:ext cx="106363" cy="92075"/>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rgbClr val="FF0000"/>
              </a:solidFill>
              <a:ln w="9525">
                <a:solidFill>
                  <a:schemeClr val="bg1"/>
                </a:solidFill>
                <a:round/>
                <a:headEnd/>
                <a:tailEnd/>
              </a:ln>
            </p:spPr>
            <p:txBody>
              <a:bodyPr/>
              <a:lstStyle/>
              <a:p>
                <a:endParaRPr lang="el-GR"/>
              </a:p>
            </p:txBody>
          </p:sp>
          <p:sp>
            <p:nvSpPr>
              <p:cNvPr id="83045" name="Freeform 315">
                <a:extLst>
                  <a:ext uri="{FF2B5EF4-FFF2-40B4-BE49-F238E27FC236}">
                    <a16:creationId xmlns:a16="http://schemas.microsoft.com/office/drawing/2014/main" id="{5EABBAC5-269F-4D67-AE03-C67D48A1A00E}"/>
                  </a:ext>
                </a:extLst>
              </p:cNvPr>
              <p:cNvSpPr>
                <a:spLocks/>
              </p:cNvSpPr>
              <p:nvPr/>
            </p:nvSpPr>
            <p:spPr bwMode="auto">
              <a:xfrm>
                <a:off x="4167188" y="4416425"/>
                <a:ext cx="79375" cy="69850"/>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rgbClr val="FF0000"/>
              </a:solidFill>
              <a:ln w="9525">
                <a:solidFill>
                  <a:schemeClr val="bg1"/>
                </a:solidFill>
                <a:round/>
                <a:headEnd/>
                <a:tailEnd/>
              </a:ln>
            </p:spPr>
            <p:txBody>
              <a:bodyPr/>
              <a:lstStyle/>
              <a:p>
                <a:endParaRPr lang="el-GR"/>
              </a:p>
            </p:txBody>
          </p:sp>
          <p:sp>
            <p:nvSpPr>
              <p:cNvPr id="83046" name="Rectangle 316">
                <a:extLst>
                  <a:ext uri="{FF2B5EF4-FFF2-40B4-BE49-F238E27FC236}">
                    <a16:creationId xmlns:a16="http://schemas.microsoft.com/office/drawing/2014/main" id="{8D62FE9A-8065-4C35-80A6-88D1D008BE93}"/>
                  </a:ext>
                </a:extLst>
              </p:cNvPr>
              <p:cNvSpPr>
                <a:spLocks noChangeArrowheads="1"/>
              </p:cNvSpPr>
              <p:nvPr/>
            </p:nvSpPr>
            <p:spPr bwMode="auto">
              <a:xfrm>
                <a:off x="4283075" y="3940175"/>
                <a:ext cx="9525" cy="23813"/>
              </a:xfrm>
              <a:prstGeom prst="rect">
                <a:avLst/>
              </a:prstGeom>
              <a:solidFill>
                <a:schemeClr val="bg1"/>
              </a:solidFill>
              <a:ln w="9525">
                <a:solidFill>
                  <a:schemeClr val="bg2"/>
                </a:solidFill>
                <a:miter lim="800000"/>
                <a:headEnd/>
                <a:tailEnd/>
              </a:ln>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ct val="15000"/>
                  </a:spcBef>
                </a:pPr>
                <a:endParaRPr lang="en-US" altLang="en-US" sz="1400">
                  <a:solidFill>
                    <a:srgbClr val="FFFFFF"/>
                  </a:solidFill>
                  <a:latin typeface="Arial" panose="020B0604020202020204" pitchFamily="34" charset="0"/>
                  <a:ea typeface="ＭＳ Ｐゴシック" panose="020B0600070205080204" pitchFamily="34" charset="-128"/>
                </a:endParaRPr>
              </a:p>
            </p:txBody>
          </p:sp>
          <p:sp>
            <p:nvSpPr>
              <p:cNvPr id="83047" name="Freeform 317">
                <a:extLst>
                  <a:ext uri="{FF2B5EF4-FFF2-40B4-BE49-F238E27FC236}">
                    <a16:creationId xmlns:a16="http://schemas.microsoft.com/office/drawing/2014/main" id="{90B8F6B5-0026-4DA5-B0FD-B8C6A35ACA50}"/>
                  </a:ext>
                </a:extLst>
              </p:cNvPr>
              <p:cNvSpPr>
                <a:spLocks/>
              </p:cNvSpPr>
              <p:nvPr/>
            </p:nvSpPr>
            <p:spPr bwMode="auto">
              <a:xfrm>
                <a:off x="4283075" y="3667125"/>
                <a:ext cx="512763" cy="504825"/>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chemeClr val="bg1"/>
              </a:solidFill>
              <a:ln w="9525">
                <a:solidFill>
                  <a:schemeClr val="bg2"/>
                </a:solidFill>
                <a:round/>
                <a:headEnd/>
                <a:tailEnd/>
              </a:ln>
            </p:spPr>
            <p:txBody>
              <a:bodyPr/>
              <a:lstStyle/>
              <a:p>
                <a:endParaRPr lang="el-GR"/>
              </a:p>
            </p:txBody>
          </p:sp>
          <p:sp>
            <p:nvSpPr>
              <p:cNvPr id="116" name="Freeform 318">
                <a:extLst>
                  <a:ext uri="{FF2B5EF4-FFF2-40B4-BE49-F238E27FC236}">
                    <a16:creationId xmlns:a16="http://schemas.microsoft.com/office/drawing/2014/main" id="{6494B3D4-DAB1-4775-AE2D-0A44B1C35BF5}"/>
                  </a:ext>
                </a:extLst>
              </p:cNvPr>
              <p:cNvSpPr>
                <a:spLocks/>
              </p:cNvSpPr>
              <p:nvPr/>
            </p:nvSpPr>
            <p:spPr bwMode="auto">
              <a:xfrm>
                <a:off x="4282723" y="3666600"/>
                <a:ext cx="513013" cy="505706"/>
              </a:xfrm>
              <a:custGeom>
                <a:avLst/>
                <a:gdLst>
                  <a:gd name="T0" fmla="*/ 2147483646 w 390"/>
                  <a:gd name="T1" fmla="*/ 2147483646 h 390"/>
                  <a:gd name="T2" fmla="*/ 2147483646 w 390"/>
                  <a:gd name="T3" fmla="*/ 2147483646 h 390"/>
                  <a:gd name="T4" fmla="*/ 2147483646 w 390"/>
                  <a:gd name="T5" fmla="*/ 2147483646 h 390"/>
                  <a:gd name="T6" fmla="*/ 2147483646 w 390"/>
                  <a:gd name="T7" fmla="*/ 2147483646 h 390"/>
                  <a:gd name="T8" fmla="*/ 2147483646 w 390"/>
                  <a:gd name="T9" fmla="*/ 2147483646 h 390"/>
                  <a:gd name="T10" fmla="*/ 2147483646 w 390"/>
                  <a:gd name="T11" fmla="*/ 2147483646 h 390"/>
                  <a:gd name="T12" fmla="*/ 2147483646 w 390"/>
                  <a:gd name="T13" fmla="*/ 2147483646 h 390"/>
                  <a:gd name="T14" fmla="*/ 2147483646 w 390"/>
                  <a:gd name="T15" fmla="*/ 2147483646 h 390"/>
                  <a:gd name="T16" fmla="*/ 2147483646 w 390"/>
                  <a:gd name="T17" fmla="*/ 2147483646 h 390"/>
                  <a:gd name="T18" fmla="*/ 2147483646 w 390"/>
                  <a:gd name="T19" fmla="*/ 2147483646 h 390"/>
                  <a:gd name="T20" fmla="*/ 2147483646 w 390"/>
                  <a:gd name="T21" fmla="*/ 2147483646 h 390"/>
                  <a:gd name="T22" fmla="*/ 2147483646 w 390"/>
                  <a:gd name="T23" fmla="*/ 2147483646 h 390"/>
                  <a:gd name="T24" fmla="*/ 2147483646 w 390"/>
                  <a:gd name="T25" fmla="*/ 2147483646 h 390"/>
                  <a:gd name="T26" fmla="*/ 2147483646 w 390"/>
                  <a:gd name="T27" fmla="*/ 2147483646 h 390"/>
                  <a:gd name="T28" fmla="*/ 2147483646 w 390"/>
                  <a:gd name="T29" fmla="*/ 2147483646 h 390"/>
                  <a:gd name="T30" fmla="*/ 2147483646 w 390"/>
                  <a:gd name="T31" fmla="*/ 2147483646 h 390"/>
                  <a:gd name="T32" fmla="*/ 2147483646 w 390"/>
                  <a:gd name="T33" fmla="*/ 2147483646 h 390"/>
                  <a:gd name="T34" fmla="*/ 2147483646 w 390"/>
                  <a:gd name="T35" fmla="*/ 2147483646 h 390"/>
                  <a:gd name="T36" fmla="*/ 2147483646 w 390"/>
                  <a:gd name="T37" fmla="*/ 2147483646 h 390"/>
                  <a:gd name="T38" fmla="*/ 2147483646 w 390"/>
                  <a:gd name="T39" fmla="*/ 2147483646 h 390"/>
                  <a:gd name="T40" fmla="*/ 2147483646 w 390"/>
                  <a:gd name="T41" fmla="*/ 2147483646 h 390"/>
                  <a:gd name="T42" fmla="*/ 2147483646 w 390"/>
                  <a:gd name="T43" fmla="*/ 2147483646 h 390"/>
                  <a:gd name="T44" fmla="*/ 2147483646 w 390"/>
                  <a:gd name="T45" fmla="*/ 2147483646 h 390"/>
                  <a:gd name="T46" fmla="*/ 2147483646 w 390"/>
                  <a:gd name="T47" fmla="*/ 2147483646 h 390"/>
                  <a:gd name="T48" fmla="*/ 2147483646 w 390"/>
                  <a:gd name="T49" fmla="*/ 0 h 390"/>
                  <a:gd name="T50" fmla="*/ 2147483646 w 390"/>
                  <a:gd name="T51" fmla="*/ 2147483646 h 390"/>
                  <a:gd name="T52" fmla="*/ 2147483646 w 390"/>
                  <a:gd name="T53" fmla="*/ 2147483646 h 390"/>
                  <a:gd name="T54" fmla="*/ 2147483646 w 390"/>
                  <a:gd name="T55" fmla="*/ 2147483646 h 390"/>
                  <a:gd name="T56" fmla="*/ 2147483646 w 390"/>
                  <a:gd name="T57" fmla="*/ 2147483646 h 390"/>
                  <a:gd name="T58" fmla="*/ 2147483646 w 390"/>
                  <a:gd name="T59" fmla="*/ 2147483646 h 390"/>
                  <a:gd name="T60" fmla="*/ 2147483646 w 390"/>
                  <a:gd name="T61" fmla="*/ 2147483646 h 390"/>
                  <a:gd name="T62" fmla="*/ 2147483646 w 390"/>
                  <a:gd name="T63" fmla="*/ 2147483646 h 390"/>
                  <a:gd name="T64" fmla="*/ 2147483646 w 390"/>
                  <a:gd name="T65" fmla="*/ 2147483646 h 390"/>
                  <a:gd name="T66" fmla="*/ 2147483646 w 390"/>
                  <a:gd name="T67" fmla="*/ 2147483646 h 390"/>
                  <a:gd name="T68" fmla="*/ 2147483646 w 390"/>
                  <a:gd name="T69" fmla="*/ 2147483646 h 390"/>
                  <a:gd name="T70" fmla="*/ 2147483646 w 390"/>
                  <a:gd name="T71" fmla="*/ 2147483646 h 390"/>
                  <a:gd name="T72" fmla="*/ 2147483646 w 390"/>
                  <a:gd name="T73" fmla="*/ 2147483646 h 390"/>
                  <a:gd name="T74" fmla="*/ 2147483646 w 390"/>
                  <a:gd name="T75" fmla="*/ 2147483646 h 390"/>
                  <a:gd name="T76" fmla="*/ 2147483646 w 390"/>
                  <a:gd name="T77" fmla="*/ 2147483646 h 390"/>
                  <a:gd name="T78" fmla="*/ 0 w 390"/>
                  <a:gd name="T79" fmla="*/ 2147483646 h 390"/>
                  <a:gd name="T80" fmla="*/ 2147483646 w 390"/>
                  <a:gd name="T81" fmla="*/ 2147483646 h 390"/>
                  <a:gd name="T82" fmla="*/ 2147483646 w 390"/>
                  <a:gd name="T83" fmla="*/ 2147483646 h 390"/>
                  <a:gd name="T84" fmla="*/ 2147483646 w 390"/>
                  <a:gd name="T85" fmla="*/ 2147483646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49" name="Freeform 334">
                <a:extLst>
                  <a:ext uri="{FF2B5EF4-FFF2-40B4-BE49-F238E27FC236}">
                    <a16:creationId xmlns:a16="http://schemas.microsoft.com/office/drawing/2014/main" id="{6E421A29-BCD3-40D2-B221-6A151CC76C8F}"/>
                  </a:ext>
                </a:extLst>
              </p:cNvPr>
              <p:cNvSpPr>
                <a:spLocks/>
              </p:cNvSpPr>
              <p:nvPr/>
            </p:nvSpPr>
            <p:spPr bwMode="auto">
              <a:xfrm>
                <a:off x="5013325" y="2206625"/>
                <a:ext cx="266700" cy="585788"/>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rgbClr val="92D050"/>
              </a:solidFill>
              <a:ln w="9525">
                <a:solidFill>
                  <a:schemeClr val="bg1"/>
                </a:solidFill>
                <a:round/>
                <a:headEnd/>
                <a:tailEnd/>
              </a:ln>
            </p:spPr>
            <p:txBody>
              <a:bodyPr/>
              <a:lstStyle/>
              <a:p>
                <a:endParaRPr lang="el-GR"/>
              </a:p>
            </p:txBody>
          </p:sp>
          <p:sp>
            <p:nvSpPr>
              <p:cNvPr id="83050" name="Freeform 335">
                <a:extLst>
                  <a:ext uri="{FF2B5EF4-FFF2-40B4-BE49-F238E27FC236}">
                    <a16:creationId xmlns:a16="http://schemas.microsoft.com/office/drawing/2014/main" id="{EE90C6AF-8F10-4240-B894-F0FC2678A87F}"/>
                  </a:ext>
                </a:extLst>
              </p:cNvPr>
              <p:cNvSpPr>
                <a:spLocks/>
              </p:cNvSpPr>
              <p:nvPr/>
            </p:nvSpPr>
            <p:spPr bwMode="auto">
              <a:xfrm>
                <a:off x="5287963" y="3135313"/>
                <a:ext cx="15875" cy="7937"/>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solidFill>
                <a:schemeClr val="bg1"/>
              </a:solidFill>
              <a:ln w="9525">
                <a:solidFill>
                  <a:schemeClr val="bg2"/>
                </a:solidFill>
                <a:round/>
                <a:headEnd/>
                <a:tailEnd/>
              </a:ln>
            </p:spPr>
            <p:txBody>
              <a:bodyPr/>
              <a:lstStyle/>
              <a:p>
                <a:endParaRPr lang="el-GR"/>
              </a:p>
            </p:txBody>
          </p:sp>
          <p:sp>
            <p:nvSpPr>
              <p:cNvPr id="119" name="Freeform 336">
                <a:extLst>
                  <a:ext uri="{FF2B5EF4-FFF2-40B4-BE49-F238E27FC236}">
                    <a16:creationId xmlns:a16="http://schemas.microsoft.com/office/drawing/2014/main" id="{7458FECE-2F9D-44CE-8F7C-42844E34F860}"/>
                  </a:ext>
                </a:extLst>
              </p:cNvPr>
              <p:cNvSpPr>
                <a:spLocks/>
              </p:cNvSpPr>
              <p:nvPr/>
            </p:nvSpPr>
            <p:spPr bwMode="auto">
              <a:xfrm>
                <a:off x="5185962" y="1549400"/>
                <a:ext cx="3792938" cy="2029948"/>
              </a:xfrm>
              <a:custGeom>
                <a:avLst/>
                <a:gdLst>
                  <a:gd name="T0" fmla="*/ 2147483646 w 483"/>
                  <a:gd name="T1" fmla="*/ 2147483646 h 260"/>
                  <a:gd name="T2" fmla="*/ 2147483646 w 483"/>
                  <a:gd name="T3" fmla="*/ 2147483646 h 260"/>
                  <a:gd name="T4" fmla="*/ 2147483646 w 483"/>
                  <a:gd name="T5" fmla="*/ 2147483646 h 260"/>
                  <a:gd name="T6" fmla="*/ 2147483646 w 483"/>
                  <a:gd name="T7" fmla="*/ 2147483646 h 260"/>
                  <a:gd name="T8" fmla="*/ 2147483646 w 483"/>
                  <a:gd name="T9" fmla="*/ 2147483646 h 260"/>
                  <a:gd name="T10" fmla="*/ 2147483646 w 483"/>
                  <a:gd name="T11" fmla="*/ 2147483646 h 260"/>
                  <a:gd name="T12" fmla="*/ 2147483646 w 483"/>
                  <a:gd name="T13" fmla="*/ 2147483646 h 260"/>
                  <a:gd name="T14" fmla="*/ 2147483646 w 483"/>
                  <a:gd name="T15" fmla="*/ 2147483646 h 260"/>
                  <a:gd name="T16" fmla="*/ 2147483646 w 483"/>
                  <a:gd name="T17" fmla="*/ 2147483646 h 260"/>
                  <a:gd name="T18" fmla="*/ 2147483646 w 483"/>
                  <a:gd name="T19" fmla="*/ 2147483646 h 260"/>
                  <a:gd name="T20" fmla="*/ 2147483646 w 483"/>
                  <a:gd name="T21" fmla="*/ 2147483646 h 260"/>
                  <a:gd name="T22" fmla="*/ 2147483646 w 483"/>
                  <a:gd name="T23" fmla="*/ 2147483646 h 260"/>
                  <a:gd name="T24" fmla="*/ 2147483646 w 483"/>
                  <a:gd name="T25" fmla="*/ 2147483646 h 260"/>
                  <a:gd name="T26" fmla="*/ 2147483646 w 483"/>
                  <a:gd name="T27" fmla="*/ 2147483646 h 260"/>
                  <a:gd name="T28" fmla="*/ 2147483646 w 483"/>
                  <a:gd name="T29" fmla="*/ 2147483646 h 260"/>
                  <a:gd name="T30" fmla="*/ 2147483646 w 483"/>
                  <a:gd name="T31" fmla="*/ 2147483646 h 260"/>
                  <a:gd name="T32" fmla="*/ 2147483646 w 483"/>
                  <a:gd name="T33" fmla="*/ 2147483646 h 260"/>
                  <a:gd name="T34" fmla="*/ 2147483646 w 483"/>
                  <a:gd name="T35" fmla="*/ 2147483646 h 260"/>
                  <a:gd name="T36" fmla="*/ 2147483646 w 483"/>
                  <a:gd name="T37" fmla="*/ 2147483646 h 260"/>
                  <a:gd name="T38" fmla="*/ 2147483646 w 483"/>
                  <a:gd name="T39" fmla="*/ 2147483646 h 260"/>
                  <a:gd name="T40" fmla="*/ 2147483646 w 483"/>
                  <a:gd name="T41" fmla="*/ 2147483646 h 260"/>
                  <a:gd name="T42" fmla="*/ 2147483646 w 483"/>
                  <a:gd name="T43" fmla="*/ 2147483646 h 260"/>
                  <a:gd name="T44" fmla="*/ 2147483646 w 483"/>
                  <a:gd name="T45" fmla="*/ 2147483646 h 260"/>
                  <a:gd name="T46" fmla="*/ 2147483646 w 483"/>
                  <a:gd name="T47" fmla="*/ 2147483646 h 260"/>
                  <a:gd name="T48" fmla="*/ 2147483646 w 483"/>
                  <a:gd name="T49" fmla="*/ 2147483646 h 260"/>
                  <a:gd name="T50" fmla="*/ 2147483646 w 483"/>
                  <a:gd name="T51" fmla="*/ 2147483646 h 260"/>
                  <a:gd name="T52" fmla="*/ 2147483646 w 483"/>
                  <a:gd name="T53" fmla="*/ 2147483646 h 260"/>
                  <a:gd name="T54" fmla="*/ 2147483646 w 483"/>
                  <a:gd name="T55" fmla="*/ 2147483646 h 260"/>
                  <a:gd name="T56" fmla="*/ 2147483646 w 483"/>
                  <a:gd name="T57" fmla="*/ 2147483646 h 260"/>
                  <a:gd name="T58" fmla="*/ 2147483646 w 483"/>
                  <a:gd name="T59" fmla="*/ 2147483646 h 260"/>
                  <a:gd name="T60" fmla="*/ 2147483646 w 483"/>
                  <a:gd name="T61" fmla="*/ 2147483646 h 260"/>
                  <a:gd name="T62" fmla="*/ 2147483646 w 483"/>
                  <a:gd name="T63" fmla="*/ 2147483646 h 260"/>
                  <a:gd name="T64" fmla="*/ 2147483646 w 483"/>
                  <a:gd name="T65" fmla="*/ 2147483646 h 260"/>
                  <a:gd name="T66" fmla="*/ 2147483646 w 483"/>
                  <a:gd name="T67" fmla="*/ 2147483646 h 260"/>
                  <a:gd name="T68" fmla="*/ 2147483646 w 483"/>
                  <a:gd name="T69" fmla="*/ 2147483646 h 260"/>
                  <a:gd name="T70" fmla="*/ 2147483646 w 483"/>
                  <a:gd name="T71" fmla="*/ 2147483646 h 260"/>
                  <a:gd name="T72" fmla="*/ 2147483646 w 483"/>
                  <a:gd name="T73" fmla="*/ 2147483646 h 260"/>
                  <a:gd name="T74" fmla="*/ 2147483646 w 483"/>
                  <a:gd name="T75" fmla="*/ 2147483646 h 260"/>
                  <a:gd name="T76" fmla="*/ 2147483646 w 483"/>
                  <a:gd name="T77" fmla="*/ 2147483646 h 260"/>
                  <a:gd name="T78" fmla="*/ 2147483646 w 483"/>
                  <a:gd name="T79" fmla="*/ 2147483646 h 260"/>
                  <a:gd name="T80" fmla="*/ 2147483646 w 483"/>
                  <a:gd name="T81" fmla="*/ 2147483646 h 260"/>
                  <a:gd name="T82" fmla="*/ 2147483646 w 483"/>
                  <a:gd name="T83" fmla="*/ 2147483646 h 260"/>
                  <a:gd name="T84" fmla="*/ 2147483646 w 483"/>
                  <a:gd name="T85" fmla="*/ 2147483646 h 260"/>
                  <a:gd name="T86" fmla="*/ 2147483646 w 483"/>
                  <a:gd name="T87" fmla="*/ 2147483646 h 260"/>
                  <a:gd name="T88" fmla="*/ 2147483646 w 483"/>
                  <a:gd name="T89" fmla="*/ 2147483646 h 260"/>
                  <a:gd name="T90" fmla="*/ 2147483646 w 483"/>
                  <a:gd name="T91" fmla="*/ 2147483646 h 260"/>
                  <a:gd name="T92" fmla="*/ 2147483646 w 483"/>
                  <a:gd name="T93" fmla="*/ 2147483646 h 260"/>
                  <a:gd name="T94" fmla="*/ 2147483646 w 483"/>
                  <a:gd name="T95" fmla="*/ 2147483646 h 260"/>
                  <a:gd name="T96" fmla="*/ 2147483646 w 483"/>
                  <a:gd name="T97" fmla="*/ 2147483646 h 260"/>
                  <a:gd name="T98" fmla="*/ 2147483646 w 483"/>
                  <a:gd name="T99" fmla="*/ 2147483646 h 260"/>
                  <a:gd name="T100" fmla="*/ 2147483646 w 483"/>
                  <a:gd name="T101" fmla="*/ 2147483646 h 260"/>
                  <a:gd name="T102" fmla="*/ 2147483646 w 483"/>
                  <a:gd name="T103" fmla="*/ 2147483646 h 260"/>
                  <a:gd name="T104" fmla="*/ 2147483646 w 483"/>
                  <a:gd name="T105" fmla="*/ 2147483646 h 260"/>
                  <a:gd name="T106" fmla="*/ 2147483646 w 483"/>
                  <a:gd name="T107" fmla="*/ 2147483646 h 260"/>
                  <a:gd name="T108" fmla="*/ 2147483646 w 483"/>
                  <a:gd name="T109" fmla="*/ 2147483646 h 260"/>
                  <a:gd name="T110" fmla="*/ 2147483646 w 483"/>
                  <a:gd name="T111" fmla="*/ 2147483646 h 260"/>
                  <a:gd name="T112" fmla="*/ 2147483646 w 483"/>
                  <a:gd name="T113" fmla="*/ 2147483646 h 260"/>
                  <a:gd name="T114" fmla="*/ 2147483646 w 483"/>
                  <a:gd name="T115" fmla="*/ 2147483646 h 260"/>
                  <a:gd name="T116" fmla="*/ 2147483646 w 483"/>
                  <a:gd name="T117" fmla="*/ 2147483646 h 260"/>
                  <a:gd name="T118" fmla="*/ 2147483646 w 483"/>
                  <a:gd name="T119" fmla="*/ 2147483646 h 260"/>
                  <a:gd name="T120" fmla="*/ 2147483646 w 483"/>
                  <a:gd name="T121" fmla="*/ 2147483646 h 260"/>
                  <a:gd name="T122" fmla="*/ 2147483646 w 483"/>
                  <a:gd name="T123" fmla="*/ 2147483646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52" name="Rectangle 340">
                <a:extLst>
                  <a:ext uri="{FF2B5EF4-FFF2-40B4-BE49-F238E27FC236}">
                    <a16:creationId xmlns:a16="http://schemas.microsoft.com/office/drawing/2014/main" id="{6F56514B-F1D8-4BA7-9C7B-156A886B9BE5}"/>
                  </a:ext>
                </a:extLst>
              </p:cNvPr>
              <p:cNvSpPr>
                <a:spLocks noChangeArrowheads="1"/>
              </p:cNvSpPr>
              <p:nvPr/>
            </p:nvSpPr>
            <p:spPr bwMode="auto">
              <a:xfrm>
                <a:off x="4903788" y="3275013"/>
                <a:ext cx="9525" cy="1587"/>
              </a:xfrm>
              <a:prstGeom prst="rect">
                <a:avLst/>
              </a:prstGeom>
              <a:solidFill>
                <a:srgbClr val="92D050"/>
              </a:solidFill>
              <a:ln w="9525">
                <a:solidFill>
                  <a:schemeClr val="bg1"/>
                </a:solidFill>
                <a:round/>
                <a:headEnd/>
                <a:tailEnd/>
              </a:ln>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endParaRPr lang="en-US" altLang="en-US">
                  <a:solidFill>
                    <a:srgbClr val="000000"/>
                  </a:solidFill>
                </a:endParaRPr>
              </a:p>
            </p:txBody>
          </p:sp>
          <p:sp>
            <p:nvSpPr>
              <p:cNvPr id="83053" name="Freeform 347">
                <a:extLst>
                  <a:ext uri="{FF2B5EF4-FFF2-40B4-BE49-F238E27FC236}">
                    <a16:creationId xmlns:a16="http://schemas.microsoft.com/office/drawing/2014/main" id="{485A2525-144E-4FE9-9132-34248F63337F}"/>
                  </a:ext>
                </a:extLst>
              </p:cNvPr>
              <p:cNvSpPr>
                <a:spLocks/>
              </p:cNvSpPr>
              <p:nvPr/>
            </p:nvSpPr>
            <p:spPr bwMode="auto">
              <a:xfrm>
                <a:off x="4616450" y="2119313"/>
                <a:ext cx="649288" cy="766762"/>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rgbClr val="92D050"/>
              </a:solidFill>
              <a:ln w="9525">
                <a:solidFill>
                  <a:schemeClr val="bg1"/>
                </a:solidFill>
                <a:round/>
                <a:headEnd/>
                <a:tailEnd/>
              </a:ln>
            </p:spPr>
            <p:txBody>
              <a:bodyPr/>
              <a:lstStyle/>
              <a:p>
                <a:endParaRPr lang="el-GR"/>
              </a:p>
            </p:txBody>
          </p:sp>
          <p:sp>
            <p:nvSpPr>
              <p:cNvPr id="83054" name="Freeform 348">
                <a:extLst>
                  <a:ext uri="{FF2B5EF4-FFF2-40B4-BE49-F238E27FC236}">
                    <a16:creationId xmlns:a16="http://schemas.microsoft.com/office/drawing/2014/main" id="{D7D956C3-23FF-40CB-A982-510AE03D46C6}"/>
                  </a:ext>
                </a:extLst>
              </p:cNvPr>
              <p:cNvSpPr>
                <a:spLocks/>
              </p:cNvSpPr>
              <p:nvPr/>
            </p:nvSpPr>
            <p:spPr bwMode="auto">
              <a:xfrm>
                <a:off x="4772025" y="2268538"/>
                <a:ext cx="320675" cy="733425"/>
              </a:xfrm>
              <a:custGeom>
                <a:avLst/>
                <a:gdLst>
                  <a:gd name="T0" fmla="*/ 2147483647 w 10000"/>
                  <a:gd name="T1" fmla="*/ 2147483647 h 9895"/>
                  <a:gd name="T2" fmla="*/ 2147483647 w 10000"/>
                  <a:gd name="T3" fmla="*/ 2147483647 h 9895"/>
                  <a:gd name="T4" fmla="*/ 2147483647 w 10000"/>
                  <a:gd name="T5" fmla="*/ 2147483647 h 9895"/>
                  <a:gd name="T6" fmla="*/ 2147483647 w 10000"/>
                  <a:gd name="T7" fmla="*/ 2147483647 h 9895"/>
                  <a:gd name="T8" fmla="*/ 2147483647 w 10000"/>
                  <a:gd name="T9" fmla="*/ 0 h 9895"/>
                  <a:gd name="T10" fmla="*/ 2147483647 w 10000"/>
                  <a:gd name="T11" fmla="*/ 2147483647 h 9895"/>
                  <a:gd name="T12" fmla="*/ 2147483647 w 10000"/>
                  <a:gd name="T13" fmla="*/ 2147483647 h 9895"/>
                  <a:gd name="T14" fmla="*/ 2147483647 w 10000"/>
                  <a:gd name="T15" fmla="*/ 2147483647 h 9895"/>
                  <a:gd name="T16" fmla="*/ 2147483647 w 10000"/>
                  <a:gd name="T17" fmla="*/ 2147483647 h 9895"/>
                  <a:gd name="T18" fmla="*/ 2147483647 w 10000"/>
                  <a:gd name="T19" fmla="*/ 2147483647 h 9895"/>
                  <a:gd name="T20" fmla="*/ 2147483647 w 10000"/>
                  <a:gd name="T21" fmla="*/ 2147483647 h 9895"/>
                  <a:gd name="T22" fmla="*/ 2147483647 w 10000"/>
                  <a:gd name="T23" fmla="*/ 2147483647 h 9895"/>
                  <a:gd name="T24" fmla="*/ 2147483647 w 10000"/>
                  <a:gd name="T25" fmla="*/ 2147483647 h 9895"/>
                  <a:gd name="T26" fmla="*/ 2147483647 w 10000"/>
                  <a:gd name="T27" fmla="*/ 2147483647 h 9895"/>
                  <a:gd name="T28" fmla="*/ 2147483647 w 10000"/>
                  <a:gd name="T29" fmla="*/ 2147483647 h 9895"/>
                  <a:gd name="T30" fmla="*/ 2147483647 w 10000"/>
                  <a:gd name="T31" fmla="*/ 2147483647 h 9895"/>
                  <a:gd name="T32" fmla="*/ 2147483647 w 10000"/>
                  <a:gd name="T33" fmla="*/ 2147483647 h 9895"/>
                  <a:gd name="T34" fmla="*/ 2147483647 w 10000"/>
                  <a:gd name="T35" fmla="*/ 2147483647 h 9895"/>
                  <a:gd name="T36" fmla="*/ 2147483647 w 10000"/>
                  <a:gd name="T37" fmla="*/ 2147483647 h 9895"/>
                  <a:gd name="T38" fmla="*/ 2147483647 w 10000"/>
                  <a:gd name="T39" fmla="*/ 2147483647 h 9895"/>
                  <a:gd name="T40" fmla="*/ 2147483647 w 10000"/>
                  <a:gd name="T41" fmla="*/ 2147483647 h 9895"/>
                  <a:gd name="T42" fmla="*/ 2147483647 w 10000"/>
                  <a:gd name="T43" fmla="*/ 2147483647 h 9895"/>
                  <a:gd name="T44" fmla="*/ 2147483647 w 10000"/>
                  <a:gd name="T45" fmla="*/ 2147483647 h 9895"/>
                  <a:gd name="T46" fmla="*/ 2147483647 w 10000"/>
                  <a:gd name="T47" fmla="*/ 2147483647 h 9895"/>
                  <a:gd name="T48" fmla="*/ 2147483647 w 10000"/>
                  <a:gd name="T49" fmla="*/ 2147483647 h 9895"/>
                  <a:gd name="T50" fmla="*/ 2147483647 w 10000"/>
                  <a:gd name="T51" fmla="*/ 2147483647 h 9895"/>
                  <a:gd name="T52" fmla="*/ 2147483647 w 10000"/>
                  <a:gd name="T53" fmla="*/ 2147483647 h 9895"/>
                  <a:gd name="T54" fmla="*/ 2147483647 w 10000"/>
                  <a:gd name="T55" fmla="*/ 2147483647 h 9895"/>
                  <a:gd name="T56" fmla="*/ 2147483647 w 10000"/>
                  <a:gd name="T57" fmla="*/ 2147483647 h 9895"/>
                  <a:gd name="T58" fmla="*/ 2147483647 w 10000"/>
                  <a:gd name="T59" fmla="*/ 2147483647 h 9895"/>
                  <a:gd name="T60" fmla="*/ 2147483647 w 10000"/>
                  <a:gd name="T61" fmla="*/ 2147483647 h 9895"/>
                  <a:gd name="T62" fmla="*/ 2147483647 w 10000"/>
                  <a:gd name="T63" fmla="*/ 2147483647 h 9895"/>
                  <a:gd name="T64" fmla="*/ 2147483647 w 10000"/>
                  <a:gd name="T65" fmla="*/ 2147483647 h 9895"/>
                  <a:gd name="T66" fmla="*/ 2147483647 w 10000"/>
                  <a:gd name="T67" fmla="*/ 2147483647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rgbClr val="92D050"/>
              </a:solidFill>
              <a:ln w="9525">
                <a:solidFill>
                  <a:schemeClr val="bg1"/>
                </a:solidFill>
                <a:round/>
                <a:headEnd/>
                <a:tailEnd/>
              </a:ln>
            </p:spPr>
            <p:txBody>
              <a:bodyPr/>
              <a:lstStyle/>
              <a:p>
                <a:endParaRPr lang="el-GR"/>
              </a:p>
            </p:txBody>
          </p:sp>
          <p:sp>
            <p:nvSpPr>
              <p:cNvPr id="124" name="Freeform 349">
                <a:extLst>
                  <a:ext uri="{FF2B5EF4-FFF2-40B4-BE49-F238E27FC236}">
                    <a16:creationId xmlns:a16="http://schemas.microsoft.com/office/drawing/2014/main" id="{EBDE2CDB-76F9-4AB5-BD3B-F0139B8C31DF}"/>
                  </a:ext>
                </a:extLst>
              </p:cNvPr>
              <p:cNvSpPr>
                <a:spLocks/>
              </p:cNvSpPr>
              <p:nvPr/>
            </p:nvSpPr>
            <p:spPr bwMode="auto">
              <a:xfrm>
                <a:off x="5046356" y="3135965"/>
                <a:ext cx="445733" cy="286685"/>
              </a:xfrm>
              <a:custGeom>
                <a:avLst/>
                <a:gdLst>
                  <a:gd name="T0" fmla="*/ 2147483646 w 57"/>
                  <a:gd name="T1" fmla="*/ 2147483646 h 37"/>
                  <a:gd name="T2" fmla="*/ 2147483646 w 57"/>
                  <a:gd name="T3" fmla="*/ 2147483646 h 37"/>
                  <a:gd name="T4" fmla="*/ 2147483646 w 57"/>
                  <a:gd name="T5" fmla="*/ 2147483646 h 37"/>
                  <a:gd name="T6" fmla="*/ 2147483646 w 57"/>
                  <a:gd name="T7" fmla="*/ 2147483646 h 37"/>
                  <a:gd name="T8" fmla="*/ 2147483646 w 57"/>
                  <a:gd name="T9" fmla="*/ 2147483646 h 37"/>
                  <a:gd name="T10" fmla="*/ 2147483646 w 57"/>
                  <a:gd name="T11" fmla="*/ 2147483646 h 37"/>
                  <a:gd name="T12" fmla="*/ 2147483646 w 57"/>
                  <a:gd name="T13" fmla="*/ 2147483646 h 37"/>
                  <a:gd name="T14" fmla="*/ 2147483646 w 57"/>
                  <a:gd name="T15" fmla="*/ 2147483646 h 37"/>
                  <a:gd name="T16" fmla="*/ 2147483646 w 57"/>
                  <a:gd name="T17" fmla="*/ 2147483646 h 37"/>
                  <a:gd name="T18" fmla="*/ 2147483646 w 57"/>
                  <a:gd name="T19" fmla="*/ 2147483646 h 37"/>
                  <a:gd name="T20" fmla="*/ 2147483646 w 57"/>
                  <a:gd name="T21" fmla="*/ 2147483646 h 37"/>
                  <a:gd name="T22" fmla="*/ 2147483646 w 57"/>
                  <a:gd name="T23" fmla="*/ 0 h 37"/>
                  <a:gd name="T24" fmla="*/ 2147483646 w 57"/>
                  <a:gd name="T25" fmla="*/ 0 h 37"/>
                  <a:gd name="T26" fmla="*/ 2147483646 w 57"/>
                  <a:gd name="T27" fmla="*/ 2147483646 h 37"/>
                  <a:gd name="T28" fmla="*/ 2147483646 w 57"/>
                  <a:gd name="T29" fmla="*/ 2147483646 h 37"/>
                  <a:gd name="T30" fmla="*/ 2147483646 w 57"/>
                  <a:gd name="T31" fmla="*/ 2147483646 h 37"/>
                  <a:gd name="T32" fmla="*/ 2147483646 w 57"/>
                  <a:gd name="T33" fmla="*/ 2147483646 h 37"/>
                  <a:gd name="T34" fmla="*/ 2147483646 w 57"/>
                  <a:gd name="T35" fmla="*/ 2147483646 h 37"/>
                  <a:gd name="T36" fmla="*/ 2147483646 w 57"/>
                  <a:gd name="T37" fmla="*/ 2147483646 h 37"/>
                  <a:gd name="T38" fmla="*/ 2147483646 w 57"/>
                  <a:gd name="T39" fmla="*/ 2147483646 h 37"/>
                  <a:gd name="T40" fmla="*/ 2147483646 w 57"/>
                  <a:gd name="T41" fmla="*/ 2147483646 h 37"/>
                  <a:gd name="T42" fmla="*/ 2147483646 w 57"/>
                  <a:gd name="T43" fmla="*/ 2147483646 h 37"/>
                  <a:gd name="T44" fmla="*/ 0 w 57"/>
                  <a:gd name="T45" fmla="*/ 2147483646 h 37"/>
                  <a:gd name="T46" fmla="*/ 0 w 57"/>
                  <a:gd name="T47" fmla="*/ 2147483646 h 37"/>
                  <a:gd name="T48" fmla="*/ 2147483646 w 57"/>
                  <a:gd name="T49" fmla="*/ 2147483646 h 37"/>
                  <a:gd name="T50" fmla="*/ 2147483646 w 57"/>
                  <a:gd name="T51" fmla="*/ 2147483646 h 37"/>
                  <a:gd name="T52" fmla="*/ 2147483646 w 57"/>
                  <a:gd name="T53" fmla="*/ 2147483646 h 37"/>
                  <a:gd name="T54" fmla="*/ 2147483646 w 57"/>
                  <a:gd name="T55" fmla="*/ 2147483646 h 37"/>
                  <a:gd name="T56" fmla="*/ 2147483646 w 57"/>
                  <a:gd name="T57" fmla="*/ 2147483646 h 37"/>
                  <a:gd name="T58" fmla="*/ 2147483646 w 57"/>
                  <a:gd name="T59" fmla="*/ 2147483646 h 37"/>
                  <a:gd name="T60" fmla="*/ 2147483646 w 57"/>
                  <a:gd name="T61" fmla="*/ 2147483646 h 37"/>
                  <a:gd name="T62" fmla="*/ 2147483646 w 57"/>
                  <a:gd name="T63" fmla="*/ 2147483646 h 37"/>
                  <a:gd name="T64" fmla="*/ 2147483646 w 57"/>
                  <a:gd name="T65" fmla="*/ 2147483646 h 37"/>
                  <a:gd name="T66" fmla="*/ 2147483646 w 57"/>
                  <a:gd name="T67" fmla="*/ 2147483646 h 37"/>
                  <a:gd name="T68" fmla="*/ 2147483646 w 57"/>
                  <a:gd name="T69" fmla="*/ 2147483646 h 37"/>
                  <a:gd name="T70" fmla="*/ 2147483646 w 57"/>
                  <a:gd name="T71" fmla="*/ 2147483646 h 37"/>
                  <a:gd name="T72" fmla="*/ 2147483646 w 57"/>
                  <a:gd name="T73" fmla="*/ 2147483646 h 37"/>
                  <a:gd name="T74" fmla="*/ 2147483646 w 57"/>
                  <a:gd name="T75" fmla="*/ 2147483646 h 37"/>
                  <a:gd name="T76" fmla="*/ 2147483646 w 57"/>
                  <a:gd name="T77" fmla="*/ 2147483646 h 37"/>
                  <a:gd name="T78" fmla="*/ 2147483646 w 57"/>
                  <a:gd name="T79" fmla="*/ 2147483646 h 37"/>
                  <a:gd name="T80" fmla="*/ 2147483646 w 57"/>
                  <a:gd name="T81" fmla="*/ 2147483646 h 37"/>
                  <a:gd name="T82" fmla="*/ 2147483646 w 57"/>
                  <a:gd name="T83" fmla="*/ 2147483646 h 37"/>
                  <a:gd name="T84" fmla="*/ 2147483646 w 57"/>
                  <a:gd name="T85" fmla="*/ 2147483646 h 37"/>
                  <a:gd name="T86" fmla="*/ 2147483646 w 57"/>
                  <a:gd name="T87" fmla="*/ 2147483646 h 37"/>
                  <a:gd name="T88" fmla="*/ 2147483646 w 57"/>
                  <a:gd name="T89" fmla="*/ 2147483646 h 37"/>
                  <a:gd name="T90" fmla="*/ 2147483646 w 57"/>
                  <a:gd name="T91" fmla="*/ 2147483646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25" name="Freeform 359">
                <a:extLst>
                  <a:ext uri="{FF2B5EF4-FFF2-40B4-BE49-F238E27FC236}">
                    <a16:creationId xmlns:a16="http://schemas.microsoft.com/office/drawing/2014/main" id="{832F38F2-2F8C-4598-B04E-6ED81BAA7D2B}"/>
                  </a:ext>
                </a:extLst>
              </p:cNvPr>
              <p:cNvSpPr>
                <a:spLocks/>
              </p:cNvSpPr>
              <p:nvPr/>
            </p:nvSpPr>
            <p:spPr bwMode="auto">
              <a:xfrm>
                <a:off x="4990849" y="3009538"/>
                <a:ext cx="77373" cy="48078"/>
              </a:xfrm>
              <a:custGeom>
                <a:avLst/>
                <a:gdLst>
                  <a:gd name="T0" fmla="*/ 2147483646 w 60"/>
                  <a:gd name="T1" fmla="*/ 2147483646 h 36"/>
                  <a:gd name="T2" fmla="*/ 2147483646 w 60"/>
                  <a:gd name="T3" fmla="*/ 2147483646 h 36"/>
                  <a:gd name="T4" fmla="*/ 2147483646 w 60"/>
                  <a:gd name="T5" fmla="*/ 2147483646 h 36"/>
                  <a:gd name="T6" fmla="*/ 2147483646 w 60"/>
                  <a:gd name="T7" fmla="*/ 2147483646 h 36"/>
                  <a:gd name="T8" fmla="*/ 2147483646 w 60"/>
                  <a:gd name="T9" fmla="*/ 0 h 36"/>
                  <a:gd name="T10" fmla="*/ 2147483646 w 60"/>
                  <a:gd name="T11" fmla="*/ 0 h 36"/>
                  <a:gd name="T12" fmla="*/ 2147483646 w 60"/>
                  <a:gd name="T13" fmla="*/ 2147483646 h 36"/>
                  <a:gd name="T14" fmla="*/ 0 w 60"/>
                  <a:gd name="T15" fmla="*/ 2147483646 h 36"/>
                  <a:gd name="T16" fmla="*/ 2147483646 w 60"/>
                  <a:gd name="T17" fmla="*/ 2147483646 h 36"/>
                  <a:gd name="T18" fmla="*/ 2147483646 w 60"/>
                  <a:gd name="T19" fmla="*/ 2147483646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26" name="Freeform 360">
                <a:extLst>
                  <a:ext uri="{FF2B5EF4-FFF2-40B4-BE49-F238E27FC236}">
                    <a16:creationId xmlns:a16="http://schemas.microsoft.com/office/drawing/2014/main" id="{88314424-420A-40C4-9992-78DD0B4BBA04}"/>
                  </a:ext>
                </a:extLst>
              </p:cNvPr>
              <p:cNvSpPr>
                <a:spLocks/>
              </p:cNvSpPr>
              <p:nvPr/>
            </p:nvSpPr>
            <p:spPr bwMode="auto">
              <a:xfrm>
                <a:off x="4849560" y="3034467"/>
                <a:ext cx="243892" cy="217240"/>
              </a:xfrm>
              <a:custGeom>
                <a:avLst/>
                <a:gdLst>
                  <a:gd name="T0" fmla="*/ 2147483646 w 31"/>
                  <a:gd name="T1" fmla="*/ 2147483646 h 28"/>
                  <a:gd name="T2" fmla="*/ 2147483646 w 31"/>
                  <a:gd name="T3" fmla="*/ 2147483646 h 28"/>
                  <a:gd name="T4" fmla="*/ 2147483646 w 31"/>
                  <a:gd name="T5" fmla="*/ 2147483646 h 28"/>
                  <a:gd name="T6" fmla="*/ 2147483646 w 31"/>
                  <a:gd name="T7" fmla="*/ 2147483646 h 28"/>
                  <a:gd name="T8" fmla="*/ 2147483646 w 31"/>
                  <a:gd name="T9" fmla="*/ 2147483646 h 28"/>
                  <a:gd name="T10" fmla="*/ 2147483646 w 31"/>
                  <a:gd name="T11" fmla="*/ 2147483646 h 28"/>
                  <a:gd name="T12" fmla="*/ 2147483646 w 31"/>
                  <a:gd name="T13" fmla="*/ 2147483646 h 28"/>
                  <a:gd name="T14" fmla="*/ 2147483646 w 31"/>
                  <a:gd name="T15" fmla="*/ 2147483646 h 28"/>
                  <a:gd name="T16" fmla="*/ 2147483646 w 31"/>
                  <a:gd name="T17" fmla="*/ 2147483646 h 28"/>
                  <a:gd name="T18" fmla="*/ 2147483646 w 31"/>
                  <a:gd name="T19" fmla="*/ 2147483646 h 28"/>
                  <a:gd name="T20" fmla="*/ 2147483646 w 31"/>
                  <a:gd name="T21" fmla="*/ 2147483646 h 28"/>
                  <a:gd name="T22" fmla="*/ 2147483646 w 31"/>
                  <a:gd name="T23" fmla="*/ 2147483646 h 28"/>
                  <a:gd name="T24" fmla="*/ 2147483646 w 31"/>
                  <a:gd name="T25" fmla="*/ 2147483646 h 28"/>
                  <a:gd name="T26" fmla="*/ 2147483646 w 31"/>
                  <a:gd name="T27" fmla="*/ 2147483646 h 28"/>
                  <a:gd name="T28" fmla="*/ 2147483646 w 31"/>
                  <a:gd name="T29" fmla="*/ 2147483646 h 28"/>
                  <a:gd name="T30" fmla="*/ 2147483646 w 31"/>
                  <a:gd name="T31" fmla="*/ 2147483646 h 28"/>
                  <a:gd name="T32" fmla="*/ 2147483646 w 31"/>
                  <a:gd name="T33" fmla="*/ 2147483646 h 28"/>
                  <a:gd name="T34" fmla="*/ 2147483646 w 31"/>
                  <a:gd name="T35" fmla="*/ 2147483646 h 28"/>
                  <a:gd name="T36" fmla="*/ 2147483646 w 31"/>
                  <a:gd name="T37" fmla="*/ 2147483646 h 28"/>
                  <a:gd name="T38" fmla="*/ 2147483646 w 31"/>
                  <a:gd name="T39" fmla="*/ 2147483646 h 28"/>
                  <a:gd name="T40" fmla="*/ 2147483646 w 31"/>
                  <a:gd name="T41" fmla="*/ 2147483646 h 28"/>
                  <a:gd name="T42" fmla="*/ 2147483646 w 31"/>
                  <a:gd name="T43" fmla="*/ 2147483646 h 28"/>
                  <a:gd name="T44" fmla="*/ 2147483646 w 31"/>
                  <a:gd name="T45" fmla="*/ 2147483646 h 28"/>
                  <a:gd name="T46" fmla="*/ 2147483646 w 31"/>
                  <a:gd name="T47" fmla="*/ 0 h 28"/>
                  <a:gd name="T48" fmla="*/ 2147483646 w 31"/>
                  <a:gd name="T49" fmla="*/ 2147483646 h 28"/>
                  <a:gd name="T50" fmla="*/ 2147483646 w 31"/>
                  <a:gd name="T51" fmla="*/ 2147483646 h 28"/>
                  <a:gd name="T52" fmla="*/ 2147483646 w 31"/>
                  <a:gd name="T53" fmla="*/ 0 h 28"/>
                  <a:gd name="T54" fmla="*/ 2147483646 w 31"/>
                  <a:gd name="T55" fmla="*/ 0 h 28"/>
                  <a:gd name="T56" fmla="*/ 2147483646 w 31"/>
                  <a:gd name="T57" fmla="*/ 2147483646 h 28"/>
                  <a:gd name="T58" fmla="*/ 2147483646 w 31"/>
                  <a:gd name="T59" fmla="*/ 2147483646 h 28"/>
                  <a:gd name="T60" fmla="*/ 0 w 31"/>
                  <a:gd name="T61" fmla="*/ 2147483646 h 28"/>
                  <a:gd name="T62" fmla="*/ 0 w 31"/>
                  <a:gd name="T63" fmla="*/ 2147483646 h 28"/>
                  <a:gd name="T64" fmla="*/ 2147483646 w 31"/>
                  <a:gd name="T65" fmla="*/ 2147483646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58" name="Freeform 364">
                <a:extLst>
                  <a:ext uri="{FF2B5EF4-FFF2-40B4-BE49-F238E27FC236}">
                    <a16:creationId xmlns:a16="http://schemas.microsoft.com/office/drawing/2014/main" id="{8B2AB6B7-7F4E-461F-BAE2-9DC95CE3FF1E}"/>
                  </a:ext>
                </a:extLst>
              </p:cNvPr>
              <p:cNvSpPr>
                <a:spLocks/>
              </p:cNvSpPr>
              <p:nvPr/>
            </p:nvSpPr>
            <p:spPr bwMode="auto">
              <a:xfrm>
                <a:off x="4503738" y="4056063"/>
                <a:ext cx="393700" cy="290512"/>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chemeClr val="bg1"/>
              </a:solidFill>
              <a:ln w="9525">
                <a:solidFill>
                  <a:schemeClr val="bg2"/>
                </a:solidFill>
                <a:round/>
                <a:headEnd/>
                <a:tailEnd/>
              </a:ln>
            </p:spPr>
            <p:txBody>
              <a:bodyPr/>
              <a:lstStyle/>
              <a:p>
                <a:endParaRPr lang="el-GR"/>
              </a:p>
            </p:txBody>
          </p:sp>
          <p:sp>
            <p:nvSpPr>
              <p:cNvPr id="83059" name="Freeform 365">
                <a:extLst>
                  <a:ext uri="{FF2B5EF4-FFF2-40B4-BE49-F238E27FC236}">
                    <a16:creationId xmlns:a16="http://schemas.microsoft.com/office/drawing/2014/main" id="{E9102678-C885-42C7-B383-2F4559C772EA}"/>
                  </a:ext>
                </a:extLst>
              </p:cNvPr>
              <p:cNvSpPr>
                <a:spLocks/>
              </p:cNvSpPr>
              <p:nvPr/>
            </p:nvSpPr>
            <p:spPr bwMode="auto">
              <a:xfrm>
                <a:off x="4503738" y="4056063"/>
                <a:ext cx="393700" cy="290512"/>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rgbClr val="FF0000"/>
              </a:solidFill>
              <a:ln w="9525">
                <a:solidFill>
                  <a:schemeClr val="bg1"/>
                </a:solidFill>
                <a:round/>
                <a:headEnd/>
                <a:tailEnd/>
              </a:ln>
            </p:spPr>
            <p:txBody>
              <a:bodyPr/>
              <a:lstStyle/>
              <a:p>
                <a:endParaRPr lang="el-GR"/>
              </a:p>
            </p:txBody>
          </p:sp>
          <p:sp>
            <p:nvSpPr>
              <p:cNvPr id="83060" name="Freeform 366">
                <a:extLst>
                  <a:ext uri="{FF2B5EF4-FFF2-40B4-BE49-F238E27FC236}">
                    <a16:creationId xmlns:a16="http://schemas.microsoft.com/office/drawing/2014/main" id="{6DDEEB6B-FD9E-4EE3-845E-AEC41B093809}"/>
                  </a:ext>
                </a:extLst>
              </p:cNvPr>
              <p:cNvSpPr>
                <a:spLocks/>
              </p:cNvSpPr>
              <p:nvPr/>
            </p:nvSpPr>
            <p:spPr bwMode="auto">
              <a:xfrm>
                <a:off x="4198938" y="4016375"/>
                <a:ext cx="407987" cy="384175"/>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rgbClr val="FF0000"/>
              </a:solidFill>
              <a:ln w="9525">
                <a:solidFill>
                  <a:schemeClr val="bg1"/>
                </a:solidFill>
                <a:round/>
                <a:headEnd/>
                <a:tailEnd/>
              </a:ln>
            </p:spPr>
            <p:txBody>
              <a:bodyPr/>
              <a:lstStyle/>
              <a:p>
                <a:endParaRPr lang="el-GR"/>
              </a:p>
            </p:txBody>
          </p:sp>
          <p:sp>
            <p:nvSpPr>
              <p:cNvPr id="83061" name="Freeform 367">
                <a:extLst>
                  <a:ext uri="{FF2B5EF4-FFF2-40B4-BE49-F238E27FC236}">
                    <a16:creationId xmlns:a16="http://schemas.microsoft.com/office/drawing/2014/main" id="{C03ABB2C-055E-4C40-AA13-DCD80BAAF284}"/>
                  </a:ext>
                </a:extLst>
              </p:cNvPr>
              <p:cNvSpPr>
                <a:spLocks/>
              </p:cNvSpPr>
              <p:nvPr/>
            </p:nvSpPr>
            <p:spPr bwMode="auto">
              <a:xfrm>
                <a:off x="5526088" y="4370388"/>
                <a:ext cx="234950" cy="317500"/>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rgbClr val="FF0000"/>
              </a:solidFill>
              <a:ln w="9525">
                <a:solidFill>
                  <a:schemeClr val="bg1"/>
                </a:solidFill>
                <a:round/>
                <a:headEnd/>
                <a:tailEnd/>
              </a:ln>
            </p:spPr>
            <p:txBody>
              <a:bodyPr/>
              <a:lstStyle/>
              <a:p>
                <a:endParaRPr lang="el-GR"/>
              </a:p>
            </p:txBody>
          </p:sp>
          <p:sp>
            <p:nvSpPr>
              <p:cNvPr id="83062" name="Freeform 368">
                <a:extLst>
                  <a:ext uri="{FF2B5EF4-FFF2-40B4-BE49-F238E27FC236}">
                    <a16:creationId xmlns:a16="http://schemas.microsoft.com/office/drawing/2014/main" id="{B7CF058B-20C9-417C-9BA0-11DD3798F6E9}"/>
                  </a:ext>
                </a:extLst>
              </p:cNvPr>
              <p:cNvSpPr>
                <a:spLocks/>
              </p:cNvSpPr>
              <p:nvPr/>
            </p:nvSpPr>
            <p:spPr bwMode="auto">
              <a:xfrm>
                <a:off x="4849813" y="4346575"/>
                <a:ext cx="31750" cy="123825"/>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solidFill>
                <a:srgbClr val="FF0000"/>
              </a:solidFill>
              <a:ln w="9525">
                <a:solidFill>
                  <a:schemeClr val="bg1"/>
                </a:solidFill>
                <a:round/>
                <a:headEnd/>
                <a:tailEnd/>
              </a:ln>
            </p:spPr>
            <p:txBody>
              <a:bodyPr/>
              <a:lstStyle/>
              <a:p>
                <a:endParaRPr lang="el-GR"/>
              </a:p>
            </p:txBody>
          </p:sp>
          <p:sp>
            <p:nvSpPr>
              <p:cNvPr id="83063" name="Freeform 369">
                <a:extLst>
                  <a:ext uri="{FF2B5EF4-FFF2-40B4-BE49-F238E27FC236}">
                    <a16:creationId xmlns:a16="http://schemas.microsoft.com/office/drawing/2014/main" id="{08785112-8CDC-40B5-B27A-D56B3D65FCC5}"/>
                  </a:ext>
                </a:extLst>
              </p:cNvPr>
              <p:cNvSpPr>
                <a:spLocks/>
              </p:cNvSpPr>
              <p:nvPr/>
            </p:nvSpPr>
            <p:spPr bwMode="auto">
              <a:xfrm>
                <a:off x="4849813" y="4346575"/>
                <a:ext cx="31750" cy="123825"/>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solidFill>
                <a:srgbClr val="FF0000"/>
              </a:solidFill>
              <a:ln w="9525">
                <a:solidFill>
                  <a:schemeClr val="bg1"/>
                </a:solidFill>
                <a:round/>
                <a:headEnd/>
                <a:tailEnd/>
              </a:ln>
            </p:spPr>
            <p:txBody>
              <a:bodyPr/>
              <a:lstStyle/>
              <a:p>
                <a:endParaRPr lang="el-GR"/>
              </a:p>
            </p:txBody>
          </p:sp>
          <p:sp>
            <p:nvSpPr>
              <p:cNvPr id="83064" name="Freeform 370">
                <a:extLst>
                  <a:ext uri="{FF2B5EF4-FFF2-40B4-BE49-F238E27FC236}">
                    <a16:creationId xmlns:a16="http://schemas.microsoft.com/office/drawing/2014/main" id="{AE9A3834-39F1-4587-8C05-45D063543B48}"/>
                  </a:ext>
                </a:extLst>
              </p:cNvPr>
              <p:cNvSpPr>
                <a:spLocks/>
              </p:cNvSpPr>
              <p:nvPr/>
            </p:nvSpPr>
            <p:spPr bwMode="auto">
              <a:xfrm>
                <a:off x="4833938" y="4065588"/>
                <a:ext cx="258762" cy="404812"/>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chemeClr val="bg1"/>
              </a:solidFill>
              <a:ln w="9525">
                <a:solidFill>
                  <a:schemeClr val="bg2"/>
                </a:solidFill>
                <a:round/>
                <a:headEnd/>
                <a:tailEnd/>
              </a:ln>
            </p:spPr>
            <p:txBody>
              <a:bodyPr/>
              <a:lstStyle/>
              <a:p>
                <a:endParaRPr lang="el-GR"/>
              </a:p>
            </p:txBody>
          </p:sp>
          <p:sp>
            <p:nvSpPr>
              <p:cNvPr id="83065" name="Freeform 371">
                <a:extLst>
                  <a:ext uri="{FF2B5EF4-FFF2-40B4-BE49-F238E27FC236}">
                    <a16:creationId xmlns:a16="http://schemas.microsoft.com/office/drawing/2014/main" id="{3A273DAD-9285-4E4E-A8B1-E429A917EC49}"/>
                  </a:ext>
                </a:extLst>
              </p:cNvPr>
              <p:cNvSpPr>
                <a:spLocks/>
              </p:cNvSpPr>
              <p:nvPr/>
            </p:nvSpPr>
            <p:spPr bwMode="auto">
              <a:xfrm>
                <a:off x="4833938" y="4065588"/>
                <a:ext cx="258762" cy="404812"/>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rgbClr val="FF0000"/>
              </a:solidFill>
              <a:ln w="9525">
                <a:solidFill>
                  <a:schemeClr val="bg1"/>
                </a:solidFill>
                <a:round/>
                <a:headEnd/>
                <a:tailEnd/>
              </a:ln>
            </p:spPr>
            <p:txBody>
              <a:bodyPr/>
              <a:lstStyle/>
              <a:p>
                <a:endParaRPr lang="el-GR"/>
              </a:p>
            </p:txBody>
          </p:sp>
          <p:sp>
            <p:nvSpPr>
              <p:cNvPr id="83066" name="Freeform 372">
                <a:extLst>
                  <a:ext uri="{FF2B5EF4-FFF2-40B4-BE49-F238E27FC236}">
                    <a16:creationId xmlns:a16="http://schemas.microsoft.com/office/drawing/2014/main" id="{52CF1416-C791-456C-A981-EEE752CA7894}"/>
                  </a:ext>
                </a:extLst>
              </p:cNvPr>
              <p:cNvSpPr>
                <a:spLocks/>
              </p:cNvSpPr>
              <p:nvPr/>
            </p:nvSpPr>
            <p:spPr bwMode="auto">
              <a:xfrm>
                <a:off x="4913313" y="5211763"/>
                <a:ext cx="398462" cy="354012"/>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rgbClr val="FF0000"/>
              </a:solidFill>
              <a:ln w="9525">
                <a:solidFill>
                  <a:schemeClr val="bg1"/>
                </a:solidFill>
                <a:round/>
                <a:headEnd/>
                <a:tailEnd/>
              </a:ln>
            </p:spPr>
            <p:txBody>
              <a:bodyPr/>
              <a:lstStyle/>
              <a:p>
                <a:endParaRPr lang="el-GR"/>
              </a:p>
            </p:txBody>
          </p:sp>
          <p:sp>
            <p:nvSpPr>
              <p:cNvPr id="83067" name="Freeform 373">
                <a:extLst>
                  <a:ext uri="{FF2B5EF4-FFF2-40B4-BE49-F238E27FC236}">
                    <a16:creationId xmlns:a16="http://schemas.microsoft.com/office/drawing/2014/main" id="{0F8DBD48-5D3F-45A2-97CA-245D90DB0D63}"/>
                  </a:ext>
                </a:extLst>
              </p:cNvPr>
              <p:cNvSpPr>
                <a:spLocks/>
              </p:cNvSpPr>
              <p:nvPr/>
            </p:nvSpPr>
            <p:spPr bwMode="auto">
              <a:xfrm>
                <a:off x="4999038" y="5095875"/>
                <a:ext cx="236537" cy="234950"/>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rgbClr val="FF0000"/>
              </a:solidFill>
              <a:ln w="9525">
                <a:solidFill>
                  <a:schemeClr val="bg1"/>
                </a:solidFill>
                <a:round/>
                <a:headEnd/>
                <a:tailEnd/>
              </a:ln>
            </p:spPr>
            <p:txBody>
              <a:bodyPr/>
              <a:lstStyle/>
              <a:p>
                <a:endParaRPr lang="el-GR"/>
              </a:p>
            </p:txBody>
          </p:sp>
          <p:sp>
            <p:nvSpPr>
              <p:cNvPr id="83068" name="Freeform 374">
                <a:extLst>
                  <a:ext uri="{FF2B5EF4-FFF2-40B4-BE49-F238E27FC236}">
                    <a16:creationId xmlns:a16="http://schemas.microsoft.com/office/drawing/2014/main" id="{7AC0D839-1B72-4792-9C53-D7602B0E7C2E}"/>
                  </a:ext>
                </a:extLst>
              </p:cNvPr>
              <p:cNvSpPr>
                <a:spLocks/>
              </p:cNvSpPr>
              <p:nvPr/>
            </p:nvSpPr>
            <p:spPr bwMode="auto">
              <a:xfrm>
                <a:off x="5241925" y="4914900"/>
                <a:ext cx="268288" cy="422275"/>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rgbClr val="FF0000"/>
              </a:solidFill>
              <a:ln w="9525">
                <a:solidFill>
                  <a:schemeClr val="bg1"/>
                </a:solidFill>
                <a:round/>
                <a:headEnd/>
                <a:tailEnd/>
              </a:ln>
            </p:spPr>
            <p:txBody>
              <a:bodyPr/>
              <a:lstStyle/>
              <a:p>
                <a:endParaRPr lang="el-GR"/>
              </a:p>
            </p:txBody>
          </p:sp>
          <p:sp>
            <p:nvSpPr>
              <p:cNvPr id="83069" name="Freeform 375">
                <a:extLst>
                  <a:ext uri="{FF2B5EF4-FFF2-40B4-BE49-F238E27FC236}">
                    <a16:creationId xmlns:a16="http://schemas.microsoft.com/office/drawing/2014/main" id="{1562614F-C10F-4DAE-9973-74D544D84A8C}"/>
                  </a:ext>
                </a:extLst>
              </p:cNvPr>
              <p:cNvSpPr>
                <a:spLocks/>
              </p:cNvSpPr>
              <p:nvPr/>
            </p:nvSpPr>
            <p:spPr bwMode="auto">
              <a:xfrm>
                <a:off x="5241925" y="4673600"/>
                <a:ext cx="260350" cy="265113"/>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rgbClr val="FF0000"/>
              </a:solidFill>
              <a:ln w="9525">
                <a:solidFill>
                  <a:schemeClr val="bg1"/>
                </a:solidFill>
                <a:round/>
                <a:headEnd/>
                <a:tailEnd/>
              </a:ln>
            </p:spPr>
            <p:txBody>
              <a:bodyPr/>
              <a:lstStyle/>
              <a:p>
                <a:endParaRPr lang="el-GR"/>
              </a:p>
            </p:txBody>
          </p:sp>
          <p:sp>
            <p:nvSpPr>
              <p:cNvPr id="83070" name="Freeform 376">
                <a:extLst>
                  <a:ext uri="{FF2B5EF4-FFF2-40B4-BE49-F238E27FC236}">
                    <a16:creationId xmlns:a16="http://schemas.microsoft.com/office/drawing/2014/main" id="{3C13E4F0-17C1-4B85-9770-AD532B7C828D}"/>
                  </a:ext>
                </a:extLst>
              </p:cNvPr>
              <p:cNvSpPr>
                <a:spLocks/>
              </p:cNvSpPr>
              <p:nvPr/>
            </p:nvSpPr>
            <p:spPr bwMode="auto">
              <a:xfrm>
                <a:off x="4802188" y="4797425"/>
                <a:ext cx="298450" cy="298450"/>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rgbClr val="FF0000"/>
              </a:solidFill>
              <a:ln w="9525">
                <a:solidFill>
                  <a:schemeClr val="bg1"/>
                </a:solidFill>
                <a:round/>
                <a:headEnd/>
                <a:tailEnd/>
              </a:ln>
            </p:spPr>
            <p:txBody>
              <a:bodyPr/>
              <a:lstStyle/>
              <a:p>
                <a:endParaRPr lang="el-GR"/>
              </a:p>
            </p:txBody>
          </p:sp>
          <p:sp>
            <p:nvSpPr>
              <p:cNvPr id="83071" name="Freeform 377">
                <a:extLst>
                  <a:ext uri="{FF2B5EF4-FFF2-40B4-BE49-F238E27FC236}">
                    <a16:creationId xmlns:a16="http://schemas.microsoft.com/office/drawing/2014/main" id="{6B394AE2-CC73-438B-83A9-8BEAB882AED3}"/>
                  </a:ext>
                </a:extLst>
              </p:cNvPr>
              <p:cNvSpPr>
                <a:spLocks/>
              </p:cNvSpPr>
              <p:nvPr/>
            </p:nvSpPr>
            <p:spPr bwMode="auto">
              <a:xfrm>
                <a:off x="4802188" y="4516438"/>
                <a:ext cx="463550" cy="460375"/>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rgbClr val="FF0000"/>
              </a:solidFill>
              <a:ln w="9525">
                <a:solidFill>
                  <a:schemeClr val="bg1"/>
                </a:solidFill>
                <a:round/>
                <a:headEnd/>
                <a:tailEnd/>
              </a:ln>
            </p:spPr>
            <p:txBody>
              <a:bodyPr/>
              <a:lstStyle/>
              <a:p>
                <a:endParaRPr lang="el-GR"/>
              </a:p>
            </p:txBody>
          </p:sp>
          <p:sp>
            <p:nvSpPr>
              <p:cNvPr id="83072" name="Freeform 378">
                <a:extLst>
                  <a:ext uri="{FF2B5EF4-FFF2-40B4-BE49-F238E27FC236}">
                    <a16:creationId xmlns:a16="http://schemas.microsoft.com/office/drawing/2014/main" id="{A4188C8D-B40A-4619-99C7-7C395E8A4047}"/>
                  </a:ext>
                </a:extLst>
              </p:cNvPr>
              <p:cNvSpPr>
                <a:spLocks/>
              </p:cNvSpPr>
              <p:nvPr/>
            </p:nvSpPr>
            <p:spPr bwMode="auto">
              <a:xfrm>
                <a:off x="5319713" y="4203700"/>
                <a:ext cx="369887" cy="354013"/>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rgbClr val="FF0000"/>
              </a:solidFill>
              <a:ln w="9525">
                <a:solidFill>
                  <a:schemeClr val="bg1"/>
                </a:solidFill>
                <a:round/>
                <a:headEnd/>
                <a:tailEnd/>
              </a:ln>
            </p:spPr>
            <p:txBody>
              <a:bodyPr/>
              <a:lstStyle/>
              <a:p>
                <a:endParaRPr lang="el-GR"/>
              </a:p>
            </p:txBody>
          </p:sp>
          <p:sp>
            <p:nvSpPr>
              <p:cNvPr id="83073" name="Freeform 379">
                <a:extLst>
                  <a:ext uri="{FF2B5EF4-FFF2-40B4-BE49-F238E27FC236}">
                    <a16:creationId xmlns:a16="http://schemas.microsoft.com/office/drawing/2014/main" id="{59BBFF5E-A14F-4A7B-9354-CAF2CDA6F000}"/>
                  </a:ext>
                </a:extLst>
              </p:cNvPr>
              <p:cNvSpPr>
                <a:spLocks/>
              </p:cNvSpPr>
              <p:nvPr/>
            </p:nvSpPr>
            <p:spPr bwMode="auto">
              <a:xfrm>
                <a:off x="5343525" y="4532313"/>
                <a:ext cx="204788" cy="234950"/>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rgbClr val="FF0000"/>
              </a:solidFill>
              <a:ln w="9525">
                <a:solidFill>
                  <a:schemeClr val="bg1"/>
                </a:solidFill>
                <a:round/>
                <a:headEnd/>
                <a:tailEnd/>
              </a:ln>
            </p:spPr>
            <p:txBody>
              <a:bodyPr/>
              <a:lstStyle/>
              <a:p>
                <a:endParaRPr lang="el-GR"/>
              </a:p>
            </p:txBody>
          </p:sp>
          <p:sp>
            <p:nvSpPr>
              <p:cNvPr id="83074" name="Freeform 380">
                <a:extLst>
                  <a:ext uri="{FF2B5EF4-FFF2-40B4-BE49-F238E27FC236}">
                    <a16:creationId xmlns:a16="http://schemas.microsoft.com/office/drawing/2014/main" id="{B739D1AB-83E1-4D5A-8D99-2C0501B08B84}"/>
                  </a:ext>
                </a:extLst>
              </p:cNvPr>
              <p:cNvSpPr>
                <a:spLocks/>
              </p:cNvSpPr>
              <p:nvPr/>
            </p:nvSpPr>
            <p:spPr bwMode="auto">
              <a:xfrm>
                <a:off x="5122863" y="5040313"/>
                <a:ext cx="188912" cy="179387"/>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rgbClr val="FF0000"/>
              </a:solidFill>
              <a:ln w="9525">
                <a:solidFill>
                  <a:schemeClr val="bg1"/>
                </a:solidFill>
                <a:round/>
                <a:headEnd/>
                <a:tailEnd/>
              </a:ln>
            </p:spPr>
            <p:txBody>
              <a:bodyPr/>
              <a:lstStyle/>
              <a:p>
                <a:endParaRPr lang="el-GR"/>
              </a:p>
            </p:txBody>
          </p:sp>
          <p:sp>
            <p:nvSpPr>
              <p:cNvPr id="83075" name="Freeform 381">
                <a:extLst>
                  <a:ext uri="{FF2B5EF4-FFF2-40B4-BE49-F238E27FC236}">
                    <a16:creationId xmlns:a16="http://schemas.microsoft.com/office/drawing/2014/main" id="{9648B520-2B5E-4973-967B-B0E0F43FB454}"/>
                  </a:ext>
                </a:extLst>
              </p:cNvPr>
              <p:cNvSpPr>
                <a:spLocks/>
              </p:cNvSpPr>
              <p:nvPr/>
            </p:nvSpPr>
            <p:spPr bwMode="auto">
              <a:xfrm>
                <a:off x="5053013" y="4557713"/>
                <a:ext cx="338137" cy="544512"/>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rgbClr val="FF0000"/>
              </a:solidFill>
              <a:ln w="9525">
                <a:solidFill>
                  <a:schemeClr val="bg1"/>
                </a:solidFill>
                <a:round/>
                <a:headEnd/>
                <a:tailEnd/>
              </a:ln>
            </p:spPr>
            <p:txBody>
              <a:bodyPr/>
              <a:lstStyle/>
              <a:p>
                <a:endParaRPr lang="el-GR"/>
              </a:p>
            </p:txBody>
          </p:sp>
          <p:sp>
            <p:nvSpPr>
              <p:cNvPr id="83076" name="Freeform 382">
                <a:extLst>
                  <a:ext uri="{FF2B5EF4-FFF2-40B4-BE49-F238E27FC236}">
                    <a16:creationId xmlns:a16="http://schemas.microsoft.com/office/drawing/2014/main" id="{0DB9B587-155A-4F77-8627-57B3122D645D}"/>
                  </a:ext>
                </a:extLst>
              </p:cNvPr>
              <p:cNvSpPr>
                <a:spLocks/>
              </p:cNvSpPr>
              <p:nvPr/>
            </p:nvSpPr>
            <p:spPr bwMode="auto">
              <a:xfrm>
                <a:off x="4379913" y="4275138"/>
                <a:ext cx="187325" cy="141287"/>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rgbClr val="FF0000"/>
              </a:solidFill>
              <a:ln w="9525">
                <a:solidFill>
                  <a:schemeClr val="bg1"/>
                </a:solidFill>
                <a:round/>
                <a:headEnd/>
                <a:tailEnd/>
              </a:ln>
            </p:spPr>
            <p:txBody>
              <a:bodyPr/>
              <a:lstStyle/>
              <a:p>
                <a:endParaRPr lang="el-GR"/>
              </a:p>
            </p:txBody>
          </p:sp>
          <p:sp>
            <p:nvSpPr>
              <p:cNvPr id="83077" name="Freeform 383">
                <a:extLst>
                  <a:ext uri="{FF2B5EF4-FFF2-40B4-BE49-F238E27FC236}">
                    <a16:creationId xmlns:a16="http://schemas.microsoft.com/office/drawing/2014/main" id="{4D76CA73-6241-44CA-9768-693A982E87A3}"/>
                  </a:ext>
                </a:extLst>
              </p:cNvPr>
              <p:cNvSpPr>
                <a:spLocks/>
              </p:cNvSpPr>
              <p:nvPr/>
            </p:nvSpPr>
            <p:spPr bwMode="auto">
              <a:xfrm>
                <a:off x="4379913" y="4275138"/>
                <a:ext cx="187325" cy="141287"/>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rgbClr val="FF0000"/>
              </a:solidFill>
              <a:ln w="9525">
                <a:solidFill>
                  <a:schemeClr val="bg1"/>
                </a:solidFill>
                <a:round/>
                <a:headEnd/>
                <a:tailEnd/>
              </a:ln>
            </p:spPr>
            <p:txBody>
              <a:bodyPr/>
              <a:lstStyle/>
              <a:p>
                <a:endParaRPr lang="el-GR"/>
              </a:p>
            </p:txBody>
          </p:sp>
          <p:sp>
            <p:nvSpPr>
              <p:cNvPr id="83078" name="Freeform 384">
                <a:extLst>
                  <a:ext uri="{FF2B5EF4-FFF2-40B4-BE49-F238E27FC236}">
                    <a16:creationId xmlns:a16="http://schemas.microsoft.com/office/drawing/2014/main" id="{442C7F52-062D-49FA-A080-6C1ED6F02CD3}"/>
                  </a:ext>
                </a:extLst>
              </p:cNvPr>
              <p:cNvSpPr>
                <a:spLocks/>
              </p:cNvSpPr>
              <p:nvPr/>
            </p:nvSpPr>
            <p:spPr bwMode="auto">
              <a:xfrm>
                <a:off x="4503738" y="4378325"/>
                <a:ext cx="23812" cy="6350"/>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rgbClr val="FF0000"/>
              </a:solidFill>
              <a:ln w="9525">
                <a:solidFill>
                  <a:schemeClr val="bg1"/>
                </a:solidFill>
                <a:round/>
                <a:headEnd/>
                <a:tailEnd/>
              </a:ln>
            </p:spPr>
            <p:txBody>
              <a:bodyPr/>
              <a:lstStyle/>
              <a:p>
                <a:endParaRPr lang="el-GR"/>
              </a:p>
            </p:txBody>
          </p:sp>
          <p:sp>
            <p:nvSpPr>
              <p:cNvPr id="83079" name="Freeform 385">
                <a:extLst>
                  <a:ext uri="{FF2B5EF4-FFF2-40B4-BE49-F238E27FC236}">
                    <a16:creationId xmlns:a16="http://schemas.microsoft.com/office/drawing/2014/main" id="{01195B94-4408-4B65-8C78-954AF0402EBE}"/>
                  </a:ext>
                </a:extLst>
              </p:cNvPr>
              <p:cNvSpPr>
                <a:spLocks/>
              </p:cNvSpPr>
              <p:nvPr/>
            </p:nvSpPr>
            <p:spPr bwMode="auto">
              <a:xfrm>
                <a:off x="4503738" y="4378325"/>
                <a:ext cx="23812" cy="6350"/>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rgbClr val="FF0000"/>
              </a:solidFill>
              <a:ln w="9525">
                <a:solidFill>
                  <a:schemeClr val="bg1"/>
                </a:solidFill>
                <a:round/>
                <a:headEnd/>
                <a:tailEnd/>
              </a:ln>
            </p:spPr>
            <p:txBody>
              <a:bodyPr/>
              <a:lstStyle/>
              <a:p>
                <a:endParaRPr lang="el-GR"/>
              </a:p>
            </p:txBody>
          </p:sp>
          <p:sp>
            <p:nvSpPr>
              <p:cNvPr id="83080" name="Freeform 386">
                <a:extLst>
                  <a:ext uri="{FF2B5EF4-FFF2-40B4-BE49-F238E27FC236}">
                    <a16:creationId xmlns:a16="http://schemas.microsoft.com/office/drawing/2014/main" id="{AF21C393-0D24-4F3F-8E24-CDD6391B6F2B}"/>
                  </a:ext>
                </a:extLst>
              </p:cNvPr>
              <p:cNvSpPr>
                <a:spLocks/>
              </p:cNvSpPr>
              <p:nvPr/>
            </p:nvSpPr>
            <p:spPr bwMode="auto">
              <a:xfrm>
                <a:off x="4425950" y="4384675"/>
                <a:ext cx="101600" cy="131763"/>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rgbClr val="FF0000"/>
              </a:solidFill>
              <a:ln w="9525">
                <a:solidFill>
                  <a:schemeClr val="bg1"/>
                </a:solidFill>
                <a:round/>
                <a:headEnd/>
                <a:tailEnd/>
              </a:ln>
            </p:spPr>
            <p:txBody>
              <a:bodyPr/>
              <a:lstStyle/>
              <a:p>
                <a:endParaRPr lang="el-GR"/>
              </a:p>
            </p:txBody>
          </p:sp>
          <p:sp>
            <p:nvSpPr>
              <p:cNvPr id="83081" name="Freeform 387">
                <a:extLst>
                  <a:ext uri="{FF2B5EF4-FFF2-40B4-BE49-F238E27FC236}">
                    <a16:creationId xmlns:a16="http://schemas.microsoft.com/office/drawing/2014/main" id="{CB9DD0C6-63C6-4E2A-A744-B68F4FD0D721}"/>
                  </a:ext>
                </a:extLst>
              </p:cNvPr>
              <p:cNvSpPr>
                <a:spLocks/>
              </p:cNvSpPr>
              <p:nvPr/>
            </p:nvSpPr>
            <p:spPr bwMode="auto">
              <a:xfrm>
                <a:off x="4576763" y="4283075"/>
                <a:ext cx="296862" cy="266700"/>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rgbClr val="FF0000"/>
              </a:solidFill>
              <a:ln w="9525">
                <a:solidFill>
                  <a:schemeClr val="bg1"/>
                </a:solidFill>
                <a:round/>
                <a:headEnd/>
                <a:tailEnd/>
              </a:ln>
            </p:spPr>
            <p:txBody>
              <a:bodyPr/>
              <a:lstStyle/>
              <a:p>
                <a:endParaRPr lang="el-GR"/>
              </a:p>
            </p:txBody>
          </p:sp>
          <p:sp>
            <p:nvSpPr>
              <p:cNvPr id="83082" name="Freeform 388">
                <a:extLst>
                  <a:ext uri="{FF2B5EF4-FFF2-40B4-BE49-F238E27FC236}">
                    <a16:creationId xmlns:a16="http://schemas.microsoft.com/office/drawing/2014/main" id="{40BD3237-CCD6-4622-9E3C-EAB55B6DFDB4}"/>
                  </a:ext>
                </a:extLst>
              </p:cNvPr>
              <p:cNvSpPr>
                <a:spLocks/>
              </p:cNvSpPr>
              <p:nvPr/>
            </p:nvSpPr>
            <p:spPr bwMode="auto">
              <a:xfrm>
                <a:off x="4865688" y="4384675"/>
                <a:ext cx="320675" cy="187325"/>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rgbClr val="FF0000"/>
              </a:solidFill>
              <a:ln w="9525">
                <a:solidFill>
                  <a:schemeClr val="bg1"/>
                </a:solidFill>
                <a:round/>
                <a:headEnd/>
                <a:tailEnd/>
              </a:ln>
            </p:spPr>
            <p:txBody>
              <a:bodyPr/>
              <a:lstStyle/>
              <a:p>
                <a:endParaRPr lang="el-GR"/>
              </a:p>
            </p:txBody>
          </p:sp>
          <p:sp>
            <p:nvSpPr>
              <p:cNvPr id="83083" name="Freeform 389">
                <a:extLst>
                  <a:ext uri="{FF2B5EF4-FFF2-40B4-BE49-F238E27FC236}">
                    <a16:creationId xmlns:a16="http://schemas.microsoft.com/office/drawing/2014/main" id="{225238B1-6B71-4077-86CF-0536584A857C}"/>
                  </a:ext>
                </a:extLst>
              </p:cNvPr>
              <p:cNvSpPr>
                <a:spLocks/>
              </p:cNvSpPr>
              <p:nvPr/>
            </p:nvSpPr>
            <p:spPr bwMode="auto">
              <a:xfrm>
                <a:off x="4772025" y="4557713"/>
                <a:ext cx="195263" cy="233362"/>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rgbClr val="FF0000"/>
              </a:solidFill>
              <a:ln w="9525">
                <a:solidFill>
                  <a:schemeClr val="bg1"/>
                </a:solidFill>
                <a:round/>
                <a:headEnd/>
                <a:tailEnd/>
              </a:ln>
            </p:spPr>
            <p:txBody>
              <a:bodyPr/>
              <a:lstStyle/>
              <a:p>
                <a:endParaRPr lang="el-GR"/>
              </a:p>
            </p:txBody>
          </p:sp>
          <p:sp>
            <p:nvSpPr>
              <p:cNvPr id="83084" name="Freeform 390">
                <a:extLst>
                  <a:ext uri="{FF2B5EF4-FFF2-40B4-BE49-F238E27FC236}">
                    <a16:creationId xmlns:a16="http://schemas.microsoft.com/office/drawing/2014/main" id="{741D9921-F28A-4F69-9A12-D45AD43CCF1A}"/>
                  </a:ext>
                </a:extLst>
              </p:cNvPr>
              <p:cNvSpPr>
                <a:spLocks/>
              </p:cNvSpPr>
              <p:nvPr/>
            </p:nvSpPr>
            <p:spPr bwMode="auto">
              <a:xfrm>
                <a:off x="4732338" y="4605338"/>
                <a:ext cx="117475" cy="130175"/>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rgbClr val="FF0000"/>
              </a:solidFill>
              <a:ln w="9525">
                <a:solidFill>
                  <a:schemeClr val="bg1"/>
                </a:solidFill>
                <a:round/>
                <a:headEnd/>
                <a:tailEnd/>
              </a:ln>
            </p:spPr>
            <p:txBody>
              <a:bodyPr/>
              <a:lstStyle/>
              <a:p>
                <a:endParaRPr lang="el-GR"/>
              </a:p>
            </p:txBody>
          </p:sp>
          <p:sp>
            <p:nvSpPr>
              <p:cNvPr id="83085" name="Freeform 391">
                <a:extLst>
                  <a:ext uri="{FF2B5EF4-FFF2-40B4-BE49-F238E27FC236}">
                    <a16:creationId xmlns:a16="http://schemas.microsoft.com/office/drawing/2014/main" id="{0471A581-3D25-495D-8A91-9BE3A2347B3E}"/>
                  </a:ext>
                </a:extLst>
              </p:cNvPr>
              <p:cNvSpPr>
                <a:spLocks/>
              </p:cNvSpPr>
              <p:nvPr/>
            </p:nvSpPr>
            <p:spPr bwMode="auto">
              <a:xfrm>
                <a:off x="4700588" y="4346575"/>
                <a:ext cx="187325" cy="258763"/>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rgbClr val="FF0000"/>
              </a:solidFill>
              <a:ln w="9525">
                <a:solidFill>
                  <a:schemeClr val="bg1"/>
                </a:solidFill>
                <a:round/>
                <a:headEnd/>
                <a:tailEnd/>
              </a:ln>
            </p:spPr>
            <p:txBody>
              <a:bodyPr/>
              <a:lstStyle/>
              <a:p>
                <a:endParaRPr lang="el-GR"/>
              </a:p>
            </p:txBody>
          </p:sp>
          <p:sp>
            <p:nvSpPr>
              <p:cNvPr id="83086" name="Freeform 392">
                <a:extLst>
                  <a:ext uri="{FF2B5EF4-FFF2-40B4-BE49-F238E27FC236}">
                    <a16:creationId xmlns:a16="http://schemas.microsoft.com/office/drawing/2014/main" id="{520E9EF1-5EE5-4AAE-909D-F5C241A8FB18}"/>
                  </a:ext>
                </a:extLst>
              </p:cNvPr>
              <p:cNvSpPr>
                <a:spLocks/>
              </p:cNvSpPr>
              <p:nvPr/>
            </p:nvSpPr>
            <p:spPr bwMode="auto">
              <a:xfrm>
                <a:off x="4700588" y="4346575"/>
                <a:ext cx="187325" cy="258763"/>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rgbClr val="FF0000"/>
              </a:solidFill>
              <a:ln w="9525">
                <a:solidFill>
                  <a:schemeClr val="bg1"/>
                </a:solidFill>
                <a:round/>
                <a:headEnd/>
                <a:tailEnd/>
              </a:ln>
            </p:spPr>
            <p:txBody>
              <a:bodyPr/>
              <a:lstStyle/>
              <a:p>
                <a:endParaRPr lang="el-GR"/>
              </a:p>
            </p:txBody>
          </p:sp>
          <p:sp>
            <p:nvSpPr>
              <p:cNvPr id="83087" name="Freeform 393">
                <a:extLst>
                  <a:ext uri="{FF2B5EF4-FFF2-40B4-BE49-F238E27FC236}">
                    <a16:creationId xmlns:a16="http://schemas.microsoft.com/office/drawing/2014/main" id="{934AD15C-25FB-4AC4-9682-7B7203C12F6D}"/>
                  </a:ext>
                </a:extLst>
              </p:cNvPr>
              <p:cNvSpPr>
                <a:spLocks/>
              </p:cNvSpPr>
              <p:nvPr/>
            </p:nvSpPr>
            <p:spPr bwMode="auto">
              <a:xfrm>
                <a:off x="4527550" y="4337050"/>
                <a:ext cx="63500" cy="157163"/>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rgbClr val="FF0000"/>
              </a:solidFill>
              <a:ln w="9525">
                <a:solidFill>
                  <a:schemeClr val="bg1"/>
                </a:solidFill>
                <a:round/>
                <a:headEnd/>
                <a:tailEnd/>
              </a:ln>
            </p:spPr>
            <p:txBody>
              <a:bodyPr/>
              <a:lstStyle/>
              <a:p>
                <a:endParaRPr lang="el-GR"/>
              </a:p>
            </p:txBody>
          </p:sp>
          <p:sp>
            <p:nvSpPr>
              <p:cNvPr id="83088" name="Freeform 394">
                <a:extLst>
                  <a:ext uri="{FF2B5EF4-FFF2-40B4-BE49-F238E27FC236}">
                    <a16:creationId xmlns:a16="http://schemas.microsoft.com/office/drawing/2014/main" id="{93E08C37-04DF-4522-B8A2-EB326FF8BA31}"/>
                  </a:ext>
                </a:extLst>
              </p:cNvPr>
              <p:cNvSpPr>
                <a:spLocks/>
              </p:cNvSpPr>
              <p:nvPr/>
            </p:nvSpPr>
            <p:spPr bwMode="auto">
              <a:xfrm>
                <a:off x="4503738" y="4378325"/>
                <a:ext cx="55562" cy="123825"/>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rgbClr val="FF0000"/>
              </a:solidFill>
              <a:ln w="9525">
                <a:solidFill>
                  <a:schemeClr val="bg1"/>
                </a:solidFill>
                <a:round/>
                <a:headEnd/>
                <a:tailEnd/>
              </a:ln>
            </p:spPr>
            <p:txBody>
              <a:bodyPr/>
              <a:lstStyle/>
              <a:p>
                <a:endParaRPr lang="el-GR"/>
              </a:p>
            </p:txBody>
          </p:sp>
          <p:sp>
            <p:nvSpPr>
              <p:cNvPr id="83089" name="Freeform 395">
                <a:extLst>
                  <a:ext uri="{FF2B5EF4-FFF2-40B4-BE49-F238E27FC236}">
                    <a16:creationId xmlns:a16="http://schemas.microsoft.com/office/drawing/2014/main" id="{C5C2EA32-199B-4B75-8659-CAA6F98FCD3E}"/>
                  </a:ext>
                </a:extLst>
              </p:cNvPr>
              <p:cNvSpPr>
                <a:spLocks/>
              </p:cNvSpPr>
              <p:nvPr/>
            </p:nvSpPr>
            <p:spPr bwMode="auto">
              <a:xfrm>
                <a:off x="4795838" y="5073650"/>
                <a:ext cx="320675" cy="325438"/>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rgbClr val="FF0000"/>
              </a:solidFill>
              <a:ln w="9525">
                <a:solidFill>
                  <a:schemeClr val="bg1"/>
                </a:solidFill>
                <a:round/>
                <a:headEnd/>
                <a:tailEnd/>
              </a:ln>
            </p:spPr>
            <p:txBody>
              <a:bodyPr/>
              <a:lstStyle/>
              <a:p>
                <a:endParaRPr lang="el-GR"/>
              </a:p>
            </p:txBody>
          </p:sp>
          <p:sp>
            <p:nvSpPr>
              <p:cNvPr id="83090" name="Freeform 396">
                <a:extLst>
                  <a:ext uri="{FF2B5EF4-FFF2-40B4-BE49-F238E27FC236}">
                    <a16:creationId xmlns:a16="http://schemas.microsoft.com/office/drawing/2014/main" id="{9E30BA20-B33E-4870-AD70-985977CE566C}"/>
                  </a:ext>
                </a:extLst>
              </p:cNvPr>
              <p:cNvSpPr>
                <a:spLocks/>
              </p:cNvSpPr>
              <p:nvPr/>
            </p:nvSpPr>
            <p:spPr bwMode="auto">
              <a:xfrm>
                <a:off x="4527550" y="4181475"/>
                <a:ext cx="79375" cy="93663"/>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rgbClr val="FF0000"/>
              </a:solidFill>
              <a:ln w="9525">
                <a:solidFill>
                  <a:schemeClr val="bg1"/>
                </a:solidFill>
                <a:round/>
                <a:headEnd/>
                <a:tailEnd/>
              </a:ln>
            </p:spPr>
            <p:txBody>
              <a:bodyPr/>
              <a:lstStyle/>
              <a:p>
                <a:endParaRPr lang="el-GR"/>
              </a:p>
            </p:txBody>
          </p:sp>
          <p:sp>
            <p:nvSpPr>
              <p:cNvPr id="160" name="Freeform 397">
                <a:extLst>
                  <a:ext uri="{FF2B5EF4-FFF2-40B4-BE49-F238E27FC236}">
                    <a16:creationId xmlns:a16="http://schemas.microsoft.com/office/drawing/2014/main" id="{CBE2583B-181D-41A6-BA8A-EB2D9BD6442D}"/>
                  </a:ext>
                </a:extLst>
              </p:cNvPr>
              <p:cNvSpPr>
                <a:spLocks/>
              </p:cNvSpPr>
              <p:nvPr/>
            </p:nvSpPr>
            <p:spPr bwMode="auto">
              <a:xfrm>
                <a:off x="220663" y="2108526"/>
                <a:ext cx="676169" cy="922380"/>
              </a:xfrm>
              <a:custGeom>
                <a:avLst/>
                <a:gdLst>
                  <a:gd name="T0" fmla="*/ 2147483646 w 516"/>
                  <a:gd name="T1" fmla="*/ 2147483646 h 709"/>
                  <a:gd name="T2" fmla="*/ 2147483646 w 516"/>
                  <a:gd name="T3" fmla="*/ 2147483646 h 709"/>
                  <a:gd name="T4" fmla="*/ 2147483646 w 516"/>
                  <a:gd name="T5" fmla="*/ 2147483646 h 709"/>
                  <a:gd name="T6" fmla="*/ 2147483646 w 516"/>
                  <a:gd name="T7" fmla="*/ 2147483646 h 709"/>
                  <a:gd name="T8" fmla="*/ 2147483646 w 516"/>
                  <a:gd name="T9" fmla="*/ 2147483646 h 709"/>
                  <a:gd name="T10" fmla="*/ 2147483646 w 516"/>
                  <a:gd name="T11" fmla="*/ 2147483646 h 709"/>
                  <a:gd name="T12" fmla="*/ 2147483646 w 516"/>
                  <a:gd name="T13" fmla="*/ 2147483646 h 709"/>
                  <a:gd name="T14" fmla="*/ 2147483646 w 516"/>
                  <a:gd name="T15" fmla="*/ 0 h 709"/>
                  <a:gd name="T16" fmla="*/ 2147483646 w 516"/>
                  <a:gd name="T17" fmla="*/ 2147483646 h 709"/>
                  <a:gd name="T18" fmla="*/ 2147483646 w 516"/>
                  <a:gd name="T19" fmla="*/ 2147483646 h 709"/>
                  <a:gd name="T20" fmla="*/ 2147483646 w 516"/>
                  <a:gd name="T21" fmla="*/ 2147483646 h 709"/>
                  <a:gd name="T22" fmla="*/ 2147483646 w 516"/>
                  <a:gd name="T23" fmla="*/ 2147483646 h 709"/>
                  <a:gd name="T24" fmla="*/ 2147483646 w 516"/>
                  <a:gd name="T25" fmla="*/ 2147483646 h 709"/>
                  <a:gd name="T26" fmla="*/ 2147483646 w 516"/>
                  <a:gd name="T27" fmla="*/ 2147483646 h 709"/>
                  <a:gd name="T28" fmla="*/ 2147483646 w 516"/>
                  <a:gd name="T29" fmla="*/ 2147483646 h 709"/>
                  <a:gd name="T30" fmla="*/ 2147483646 w 516"/>
                  <a:gd name="T31" fmla="*/ 2147483646 h 709"/>
                  <a:gd name="T32" fmla="*/ 2147483646 w 516"/>
                  <a:gd name="T33" fmla="*/ 2147483646 h 709"/>
                  <a:gd name="T34" fmla="*/ 2147483646 w 516"/>
                  <a:gd name="T35" fmla="*/ 2147483646 h 709"/>
                  <a:gd name="T36" fmla="*/ 2147483646 w 516"/>
                  <a:gd name="T37" fmla="*/ 2147483646 h 709"/>
                  <a:gd name="T38" fmla="*/ 0 w 516"/>
                  <a:gd name="T39" fmla="*/ 2147483646 h 709"/>
                  <a:gd name="T40" fmla="*/ 2147483646 w 516"/>
                  <a:gd name="T41" fmla="*/ 2147483646 h 709"/>
                  <a:gd name="T42" fmla="*/ 2147483646 w 516"/>
                  <a:gd name="T43" fmla="*/ 2147483646 h 709"/>
                  <a:gd name="T44" fmla="*/ 2147483646 w 516"/>
                  <a:gd name="T45" fmla="*/ 2147483646 h 709"/>
                  <a:gd name="T46" fmla="*/ 2147483646 w 516"/>
                  <a:gd name="T47" fmla="*/ 2147483646 h 709"/>
                  <a:gd name="T48" fmla="*/ 2147483646 w 516"/>
                  <a:gd name="T49" fmla="*/ 2147483646 h 709"/>
                  <a:gd name="T50" fmla="*/ 2147483646 w 516"/>
                  <a:gd name="T51" fmla="*/ 2147483646 h 709"/>
                  <a:gd name="T52" fmla="*/ 2147483646 w 516"/>
                  <a:gd name="T53" fmla="*/ 2147483646 h 709"/>
                  <a:gd name="T54" fmla="*/ 2147483646 w 516"/>
                  <a:gd name="T55" fmla="*/ 2147483646 h 709"/>
                  <a:gd name="T56" fmla="*/ 2147483646 w 516"/>
                  <a:gd name="T57" fmla="*/ 2147483646 h 709"/>
                  <a:gd name="T58" fmla="*/ 2147483646 w 516"/>
                  <a:gd name="T59" fmla="*/ 2147483646 h 709"/>
                  <a:gd name="T60" fmla="*/ 2147483646 w 516"/>
                  <a:gd name="T61" fmla="*/ 2147483646 h 709"/>
                  <a:gd name="T62" fmla="*/ 2147483646 w 516"/>
                  <a:gd name="T63" fmla="*/ 2147483646 h 709"/>
                  <a:gd name="T64" fmla="*/ 2147483646 w 516"/>
                  <a:gd name="T65" fmla="*/ 2147483646 h 709"/>
                  <a:gd name="T66" fmla="*/ 2147483646 w 516"/>
                  <a:gd name="T67" fmla="*/ 2147483646 h 709"/>
                  <a:gd name="T68" fmla="*/ 2147483646 w 516"/>
                  <a:gd name="T69" fmla="*/ 2147483646 h 709"/>
                  <a:gd name="T70" fmla="*/ 2147483646 w 516"/>
                  <a:gd name="T71" fmla="*/ 2147483646 h 709"/>
                  <a:gd name="T72" fmla="*/ 2147483646 w 516"/>
                  <a:gd name="T73" fmla="*/ 2147483646 h 709"/>
                  <a:gd name="T74" fmla="*/ 2147483646 w 516"/>
                  <a:gd name="T75" fmla="*/ 2147483646 h 709"/>
                  <a:gd name="T76" fmla="*/ 2147483646 w 516"/>
                  <a:gd name="T77" fmla="*/ 2147483646 h 709"/>
                  <a:gd name="T78" fmla="*/ 2147483646 w 516"/>
                  <a:gd name="T79" fmla="*/ 2147483646 h 709"/>
                  <a:gd name="T80" fmla="*/ 2147483646 w 516"/>
                  <a:gd name="T81" fmla="*/ 2147483646 h 709"/>
                  <a:gd name="T82" fmla="*/ 2147483646 w 516"/>
                  <a:gd name="T83" fmla="*/ 2147483646 h 709"/>
                  <a:gd name="T84" fmla="*/ 2147483646 w 516"/>
                  <a:gd name="T85" fmla="*/ 2147483646 h 709"/>
                  <a:gd name="T86" fmla="*/ 2147483646 w 516"/>
                  <a:gd name="T87" fmla="*/ 2147483646 h 709"/>
                  <a:gd name="T88" fmla="*/ 2147483646 w 516"/>
                  <a:gd name="T89" fmla="*/ 2147483646 h 709"/>
                  <a:gd name="T90" fmla="*/ 2147483646 w 516"/>
                  <a:gd name="T91" fmla="*/ 2147483646 h 709"/>
                  <a:gd name="T92" fmla="*/ 2147483646 w 516"/>
                  <a:gd name="T93" fmla="*/ 2147483646 h 709"/>
                  <a:gd name="T94" fmla="*/ 2147483646 w 516"/>
                  <a:gd name="T95" fmla="*/ 2147483646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61" name="Freeform 398">
                <a:extLst>
                  <a:ext uri="{FF2B5EF4-FFF2-40B4-BE49-F238E27FC236}">
                    <a16:creationId xmlns:a16="http://schemas.microsoft.com/office/drawing/2014/main" id="{5BA4692F-1C71-4EA1-96B4-DE59304F3F8C}"/>
                  </a:ext>
                </a:extLst>
              </p:cNvPr>
              <p:cNvSpPr>
                <a:spLocks/>
              </p:cNvSpPr>
              <p:nvPr/>
            </p:nvSpPr>
            <p:spPr bwMode="auto">
              <a:xfrm>
                <a:off x="896832" y="2069352"/>
                <a:ext cx="2119335" cy="1453015"/>
              </a:xfrm>
              <a:custGeom>
                <a:avLst/>
                <a:gdLst>
                  <a:gd name="T0" fmla="*/ 2147483646 w 1622"/>
                  <a:gd name="T1" fmla="*/ 2147483646 h 1117"/>
                  <a:gd name="T2" fmla="*/ 2147483646 w 1622"/>
                  <a:gd name="T3" fmla="*/ 2147483646 h 1117"/>
                  <a:gd name="T4" fmla="*/ 2147483646 w 1622"/>
                  <a:gd name="T5" fmla="*/ 2147483646 h 1117"/>
                  <a:gd name="T6" fmla="*/ 2147483646 w 1622"/>
                  <a:gd name="T7" fmla="*/ 2147483646 h 1117"/>
                  <a:gd name="T8" fmla="*/ 2147483646 w 1622"/>
                  <a:gd name="T9" fmla="*/ 2147483646 h 1117"/>
                  <a:gd name="T10" fmla="*/ 2147483646 w 1622"/>
                  <a:gd name="T11" fmla="*/ 2147483646 h 1117"/>
                  <a:gd name="T12" fmla="*/ 2147483646 w 1622"/>
                  <a:gd name="T13" fmla="*/ 2147483646 h 1117"/>
                  <a:gd name="T14" fmla="*/ 2147483646 w 1622"/>
                  <a:gd name="T15" fmla="*/ 2147483646 h 1117"/>
                  <a:gd name="T16" fmla="*/ 2147483646 w 1622"/>
                  <a:gd name="T17" fmla="*/ 2147483646 h 1117"/>
                  <a:gd name="T18" fmla="*/ 2147483646 w 1622"/>
                  <a:gd name="T19" fmla="*/ 2147483646 h 1117"/>
                  <a:gd name="T20" fmla="*/ 2147483646 w 1622"/>
                  <a:gd name="T21" fmla="*/ 2147483646 h 1117"/>
                  <a:gd name="T22" fmla="*/ 2147483646 w 1622"/>
                  <a:gd name="T23" fmla="*/ 2147483646 h 1117"/>
                  <a:gd name="T24" fmla="*/ 2147483646 w 1622"/>
                  <a:gd name="T25" fmla="*/ 2147483646 h 1117"/>
                  <a:gd name="T26" fmla="*/ 2147483646 w 1622"/>
                  <a:gd name="T27" fmla="*/ 2147483646 h 1117"/>
                  <a:gd name="T28" fmla="*/ 2147483646 w 1622"/>
                  <a:gd name="T29" fmla="*/ 2147483646 h 1117"/>
                  <a:gd name="T30" fmla="*/ 2147483646 w 1622"/>
                  <a:gd name="T31" fmla="*/ 2147483646 h 1117"/>
                  <a:gd name="T32" fmla="*/ 2147483646 w 1622"/>
                  <a:gd name="T33" fmla="*/ 2147483646 h 1117"/>
                  <a:gd name="T34" fmla="*/ 2147483646 w 1622"/>
                  <a:gd name="T35" fmla="*/ 2147483646 h 1117"/>
                  <a:gd name="T36" fmla="*/ 2147483646 w 1622"/>
                  <a:gd name="T37" fmla="*/ 2147483646 h 1117"/>
                  <a:gd name="T38" fmla="*/ 2147483646 w 1622"/>
                  <a:gd name="T39" fmla="*/ 2147483646 h 1117"/>
                  <a:gd name="T40" fmla="*/ 2147483646 w 1622"/>
                  <a:gd name="T41" fmla="*/ 2147483646 h 1117"/>
                  <a:gd name="T42" fmla="*/ 2147483646 w 1622"/>
                  <a:gd name="T43" fmla="*/ 2147483646 h 1117"/>
                  <a:gd name="T44" fmla="*/ 2147483646 w 1622"/>
                  <a:gd name="T45" fmla="*/ 2147483646 h 1117"/>
                  <a:gd name="T46" fmla="*/ 2147483646 w 1622"/>
                  <a:gd name="T47" fmla="*/ 2147483646 h 1117"/>
                  <a:gd name="T48" fmla="*/ 2147483646 w 1622"/>
                  <a:gd name="T49" fmla="*/ 2147483646 h 1117"/>
                  <a:gd name="T50" fmla="*/ 2147483646 w 1622"/>
                  <a:gd name="T51" fmla="*/ 2147483646 h 1117"/>
                  <a:gd name="T52" fmla="*/ 2147483646 w 1622"/>
                  <a:gd name="T53" fmla="*/ 2147483646 h 1117"/>
                  <a:gd name="T54" fmla="*/ 2147483646 w 1622"/>
                  <a:gd name="T55" fmla="*/ 2147483646 h 1117"/>
                  <a:gd name="T56" fmla="*/ 2147483646 w 1622"/>
                  <a:gd name="T57" fmla="*/ 2147483646 h 1117"/>
                  <a:gd name="T58" fmla="*/ 2147483646 w 1622"/>
                  <a:gd name="T59" fmla="*/ 2147483646 h 1117"/>
                  <a:gd name="T60" fmla="*/ 2147483646 w 1622"/>
                  <a:gd name="T61" fmla="*/ 2147483646 h 1117"/>
                  <a:gd name="T62" fmla="*/ 2147483646 w 1622"/>
                  <a:gd name="T63" fmla="*/ 2147483646 h 1117"/>
                  <a:gd name="T64" fmla="*/ 2147483646 w 1622"/>
                  <a:gd name="T65" fmla="*/ 2147483646 h 1117"/>
                  <a:gd name="T66" fmla="*/ 2147483646 w 1622"/>
                  <a:gd name="T67" fmla="*/ 2147483646 h 1117"/>
                  <a:gd name="T68" fmla="*/ 2147483646 w 1622"/>
                  <a:gd name="T69" fmla="*/ 2147483646 h 1117"/>
                  <a:gd name="T70" fmla="*/ 2147483646 w 1622"/>
                  <a:gd name="T71" fmla="*/ 2147483646 h 1117"/>
                  <a:gd name="T72" fmla="*/ 2147483646 w 1622"/>
                  <a:gd name="T73" fmla="*/ 2147483646 h 1117"/>
                  <a:gd name="T74" fmla="*/ 2147483646 w 1622"/>
                  <a:gd name="T75" fmla="*/ 2147483646 h 1117"/>
                  <a:gd name="T76" fmla="*/ 2147483646 w 1622"/>
                  <a:gd name="T77" fmla="*/ 2147483646 h 1117"/>
                  <a:gd name="T78" fmla="*/ 2147483646 w 1622"/>
                  <a:gd name="T79" fmla="*/ 2147483646 h 1117"/>
                  <a:gd name="T80" fmla="*/ 2147483646 w 1622"/>
                  <a:gd name="T81" fmla="*/ 0 h 1117"/>
                  <a:gd name="T82" fmla="*/ 2147483646 w 1622"/>
                  <a:gd name="T83" fmla="*/ 2147483646 h 1117"/>
                  <a:gd name="T84" fmla="*/ 2147483646 w 1622"/>
                  <a:gd name="T85" fmla="*/ 2147483646 h 1117"/>
                  <a:gd name="T86" fmla="*/ 2147483646 w 1622"/>
                  <a:gd name="T87" fmla="*/ 2147483646 h 1117"/>
                  <a:gd name="T88" fmla="*/ 2147483646 w 1622"/>
                  <a:gd name="T89" fmla="*/ 2147483646 h 1117"/>
                  <a:gd name="T90" fmla="*/ 2147483646 w 1622"/>
                  <a:gd name="T91" fmla="*/ 2147483646 h 1117"/>
                  <a:gd name="T92" fmla="*/ 2147483646 w 1622"/>
                  <a:gd name="T93" fmla="*/ 2147483646 h 1117"/>
                  <a:gd name="T94" fmla="*/ 2147483646 w 1622"/>
                  <a:gd name="T95" fmla="*/ 2147483646 h 1117"/>
                  <a:gd name="T96" fmla="*/ 2147483646 w 1622"/>
                  <a:gd name="T97" fmla="*/ 2147483646 h 1117"/>
                  <a:gd name="T98" fmla="*/ 2147483646 w 1622"/>
                  <a:gd name="T99" fmla="*/ 2147483646 h 1117"/>
                  <a:gd name="T100" fmla="*/ 2147483646 w 1622"/>
                  <a:gd name="T101" fmla="*/ 2147483646 h 1117"/>
                  <a:gd name="T102" fmla="*/ 2147483646 w 1622"/>
                  <a:gd name="T103" fmla="*/ 2147483646 h 1117"/>
                  <a:gd name="T104" fmla="*/ 2147483646 w 1622"/>
                  <a:gd name="T105" fmla="*/ 2147483646 h 1117"/>
                  <a:gd name="T106" fmla="*/ 2147483646 w 1622"/>
                  <a:gd name="T107" fmla="*/ 2147483646 h 1117"/>
                  <a:gd name="T108" fmla="*/ 2147483646 w 1622"/>
                  <a:gd name="T109" fmla="*/ 2147483646 h 1117"/>
                  <a:gd name="T110" fmla="*/ 0 w 1622"/>
                  <a:gd name="T111" fmla="*/ 2147483646 h 1117"/>
                  <a:gd name="T112" fmla="*/ 2147483646 w 1622"/>
                  <a:gd name="T113" fmla="*/ 2147483646 h 1117"/>
                  <a:gd name="T114" fmla="*/ 2147483646 w 1622"/>
                  <a:gd name="T115" fmla="*/ 2147483646 h 1117"/>
                  <a:gd name="T116" fmla="*/ 2147483646 w 1622"/>
                  <a:gd name="T117" fmla="*/ 2147483646 h 1117"/>
                  <a:gd name="T118" fmla="*/ 2147483646 w 1622"/>
                  <a:gd name="T119" fmla="*/ 2147483646 h 1117"/>
                  <a:gd name="T120" fmla="*/ 2147483646 w 1622"/>
                  <a:gd name="T121" fmla="*/ 2147483646 h 1117"/>
                  <a:gd name="T122" fmla="*/ 2147483646 w 1622"/>
                  <a:gd name="T123" fmla="*/ 2147483646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093" name="Freeform 399">
                <a:extLst>
                  <a:ext uri="{FF2B5EF4-FFF2-40B4-BE49-F238E27FC236}">
                    <a16:creationId xmlns:a16="http://schemas.microsoft.com/office/drawing/2014/main" id="{7AAD0BB1-0C67-403F-946E-BEA9D5A51E48}"/>
                  </a:ext>
                </a:extLst>
              </p:cNvPr>
              <p:cNvSpPr>
                <a:spLocks/>
              </p:cNvSpPr>
              <p:nvPr/>
            </p:nvSpPr>
            <p:spPr bwMode="auto">
              <a:xfrm>
                <a:off x="1296988" y="3279775"/>
                <a:ext cx="1435100" cy="741363"/>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rgbClr val="92D050"/>
              </a:solidFill>
              <a:ln w="9525">
                <a:solidFill>
                  <a:schemeClr val="bg1"/>
                </a:solidFill>
                <a:round/>
                <a:headEnd/>
                <a:tailEnd/>
              </a:ln>
            </p:spPr>
            <p:txBody>
              <a:bodyPr/>
              <a:lstStyle/>
              <a:p>
                <a:endParaRPr lang="el-GR"/>
              </a:p>
            </p:txBody>
          </p:sp>
          <p:sp>
            <p:nvSpPr>
              <p:cNvPr id="83094" name="Freeform 400">
                <a:extLst>
                  <a:ext uri="{FF2B5EF4-FFF2-40B4-BE49-F238E27FC236}">
                    <a16:creationId xmlns:a16="http://schemas.microsoft.com/office/drawing/2014/main" id="{3395D483-C65C-4D34-9651-7C06938BBAE1}"/>
                  </a:ext>
                </a:extLst>
              </p:cNvPr>
              <p:cNvSpPr>
                <a:spLocks/>
              </p:cNvSpPr>
              <p:nvPr/>
            </p:nvSpPr>
            <p:spPr bwMode="auto">
              <a:xfrm>
                <a:off x="2212975" y="4286250"/>
                <a:ext cx="111125" cy="112713"/>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rgbClr val="92D050"/>
              </a:solidFill>
              <a:ln w="9525">
                <a:solidFill>
                  <a:schemeClr val="bg1"/>
                </a:solidFill>
                <a:round/>
                <a:headEnd/>
                <a:tailEnd/>
              </a:ln>
            </p:spPr>
            <p:txBody>
              <a:bodyPr/>
              <a:lstStyle/>
              <a:p>
                <a:endParaRPr lang="el-GR"/>
              </a:p>
            </p:txBody>
          </p:sp>
          <p:sp>
            <p:nvSpPr>
              <p:cNvPr id="83095" name="Freeform 401">
                <a:extLst>
                  <a:ext uri="{FF2B5EF4-FFF2-40B4-BE49-F238E27FC236}">
                    <a16:creationId xmlns:a16="http://schemas.microsoft.com/office/drawing/2014/main" id="{70E6B032-DCC7-4ECB-9CB4-180C549A9F36}"/>
                  </a:ext>
                </a:extLst>
              </p:cNvPr>
              <p:cNvSpPr>
                <a:spLocks/>
              </p:cNvSpPr>
              <p:nvPr/>
            </p:nvSpPr>
            <p:spPr bwMode="auto">
              <a:xfrm>
                <a:off x="2252663" y="4389438"/>
                <a:ext cx="95250" cy="69850"/>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rgbClr val="92D050"/>
              </a:solidFill>
              <a:ln w="9525">
                <a:solidFill>
                  <a:schemeClr val="bg1"/>
                </a:solidFill>
                <a:round/>
                <a:headEnd/>
                <a:tailEnd/>
              </a:ln>
            </p:spPr>
            <p:txBody>
              <a:bodyPr/>
              <a:lstStyle/>
              <a:p>
                <a:endParaRPr lang="el-GR"/>
              </a:p>
            </p:txBody>
          </p:sp>
          <p:sp>
            <p:nvSpPr>
              <p:cNvPr id="83096" name="Freeform 402">
                <a:extLst>
                  <a:ext uri="{FF2B5EF4-FFF2-40B4-BE49-F238E27FC236}">
                    <a16:creationId xmlns:a16="http://schemas.microsoft.com/office/drawing/2014/main" id="{37FD97C7-58FB-4D5A-95B3-BDD185A3EF80}"/>
                  </a:ext>
                </a:extLst>
              </p:cNvPr>
              <p:cNvSpPr>
                <a:spLocks/>
              </p:cNvSpPr>
              <p:nvPr/>
            </p:nvSpPr>
            <p:spPr bwMode="auto">
              <a:xfrm>
                <a:off x="2339975" y="4429125"/>
                <a:ext cx="141288" cy="60325"/>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rgbClr val="92D050"/>
              </a:solidFill>
              <a:ln w="9525">
                <a:solidFill>
                  <a:schemeClr val="bg1"/>
                </a:solidFill>
                <a:round/>
                <a:headEnd/>
                <a:tailEnd/>
              </a:ln>
            </p:spPr>
            <p:txBody>
              <a:bodyPr/>
              <a:lstStyle/>
              <a:p>
                <a:endParaRPr lang="el-GR"/>
              </a:p>
            </p:txBody>
          </p:sp>
          <p:sp>
            <p:nvSpPr>
              <p:cNvPr id="83097" name="Freeform 403">
                <a:extLst>
                  <a:ext uri="{FF2B5EF4-FFF2-40B4-BE49-F238E27FC236}">
                    <a16:creationId xmlns:a16="http://schemas.microsoft.com/office/drawing/2014/main" id="{C0427EC7-16BE-4759-875D-488A8BF5DE84}"/>
                  </a:ext>
                </a:extLst>
              </p:cNvPr>
              <p:cNvSpPr>
                <a:spLocks/>
              </p:cNvSpPr>
              <p:nvPr/>
            </p:nvSpPr>
            <p:spPr bwMode="auto">
              <a:xfrm>
                <a:off x="2433638" y="4359275"/>
                <a:ext cx="290512" cy="319088"/>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rgbClr val="92D050"/>
              </a:solidFill>
              <a:ln w="9525">
                <a:solidFill>
                  <a:schemeClr val="bg1"/>
                </a:solidFill>
                <a:round/>
                <a:headEnd/>
                <a:tailEnd/>
              </a:ln>
            </p:spPr>
            <p:txBody>
              <a:bodyPr/>
              <a:lstStyle/>
              <a:p>
                <a:endParaRPr lang="el-GR"/>
              </a:p>
            </p:txBody>
          </p:sp>
          <p:sp>
            <p:nvSpPr>
              <p:cNvPr id="167" name="Freeform 422">
                <a:extLst>
                  <a:ext uri="{FF2B5EF4-FFF2-40B4-BE49-F238E27FC236}">
                    <a16:creationId xmlns:a16="http://schemas.microsoft.com/office/drawing/2014/main" id="{E7EF4B36-2893-442A-9246-C90F314EE137}"/>
                  </a:ext>
                </a:extLst>
              </p:cNvPr>
              <p:cNvSpPr>
                <a:spLocks/>
              </p:cNvSpPr>
              <p:nvPr/>
            </p:nvSpPr>
            <p:spPr bwMode="auto">
              <a:xfrm>
                <a:off x="2173479" y="4264901"/>
                <a:ext cx="151381" cy="69445"/>
              </a:xfrm>
              <a:custGeom>
                <a:avLst/>
                <a:gdLst>
                  <a:gd name="T0" fmla="*/ 2147483646 w 19"/>
                  <a:gd name="T1" fmla="*/ 2147483646 h 9"/>
                  <a:gd name="T2" fmla="*/ 2147483646 w 19"/>
                  <a:gd name="T3" fmla="*/ 2147483646 h 9"/>
                  <a:gd name="T4" fmla="*/ 2147483646 w 19"/>
                  <a:gd name="T5" fmla="*/ 0 h 9"/>
                  <a:gd name="T6" fmla="*/ 2147483646 w 19"/>
                  <a:gd name="T7" fmla="*/ 2147483646 h 9"/>
                  <a:gd name="T8" fmla="*/ 0 w 19"/>
                  <a:gd name="T9" fmla="*/ 2147483646 h 9"/>
                  <a:gd name="T10" fmla="*/ 0 w 19"/>
                  <a:gd name="T11" fmla="*/ 2147483646 h 9"/>
                  <a:gd name="T12" fmla="*/ 2147483646 w 19"/>
                  <a:gd name="T13" fmla="*/ 2147483646 h 9"/>
                  <a:gd name="T14" fmla="*/ 2147483646 w 19"/>
                  <a:gd name="T15" fmla="*/ 2147483646 h 9"/>
                  <a:gd name="T16" fmla="*/ 2147483646 w 19"/>
                  <a:gd name="T17" fmla="*/ 2147483646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68" name="Freeform 423">
                <a:extLst>
                  <a:ext uri="{FF2B5EF4-FFF2-40B4-BE49-F238E27FC236}">
                    <a16:creationId xmlns:a16="http://schemas.microsoft.com/office/drawing/2014/main" id="{EB806F5A-AE78-4656-B2F6-A752EADBEF66}"/>
                  </a:ext>
                </a:extLst>
              </p:cNvPr>
              <p:cNvSpPr>
                <a:spLocks/>
              </p:cNvSpPr>
              <p:nvPr/>
            </p:nvSpPr>
            <p:spPr bwMode="auto">
              <a:xfrm>
                <a:off x="2094424" y="4222165"/>
                <a:ext cx="117741" cy="99717"/>
              </a:xfrm>
              <a:custGeom>
                <a:avLst/>
                <a:gdLst>
                  <a:gd name="T0" fmla="*/ 2147483646 w 15"/>
                  <a:gd name="T1" fmla="*/ 2147483646 h 12"/>
                  <a:gd name="T2" fmla="*/ 2147483646 w 15"/>
                  <a:gd name="T3" fmla="*/ 2147483646 h 12"/>
                  <a:gd name="T4" fmla="*/ 2147483646 w 15"/>
                  <a:gd name="T5" fmla="*/ 0 h 12"/>
                  <a:gd name="T6" fmla="*/ 2147483646 w 15"/>
                  <a:gd name="T7" fmla="*/ 0 h 12"/>
                  <a:gd name="T8" fmla="*/ 2147483646 w 15"/>
                  <a:gd name="T9" fmla="*/ 2147483646 h 12"/>
                  <a:gd name="T10" fmla="*/ 2147483646 w 15"/>
                  <a:gd name="T11" fmla="*/ 2147483646 h 12"/>
                  <a:gd name="T12" fmla="*/ 2147483646 w 15"/>
                  <a:gd name="T13" fmla="*/ 2147483646 h 12"/>
                  <a:gd name="T14" fmla="*/ 2147483646 w 15"/>
                  <a:gd name="T15" fmla="*/ 2147483646 h 12"/>
                  <a:gd name="T16" fmla="*/ 0 w 15"/>
                  <a:gd name="T17" fmla="*/ 2147483646 h 12"/>
                  <a:gd name="T18" fmla="*/ 2147483646 w 15"/>
                  <a:gd name="T19" fmla="*/ 2147483646 h 12"/>
                  <a:gd name="T20" fmla="*/ 2147483646 w 15"/>
                  <a:gd name="T21" fmla="*/ 2147483646 h 12"/>
                  <a:gd name="T22" fmla="*/ 2147483646 w 15"/>
                  <a:gd name="T23" fmla="*/ 2147483646 h 12"/>
                  <a:gd name="T24" fmla="*/ 2147483646 w 15"/>
                  <a:gd name="T25" fmla="*/ 2147483646 h 12"/>
                  <a:gd name="T26" fmla="*/ 2147483646 w 15"/>
                  <a:gd name="T27" fmla="*/ 214748364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00" name="Freeform 424">
                <a:extLst>
                  <a:ext uri="{FF2B5EF4-FFF2-40B4-BE49-F238E27FC236}">
                    <a16:creationId xmlns:a16="http://schemas.microsoft.com/office/drawing/2014/main" id="{469AD4C9-852E-49F5-BDE7-D32F608A29AF}"/>
                  </a:ext>
                </a:extLst>
              </p:cNvPr>
              <p:cNvSpPr>
                <a:spLocks/>
              </p:cNvSpPr>
              <p:nvPr/>
            </p:nvSpPr>
            <p:spPr bwMode="auto">
              <a:xfrm>
                <a:off x="1484313" y="3810000"/>
                <a:ext cx="754062" cy="493713"/>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rgbClr val="92D050"/>
              </a:solidFill>
              <a:ln w="9525">
                <a:solidFill>
                  <a:schemeClr val="bg1"/>
                </a:solidFill>
                <a:round/>
                <a:headEnd/>
                <a:tailEnd/>
              </a:ln>
            </p:spPr>
            <p:txBody>
              <a:bodyPr/>
              <a:lstStyle/>
              <a:p>
                <a:endParaRPr lang="el-GR"/>
              </a:p>
            </p:txBody>
          </p:sp>
          <p:sp>
            <p:nvSpPr>
              <p:cNvPr id="83101" name="Freeform 425">
                <a:extLst>
                  <a:ext uri="{FF2B5EF4-FFF2-40B4-BE49-F238E27FC236}">
                    <a16:creationId xmlns:a16="http://schemas.microsoft.com/office/drawing/2014/main" id="{713E0005-F06C-493B-9A9D-AAB72DC5B156}"/>
                  </a:ext>
                </a:extLst>
              </p:cNvPr>
              <p:cNvSpPr>
                <a:spLocks/>
              </p:cNvSpPr>
              <p:nvPr/>
            </p:nvSpPr>
            <p:spPr bwMode="auto">
              <a:xfrm rot="-852288">
                <a:off x="3038828" y="1765313"/>
                <a:ext cx="812800" cy="896938"/>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rgbClr val="FF0000"/>
              </a:solidFill>
              <a:ln w="9525">
                <a:solidFill>
                  <a:schemeClr val="bg1"/>
                </a:solidFill>
                <a:round/>
                <a:headEnd/>
                <a:tailEnd/>
              </a:ln>
            </p:spPr>
            <p:txBody>
              <a:bodyPr/>
              <a:lstStyle/>
              <a:p>
                <a:endParaRPr lang="el-GR"/>
              </a:p>
            </p:txBody>
          </p:sp>
          <p:sp>
            <p:nvSpPr>
              <p:cNvPr id="171" name="Freeform 426">
                <a:extLst>
                  <a:ext uri="{FF2B5EF4-FFF2-40B4-BE49-F238E27FC236}">
                    <a16:creationId xmlns:a16="http://schemas.microsoft.com/office/drawing/2014/main" id="{D587F240-0E36-4180-B6AE-3F70BE6AC51D}"/>
                  </a:ext>
                </a:extLst>
              </p:cNvPr>
              <p:cNvSpPr>
                <a:spLocks/>
              </p:cNvSpPr>
              <p:nvPr/>
            </p:nvSpPr>
            <p:spPr bwMode="auto">
              <a:xfrm>
                <a:off x="1751294" y="2072913"/>
                <a:ext cx="40368" cy="37394"/>
              </a:xfrm>
              <a:custGeom>
                <a:avLst/>
                <a:gdLst>
                  <a:gd name="T0" fmla="*/ 2147483646 w 40"/>
                  <a:gd name="T1" fmla="*/ 2147483646 h 36"/>
                  <a:gd name="T2" fmla="*/ 2147483646 w 40"/>
                  <a:gd name="T3" fmla="*/ 2147483646 h 36"/>
                  <a:gd name="T4" fmla="*/ 2147483646 w 40"/>
                  <a:gd name="T5" fmla="*/ 2147483646 h 36"/>
                  <a:gd name="T6" fmla="*/ 2147483646 w 40"/>
                  <a:gd name="T7" fmla="*/ 2147483646 h 36"/>
                  <a:gd name="T8" fmla="*/ 2147483646 w 40"/>
                  <a:gd name="T9" fmla="*/ 2147483646 h 36"/>
                  <a:gd name="T10" fmla="*/ 2147483646 w 40"/>
                  <a:gd name="T11" fmla="*/ 2147483646 h 36"/>
                  <a:gd name="T12" fmla="*/ 2147483646 w 40"/>
                  <a:gd name="T13" fmla="*/ 2147483646 h 36"/>
                  <a:gd name="T14" fmla="*/ 2147483646 w 40"/>
                  <a:gd name="T15" fmla="*/ 2147483646 h 36"/>
                  <a:gd name="T16" fmla="*/ 2147483646 w 40"/>
                  <a:gd name="T17" fmla="*/ 2147483646 h 36"/>
                  <a:gd name="T18" fmla="*/ 2147483646 w 40"/>
                  <a:gd name="T19" fmla="*/ 2147483646 h 36"/>
                  <a:gd name="T20" fmla="*/ 2147483646 w 40"/>
                  <a:gd name="T21" fmla="*/ 2147483646 h 36"/>
                  <a:gd name="T22" fmla="*/ 2147483646 w 40"/>
                  <a:gd name="T23" fmla="*/ 2147483646 h 36"/>
                  <a:gd name="T24" fmla="*/ 2147483646 w 40"/>
                  <a:gd name="T25" fmla="*/ 2147483646 h 36"/>
                  <a:gd name="T26" fmla="*/ 2147483646 w 40"/>
                  <a:gd name="T27" fmla="*/ 2147483646 h 36"/>
                  <a:gd name="T28" fmla="*/ 0 w 40"/>
                  <a:gd name="T29" fmla="*/ 2147483646 h 36"/>
                  <a:gd name="T30" fmla="*/ 2147483646 w 40"/>
                  <a:gd name="T31" fmla="*/ 2147483646 h 36"/>
                  <a:gd name="T32" fmla="*/ 2147483646 w 40"/>
                  <a:gd name="T33" fmla="*/ 2147483646 h 36"/>
                  <a:gd name="T34" fmla="*/ 2147483646 w 40"/>
                  <a:gd name="T35" fmla="*/ 2147483646 h 36"/>
                  <a:gd name="T36" fmla="*/ 2147483646 w 40"/>
                  <a:gd name="T37" fmla="*/ 2147483646 h 36"/>
                  <a:gd name="T38" fmla="*/ 2147483646 w 40"/>
                  <a:gd name="T39" fmla="*/ 0 h 36"/>
                  <a:gd name="T40" fmla="*/ 2147483646 w 40"/>
                  <a:gd name="T41" fmla="*/ 2147483646 h 36"/>
                  <a:gd name="T42" fmla="*/ 2147483646 w 40"/>
                  <a:gd name="T43" fmla="*/ 2147483646 h 36"/>
                  <a:gd name="T44" fmla="*/ 2147483646 w 40"/>
                  <a:gd name="T45" fmla="*/ 2147483646 h 36"/>
                  <a:gd name="T46" fmla="*/ 2147483646 w 40"/>
                  <a:gd name="T47" fmla="*/ 2147483646 h 36"/>
                  <a:gd name="T48" fmla="*/ 2147483646 w 40"/>
                  <a:gd name="T49" fmla="*/ 2147483646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2" name="Freeform 427">
                <a:extLst>
                  <a:ext uri="{FF2B5EF4-FFF2-40B4-BE49-F238E27FC236}">
                    <a16:creationId xmlns:a16="http://schemas.microsoft.com/office/drawing/2014/main" id="{56C42609-DB56-4E92-8C6F-A7F70F2DF59F}"/>
                  </a:ext>
                </a:extLst>
              </p:cNvPr>
              <p:cNvSpPr>
                <a:spLocks/>
              </p:cNvSpPr>
              <p:nvPr/>
            </p:nvSpPr>
            <p:spPr bwMode="auto">
              <a:xfrm>
                <a:off x="2102835" y="2368502"/>
                <a:ext cx="0" cy="5343"/>
              </a:xfrm>
              <a:custGeom>
                <a:avLst/>
                <a:gdLst>
                  <a:gd name="T0" fmla="*/ 1 w 1"/>
                  <a:gd name="T1" fmla="*/ 2147483646 h 4"/>
                  <a:gd name="T2" fmla="*/ 1 w 1"/>
                  <a:gd name="T3" fmla="*/ 2147483646 h 4"/>
                  <a:gd name="T4" fmla="*/ 1 w 1"/>
                  <a:gd name="T5" fmla="*/ 2147483646 h 4"/>
                  <a:gd name="T6" fmla="*/ 0 w 1"/>
                  <a:gd name="T7" fmla="*/ 0 h 4"/>
                  <a:gd name="T8" fmla="*/ 0 w 1"/>
                  <a:gd name="T9" fmla="*/ 0 h 4"/>
                  <a:gd name="T10" fmla="*/ 1 w 1"/>
                  <a:gd name="T11" fmla="*/ 2147483646 h 4"/>
                  <a:gd name="T12" fmla="*/ 1 w 1"/>
                  <a:gd name="T13" fmla="*/ 2147483646 h 4"/>
                  <a:gd name="T14" fmla="*/ 1 w 1"/>
                  <a:gd name="T15" fmla="*/ 2147483646 h 4"/>
                  <a:gd name="T16" fmla="*/ 1 w 1"/>
                  <a:gd name="T17" fmla="*/ 2147483646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3" name="Freeform 428">
                <a:extLst>
                  <a:ext uri="{FF2B5EF4-FFF2-40B4-BE49-F238E27FC236}">
                    <a16:creationId xmlns:a16="http://schemas.microsoft.com/office/drawing/2014/main" id="{549FB753-9C2B-4C07-ACF0-ED6E9C1BE5C5}"/>
                  </a:ext>
                </a:extLst>
              </p:cNvPr>
              <p:cNvSpPr>
                <a:spLocks/>
              </p:cNvSpPr>
              <p:nvPr/>
            </p:nvSpPr>
            <p:spPr bwMode="auto">
              <a:xfrm>
                <a:off x="2461103" y="2402335"/>
                <a:ext cx="3364" cy="5341"/>
              </a:xfrm>
              <a:custGeom>
                <a:avLst/>
                <a:gdLst>
                  <a:gd name="T0" fmla="*/ 2147483646 w 5"/>
                  <a:gd name="T1" fmla="*/ 2147483646 h 8"/>
                  <a:gd name="T2" fmla="*/ 2147483646 w 5"/>
                  <a:gd name="T3" fmla="*/ 2147483646 h 8"/>
                  <a:gd name="T4" fmla="*/ 2147483646 w 5"/>
                  <a:gd name="T5" fmla="*/ 2147483646 h 8"/>
                  <a:gd name="T6" fmla="*/ 2147483646 w 5"/>
                  <a:gd name="T7" fmla="*/ 2147483646 h 8"/>
                  <a:gd name="T8" fmla="*/ 2147483646 w 5"/>
                  <a:gd name="T9" fmla="*/ 0 h 8"/>
                  <a:gd name="T10" fmla="*/ 0 w 5"/>
                  <a:gd name="T11" fmla="*/ 0 h 8"/>
                  <a:gd name="T12" fmla="*/ 0 w 5"/>
                  <a:gd name="T13" fmla="*/ 2147483646 h 8"/>
                  <a:gd name="T14" fmla="*/ 2147483646 w 5"/>
                  <a:gd name="T15" fmla="*/ 2147483646 h 8"/>
                  <a:gd name="T16" fmla="*/ 2147483646 w 5"/>
                  <a:gd name="T17" fmla="*/ 2147483646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4" name="Freeform 429">
                <a:extLst>
                  <a:ext uri="{FF2B5EF4-FFF2-40B4-BE49-F238E27FC236}">
                    <a16:creationId xmlns:a16="http://schemas.microsoft.com/office/drawing/2014/main" id="{DB2630F8-46EB-45D4-9E72-B217EAC75B16}"/>
                  </a:ext>
                </a:extLst>
              </p:cNvPr>
              <p:cNvSpPr>
                <a:spLocks/>
              </p:cNvSpPr>
              <p:nvPr/>
            </p:nvSpPr>
            <p:spPr bwMode="auto">
              <a:xfrm>
                <a:off x="2109563" y="1983880"/>
                <a:ext cx="15138" cy="14245"/>
              </a:xfrm>
              <a:custGeom>
                <a:avLst/>
                <a:gdLst>
                  <a:gd name="T0" fmla="*/ 2147483646 w 14"/>
                  <a:gd name="T1" fmla="*/ 2147483646 h 15"/>
                  <a:gd name="T2" fmla="*/ 2147483646 w 14"/>
                  <a:gd name="T3" fmla="*/ 2147483646 h 15"/>
                  <a:gd name="T4" fmla="*/ 2147483646 w 14"/>
                  <a:gd name="T5" fmla="*/ 2147483646 h 15"/>
                  <a:gd name="T6" fmla="*/ 2147483646 w 14"/>
                  <a:gd name="T7" fmla="*/ 2147483646 h 15"/>
                  <a:gd name="T8" fmla="*/ 2147483646 w 14"/>
                  <a:gd name="T9" fmla="*/ 2147483646 h 15"/>
                  <a:gd name="T10" fmla="*/ 2147483646 w 14"/>
                  <a:gd name="T11" fmla="*/ 2147483646 h 15"/>
                  <a:gd name="T12" fmla="*/ 2147483646 w 14"/>
                  <a:gd name="T13" fmla="*/ 2147483646 h 15"/>
                  <a:gd name="T14" fmla="*/ 2147483646 w 14"/>
                  <a:gd name="T15" fmla="*/ 2147483646 h 15"/>
                  <a:gd name="T16" fmla="*/ 2147483646 w 14"/>
                  <a:gd name="T17" fmla="*/ 0 h 15"/>
                  <a:gd name="T18" fmla="*/ 2147483646 w 14"/>
                  <a:gd name="T19" fmla="*/ 2147483646 h 15"/>
                  <a:gd name="T20" fmla="*/ 2147483646 w 14"/>
                  <a:gd name="T21" fmla="*/ 2147483646 h 15"/>
                  <a:gd name="T22" fmla="*/ 2147483646 w 14"/>
                  <a:gd name="T23" fmla="*/ 2147483646 h 15"/>
                  <a:gd name="T24" fmla="*/ 0 w 14"/>
                  <a:gd name="T25" fmla="*/ 2147483646 h 15"/>
                  <a:gd name="T26" fmla="*/ 2147483646 w 14"/>
                  <a:gd name="T27" fmla="*/ 2147483646 h 15"/>
                  <a:gd name="T28" fmla="*/ 2147483646 w 14"/>
                  <a:gd name="T29" fmla="*/ 2147483646 h 15"/>
                  <a:gd name="T30" fmla="*/ 2147483646 w 14"/>
                  <a:gd name="T31" fmla="*/ 2147483646 h 15"/>
                  <a:gd name="T32" fmla="*/ 2147483646 w 14"/>
                  <a:gd name="T33" fmla="*/ 2147483646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5" name="Freeform 430">
                <a:extLst>
                  <a:ext uri="{FF2B5EF4-FFF2-40B4-BE49-F238E27FC236}">
                    <a16:creationId xmlns:a16="http://schemas.microsoft.com/office/drawing/2014/main" id="{5647D2FF-7BF7-43DD-858C-18CA75A5EC07}"/>
                  </a:ext>
                </a:extLst>
              </p:cNvPr>
              <p:cNvSpPr>
                <a:spLocks/>
              </p:cNvSpPr>
              <p:nvPr/>
            </p:nvSpPr>
            <p:spPr bwMode="auto">
              <a:xfrm>
                <a:off x="2297948" y="2452193"/>
                <a:ext cx="142970" cy="121085"/>
              </a:xfrm>
              <a:custGeom>
                <a:avLst/>
                <a:gdLst>
                  <a:gd name="T0" fmla="*/ 2147483646 w 135"/>
                  <a:gd name="T1" fmla="*/ 2147483646 h 119"/>
                  <a:gd name="T2" fmla="*/ 2147483646 w 135"/>
                  <a:gd name="T3" fmla="*/ 2147483646 h 119"/>
                  <a:gd name="T4" fmla="*/ 2147483646 w 135"/>
                  <a:gd name="T5" fmla="*/ 2147483646 h 119"/>
                  <a:gd name="T6" fmla="*/ 2147483646 w 135"/>
                  <a:gd name="T7" fmla="*/ 2147483646 h 119"/>
                  <a:gd name="T8" fmla="*/ 2147483646 w 135"/>
                  <a:gd name="T9" fmla="*/ 2147483646 h 119"/>
                  <a:gd name="T10" fmla="*/ 2147483646 w 135"/>
                  <a:gd name="T11" fmla="*/ 2147483646 h 119"/>
                  <a:gd name="T12" fmla="*/ 2147483646 w 135"/>
                  <a:gd name="T13" fmla="*/ 2147483646 h 119"/>
                  <a:gd name="T14" fmla="*/ 2147483646 w 135"/>
                  <a:gd name="T15" fmla="*/ 2147483646 h 119"/>
                  <a:gd name="T16" fmla="*/ 2147483646 w 135"/>
                  <a:gd name="T17" fmla="*/ 2147483646 h 119"/>
                  <a:gd name="T18" fmla="*/ 2147483646 w 135"/>
                  <a:gd name="T19" fmla="*/ 2147483646 h 119"/>
                  <a:gd name="T20" fmla="*/ 2147483646 w 135"/>
                  <a:gd name="T21" fmla="*/ 2147483646 h 119"/>
                  <a:gd name="T22" fmla="*/ 2147483646 w 135"/>
                  <a:gd name="T23" fmla="*/ 2147483646 h 119"/>
                  <a:gd name="T24" fmla="*/ 2147483646 w 135"/>
                  <a:gd name="T25" fmla="*/ 2147483646 h 119"/>
                  <a:gd name="T26" fmla="*/ 2147483646 w 135"/>
                  <a:gd name="T27" fmla="*/ 2147483646 h 119"/>
                  <a:gd name="T28" fmla="*/ 2147483646 w 135"/>
                  <a:gd name="T29" fmla="*/ 2147483646 h 119"/>
                  <a:gd name="T30" fmla="*/ 2147483646 w 135"/>
                  <a:gd name="T31" fmla="*/ 2147483646 h 119"/>
                  <a:gd name="T32" fmla="*/ 2147483646 w 135"/>
                  <a:gd name="T33" fmla="*/ 2147483646 h 119"/>
                  <a:gd name="T34" fmla="*/ 2147483646 w 135"/>
                  <a:gd name="T35" fmla="*/ 2147483646 h 119"/>
                  <a:gd name="T36" fmla="*/ 2147483646 w 135"/>
                  <a:gd name="T37" fmla="*/ 2147483646 h 119"/>
                  <a:gd name="T38" fmla="*/ 2147483646 w 135"/>
                  <a:gd name="T39" fmla="*/ 2147483646 h 119"/>
                  <a:gd name="T40" fmla="*/ 2147483646 w 135"/>
                  <a:gd name="T41" fmla="*/ 2147483646 h 119"/>
                  <a:gd name="T42" fmla="*/ 2147483646 w 135"/>
                  <a:gd name="T43" fmla="*/ 2147483646 h 119"/>
                  <a:gd name="T44" fmla="*/ 2147483646 w 135"/>
                  <a:gd name="T45" fmla="*/ 2147483646 h 119"/>
                  <a:gd name="T46" fmla="*/ 2147483646 w 135"/>
                  <a:gd name="T47" fmla="*/ 2147483646 h 119"/>
                  <a:gd name="T48" fmla="*/ 2147483646 w 135"/>
                  <a:gd name="T49" fmla="*/ 2147483646 h 119"/>
                  <a:gd name="T50" fmla="*/ 2147483646 w 135"/>
                  <a:gd name="T51" fmla="*/ 2147483646 h 119"/>
                  <a:gd name="T52" fmla="*/ 2147483646 w 135"/>
                  <a:gd name="T53" fmla="*/ 2147483646 h 119"/>
                  <a:gd name="T54" fmla="*/ 2147483646 w 135"/>
                  <a:gd name="T55" fmla="*/ 2147483646 h 119"/>
                  <a:gd name="T56" fmla="*/ 2147483646 w 135"/>
                  <a:gd name="T57" fmla="*/ 2147483646 h 119"/>
                  <a:gd name="T58" fmla="*/ 2147483646 w 135"/>
                  <a:gd name="T59" fmla="*/ 2147483646 h 119"/>
                  <a:gd name="T60" fmla="*/ 2147483646 w 135"/>
                  <a:gd name="T61" fmla="*/ 2147483646 h 119"/>
                  <a:gd name="T62" fmla="*/ 2147483646 w 135"/>
                  <a:gd name="T63" fmla="*/ 2147483646 h 119"/>
                  <a:gd name="T64" fmla="*/ 2147483646 w 135"/>
                  <a:gd name="T65" fmla="*/ 2147483646 h 119"/>
                  <a:gd name="T66" fmla="*/ 2147483646 w 135"/>
                  <a:gd name="T67" fmla="*/ 2147483646 h 119"/>
                  <a:gd name="T68" fmla="*/ 2147483646 w 135"/>
                  <a:gd name="T69" fmla="*/ 2147483646 h 119"/>
                  <a:gd name="T70" fmla="*/ 2147483646 w 135"/>
                  <a:gd name="T71" fmla="*/ 2147483646 h 119"/>
                  <a:gd name="T72" fmla="*/ 2147483646 w 135"/>
                  <a:gd name="T73" fmla="*/ 2147483646 h 119"/>
                  <a:gd name="T74" fmla="*/ 2147483646 w 135"/>
                  <a:gd name="T75" fmla="*/ 2147483646 h 119"/>
                  <a:gd name="T76" fmla="*/ 2147483646 w 135"/>
                  <a:gd name="T77" fmla="*/ 2147483646 h 119"/>
                  <a:gd name="T78" fmla="*/ 2147483646 w 135"/>
                  <a:gd name="T79" fmla="*/ 2147483646 h 119"/>
                  <a:gd name="T80" fmla="*/ 2147483646 w 135"/>
                  <a:gd name="T81" fmla="*/ 2147483646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6" name="Freeform 431">
                <a:extLst>
                  <a:ext uri="{FF2B5EF4-FFF2-40B4-BE49-F238E27FC236}">
                    <a16:creationId xmlns:a16="http://schemas.microsoft.com/office/drawing/2014/main" id="{25C0C4C3-7C21-4DAE-BA9C-9FDE18A33BF5}"/>
                  </a:ext>
                </a:extLst>
              </p:cNvPr>
              <p:cNvSpPr>
                <a:spLocks/>
              </p:cNvSpPr>
              <p:nvPr/>
            </p:nvSpPr>
            <p:spPr bwMode="auto">
              <a:xfrm>
                <a:off x="2181889" y="2090719"/>
                <a:ext cx="597115" cy="400648"/>
              </a:xfrm>
              <a:custGeom>
                <a:avLst/>
                <a:gdLst>
                  <a:gd name="T0" fmla="*/ 2147483646 w 556"/>
                  <a:gd name="T1" fmla="*/ 2147483646 h 395"/>
                  <a:gd name="T2" fmla="*/ 2147483646 w 556"/>
                  <a:gd name="T3" fmla="*/ 2147483646 h 395"/>
                  <a:gd name="T4" fmla="*/ 2147483646 w 556"/>
                  <a:gd name="T5" fmla="*/ 2147483646 h 395"/>
                  <a:gd name="T6" fmla="*/ 2147483646 w 556"/>
                  <a:gd name="T7" fmla="*/ 2147483646 h 395"/>
                  <a:gd name="T8" fmla="*/ 2147483646 w 556"/>
                  <a:gd name="T9" fmla="*/ 2147483646 h 395"/>
                  <a:gd name="T10" fmla="*/ 2147483646 w 556"/>
                  <a:gd name="T11" fmla="*/ 2147483646 h 395"/>
                  <a:gd name="T12" fmla="*/ 2147483646 w 556"/>
                  <a:gd name="T13" fmla="*/ 2147483646 h 395"/>
                  <a:gd name="T14" fmla="*/ 2147483646 w 556"/>
                  <a:gd name="T15" fmla="*/ 2147483646 h 395"/>
                  <a:gd name="T16" fmla="*/ 2147483646 w 556"/>
                  <a:gd name="T17" fmla="*/ 2147483646 h 395"/>
                  <a:gd name="T18" fmla="*/ 2147483646 w 556"/>
                  <a:gd name="T19" fmla="*/ 2147483646 h 395"/>
                  <a:gd name="T20" fmla="*/ 2147483646 w 556"/>
                  <a:gd name="T21" fmla="*/ 2147483646 h 395"/>
                  <a:gd name="T22" fmla="*/ 2147483646 w 556"/>
                  <a:gd name="T23" fmla="*/ 2147483646 h 395"/>
                  <a:gd name="T24" fmla="*/ 2147483646 w 556"/>
                  <a:gd name="T25" fmla="*/ 2147483646 h 395"/>
                  <a:gd name="T26" fmla="*/ 2147483646 w 556"/>
                  <a:gd name="T27" fmla="*/ 2147483646 h 395"/>
                  <a:gd name="T28" fmla="*/ 2147483646 w 556"/>
                  <a:gd name="T29" fmla="*/ 2147483646 h 395"/>
                  <a:gd name="T30" fmla="*/ 2147483646 w 556"/>
                  <a:gd name="T31" fmla="*/ 2147483646 h 395"/>
                  <a:gd name="T32" fmla="*/ 2147483646 w 556"/>
                  <a:gd name="T33" fmla="*/ 2147483646 h 395"/>
                  <a:gd name="T34" fmla="*/ 2147483646 w 556"/>
                  <a:gd name="T35" fmla="*/ 2147483646 h 395"/>
                  <a:gd name="T36" fmla="*/ 2147483646 w 556"/>
                  <a:gd name="T37" fmla="*/ 2147483646 h 395"/>
                  <a:gd name="T38" fmla="*/ 2147483646 w 556"/>
                  <a:gd name="T39" fmla="*/ 2147483646 h 395"/>
                  <a:gd name="T40" fmla="*/ 2147483646 w 556"/>
                  <a:gd name="T41" fmla="*/ 2147483646 h 395"/>
                  <a:gd name="T42" fmla="*/ 2147483646 w 556"/>
                  <a:gd name="T43" fmla="*/ 2147483646 h 395"/>
                  <a:gd name="T44" fmla="*/ 2147483646 w 556"/>
                  <a:gd name="T45" fmla="*/ 2147483646 h 395"/>
                  <a:gd name="T46" fmla="*/ 2147483646 w 556"/>
                  <a:gd name="T47" fmla="*/ 2147483646 h 395"/>
                  <a:gd name="T48" fmla="*/ 2147483646 w 556"/>
                  <a:gd name="T49" fmla="*/ 2147483646 h 395"/>
                  <a:gd name="T50" fmla="*/ 0 w 556"/>
                  <a:gd name="T51" fmla="*/ 2147483646 h 395"/>
                  <a:gd name="T52" fmla="*/ 2147483646 w 556"/>
                  <a:gd name="T53" fmla="*/ 2147483646 h 395"/>
                  <a:gd name="T54" fmla="*/ 2147483646 w 556"/>
                  <a:gd name="T55" fmla="*/ 2147483646 h 395"/>
                  <a:gd name="T56" fmla="*/ 2147483646 w 556"/>
                  <a:gd name="T57" fmla="*/ 2147483646 h 395"/>
                  <a:gd name="T58" fmla="*/ 2147483646 w 556"/>
                  <a:gd name="T59" fmla="*/ 2147483646 h 395"/>
                  <a:gd name="T60" fmla="*/ 2147483646 w 556"/>
                  <a:gd name="T61" fmla="*/ 2147483646 h 395"/>
                  <a:gd name="T62" fmla="*/ 2147483646 w 556"/>
                  <a:gd name="T63" fmla="*/ 2147483646 h 395"/>
                  <a:gd name="T64" fmla="*/ 2147483646 w 556"/>
                  <a:gd name="T65" fmla="*/ 2147483646 h 395"/>
                  <a:gd name="T66" fmla="*/ 2147483646 w 556"/>
                  <a:gd name="T67" fmla="*/ 2147483646 h 395"/>
                  <a:gd name="T68" fmla="*/ 2147483646 w 556"/>
                  <a:gd name="T69" fmla="*/ 2147483646 h 395"/>
                  <a:gd name="T70" fmla="*/ 2147483646 w 556"/>
                  <a:gd name="T71" fmla="*/ 2147483646 h 395"/>
                  <a:gd name="T72" fmla="*/ 2147483646 w 556"/>
                  <a:gd name="T73" fmla="*/ 2147483646 h 395"/>
                  <a:gd name="T74" fmla="*/ 2147483646 w 556"/>
                  <a:gd name="T75" fmla="*/ 2147483646 h 395"/>
                  <a:gd name="T76" fmla="*/ 2147483646 w 556"/>
                  <a:gd name="T77" fmla="*/ 2147483646 h 395"/>
                  <a:gd name="T78" fmla="*/ 2147483646 w 556"/>
                  <a:gd name="T79" fmla="*/ 2147483646 h 395"/>
                  <a:gd name="T80" fmla="*/ 2147483646 w 556"/>
                  <a:gd name="T81" fmla="*/ 2147483646 h 395"/>
                  <a:gd name="T82" fmla="*/ 2147483646 w 556"/>
                  <a:gd name="T83" fmla="*/ 2147483646 h 395"/>
                  <a:gd name="T84" fmla="*/ 2147483646 w 556"/>
                  <a:gd name="T85" fmla="*/ 2147483646 h 395"/>
                  <a:gd name="T86" fmla="*/ 2147483646 w 556"/>
                  <a:gd name="T87" fmla="*/ 2147483646 h 395"/>
                  <a:gd name="T88" fmla="*/ 2147483646 w 556"/>
                  <a:gd name="T89" fmla="*/ 2147483646 h 395"/>
                  <a:gd name="T90" fmla="*/ 2147483646 w 556"/>
                  <a:gd name="T91" fmla="*/ 2147483646 h 395"/>
                  <a:gd name="T92" fmla="*/ 2147483646 w 556"/>
                  <a:gd name="T93" fmla="*/ 2147483646 h 395"/>
                  <a:gd name="T94" fmla="*/ 2147483646 w 556"/>
                  <a:gd name="T95" fmla="*/ 2147483646 h 395"/>
                  <a:gd name="T96" fmla="*/ 2147483646 w 556"/>
                  <a:gd name="T97" fmla="*/ 2147483646 h 395"/>
                  <a:gd name="T98" fmla="*/ 2147483646 w 556"/>
                  <a:gd name="T99" fmla="*/ 2147483646 h 395"/>
                  <a:gd name="T100" fmla="*/ 2147483646 w 556"/>
                  <a:gd name="T101" fmla="*/ 2147483646 h 395"/>
                  <a:gd name="T102" fmla="*/ 2147483646 w 556"/>
                  <a:gd name="T103" fmla="*/ 2147483646 h 395"/>
                  <a:gd name="T104" fmla="*/ 2147483646 w 556"/>
                  <a:gd name="T105" fmla="*/ 2147483646 h 395"/>
                  <a:gd name="T106" fmla="*/ 2147483646 w 556"/>
                  <a:gd name="T107" fmla="*/ 2147483646 h 395"/>
                  <a:gd name="T108" fmla="*/ 2147483646 w 556"/>
                  <a:gd name="T109" fmla="*/ 2147483646 h 395"/>
                  <a:gd name="T110" fmla="*/ 2147483646 w 556"/>
                  <a:gd name="T111" fmla="*/ 2147483646 h 395"/>
                  <a:gd name="T112" fmla="*/ 2147483646 w 556"/>
                  <a:gd name="T113" fmla="*/ 2147483646 h 395"/>
                  <a:gd name="T114" fmla="*/ 2147483646 w 556"/>
                  <a:gd name="T115" fmla="*/ 2147483646 h 395"/>
                  <a:gd name="T116" fmla="*/ 2147483646 w 556"/>
                  <a:gd name="T117" fmla="*/ 2147483646 h 395"/>
                  <a:gd name="T118" fmla="*/ 2147483646 w 556"/>
                  <a:gd name="T119" fmla="*/ 2147483646 h 395"/>
                  <a:gd name="T120" fmla="*/ 2147483646 w 556"/>
                  <a:gd name="T121" fmla="*/ 2147483646 h 395"/>
                  <a:gd name="T122" fmla="*/ 2147483646 w 556"/>
                  <a:gd name="T123" fmla="*/ 2147483646 h 395"/>
                  <a:gd name="T124" fmla="*/ 2147483646 w 556"/>
                  <a:gd name="T125" fmla="*/ 2147483646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7" name="Freeform 432">
                <a:extLst>
                  <a:ext uri="{FF2B5EF4-FFF2-40B4-BE49-F238E27FC236}">
                    <a16:creationId xmlns:a16="http://schemas.microsoft.com/office/drawing/2014/main" id="{E5779E98-CA2C-48CE-9BD3-DC64F3A96FC1}"/>
                  </a:ext>
                </a:extLst>
              </p:cNvPr>
              <p:cNvSpPr>
                <a:spLocks/>
              </p:cNvSpPr>
              <p:nvPr/>
            </p:nvSpPr>
            <p:spPr bwMode="auto">
              <a:xfrm>
                <a:off x="1663829" y="2024836"/>
                <a:ext cx="158109" cy="146014"/>
              </a:xfrm>
              <a:custGeom>
                <a:avLst/>
                <a:gdLst>
                  <a:gd name="T0" fmla="*/ 2147483646 w 148"/>
                  <a:gd name="T1" fmla="*/ 2147483646 h 146"/>
                  <a:gd name="T2" fmla="*/ 2147483646 w 148"/>
                  <a:gd name="T3" fmla="*/ 2147483646 h 146"/>
                  <a:gd name="T4" fmla="*/ 2147483646 w 148"/>
                  <a:gd name="T5" fmla="*/ 2147483646 h 146"/>
                  <a:gd name="T6" fmla="*/ 2147483646 w 148"/>
                  <a:gd name="T7" fmla="*/ 2147483646 h 146"/>
                  <a:gd name="T8" fmla="*/ 2147483646 w 148"/>
                  <a:gd name="T9" fmla="*/ 2147483646 h 146"/>
                  <a:gd name="T10" fmla="*/ 2147483646 w 148"/>
                  <a:gd name="T11" fmla="*/ 2147483646 h 146"/>
                  <a:gd name="T12" fmla="*/ 2147483646 w 148"/>
                  <a:gd name="T13" fmla="*/ 2147483646 h 146"/>
                  <a:gd name="T14" fmla="*/ 2147483646 w 148"/>
                  <a:gd name="T15" fmla="*/ 2147483646 h 146"/>
                  <a:gd name="T16" fmla="*/ 2147483646 w 148"/>
                  <a:gd name="T17" fmla="*/ 2147483646 h 146"/>
                  <a:gd name="T18" fmla="*/ 2147483646 w 148"/>
                  <a:gd name="T19" fmla="*/ 0 h 146"/>
                  <a:gd name="T20" fmla="*/ 2147483646 w 148"/>
                  <a:gd name="T21" fmla="*/ 2147483646 h 146"/>
                  <a:gd name="T22" fmla="*/ 2147483646 w 148"/>
                  <a:gd name="T23" fmla="*/ 2147483646 h 146"/>
                  <a:gd name="T24" fmla="*/ 2147483646 w 148"/>
                  <a:gd name="T25" fmla="*/ 2147483646 h 146"/>
                  <a:gd name="T26" fmla="*/ 2147483646 w 148"/>
                  <a:gd name="T27" fmla="*/ 2147483646 h 146"/>
                  <a:gd name="T28" fmla="*/ 2147483646 w 148"/>
                  <a:gd name="T29" fmla="*/ 2147483646 h 146"/>
                  <a:gd name="T30" fmla="*/ 2147483646 w 148"/>
                  <a:gd name="T31" fmla="*/ 2147483646 h 146"/>
                  <a:gd name="T32" fmla="*/ 2147483646 w 148"/>
                  <a:gd name="T33" fmla="*/ 2147483646 h 146"/>
                  <a:gd name="T34" fmla="*/ 2147483646 w 148"/>
                  <a:gd name="T35" fmla="*/ 2147483646 h 146"/>
                  <a:gd name="T36" fmla="*/ 2147483646 w 148"/>
                  <a:gd name="T37" fmla="*/ 2147483646 h 146"/>
                  <a:gd name="T38" fmla="*/ 2147483646 w 148"/>
                  <a:gd name="T39" fmla="*/ 2147483646 h 146"/>
                  <a:gd name="T40" fmla="*/ 2147483646 w 148"/>
                  <a:gd name="T41" fmla="*/ 2147483646 h 146"/>
                  <a:gd name="T42" fmla="*/ 2147483646 w 148"/>
                  <a:gd name="T43" fmla="*/ 2147483646 h 146"/>
                  <a:gd name="T44" fmla="*/ 2147483646 w 148"/>
                  <a:gd name="T45" fmla="*/ 2147483646 h 146"/>
                  <a:gd name="T46" fmla="*/ 2147483646 w 148"/>
                  <a:gd name="T47" fmla="*/ 2147483646 h 146"/>
                  <a:gd name="T48" fmla="*/ 2147483646 w 148"/>
                  <a:gd name="T49" fmla="*/ 2147483646 h 146"/>
                  <a:gd name="T50" fmla="*/ 2147483646 w 148"/>
                  <a:gd name="T51" fmla="*/ 2147483646 h 146"/>
                  <a:gd name="T52" fmla="*/ 2147483646 w 148"/>
                  <a:gd name="T53" fmla="*/ 2147483646 h 146"/>
                  <a:gd name="T54" fmla="*/ 2147483646 w 148"/>
                  <a:gd name="T55" fmla="*/ 2147483646 h 146"/>
                  <a:gd name="T56" fmla="*/ 2147483646 w 148"/>
                  <a:gd name="T57" fmla="*/ 2147483646 h 146"/>
                  <a:gd name="T58" fmla="*/ 2147483646 w 148"/>
                  <a:gd name="T59" fmla="*/ 2147483646 h 146"/>
                  <a:gd name="T60" fmla="*/ 2147483646 w 148"/>
                  <a:gd name="T61" fmla="*/ 2147483646 h 146"/>
                  <a:gd name="T62" fmla="*/ 2147483646 w 148"/>
                  <a:gd name="T63" fmla="*/ 2147483646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8" name="Freeform 433">
                <a:extLst>
                  <a:ext uri="{FF2B5EF4-FFF2-40B4-BE49-F238E27FC236}">
                    <a16:creationId xmlns:a16="http://schemas.microsoft.com/office/drawing/2014/main" id="{8AAFC3D1-F09E-4BC1-8E11-585A60D5A8EA}"/>
                  </a:ext>
                </a:extLst>
              </p:cNvPr>
              <p:cNvSpPr>
                <a:spLocks/>
              </p:cNvSpPr>
              <p:nvPr/>
            </p:nvSpPr>
            <p:spPr bwMode="auto">
              <a:xfrm>
                <a:off x="1832030" y="1969635"/>
                <a:ext cx="144653" cy="94375"/>
              </a:xfrm>
              <a:custGeom>
                <a:avLst/>
                <a:gdLst>
                  <a:gd name="T0" fmla="*/ 2147483646 w 133"/>
                  <a:gd name="T1" fmla="*/ 2147483646 h 91"/>
                  <a:gd name="T2" fmla="*/ 2147483646 w 133"/>
                  <a:gd name="T3" fmla="*/ 2147483646 h 91"/>
                  <a:gd name="T4" fmla="*/ 2147483646 w 133"/>
                  <a:gd name="T5" fmla="*/ 2147483646 h 91"/>
                  <a:gd name="T6" fmla="*/ 2147483646 w 133"/>
                  <a:gd name="T7" fmla="*/ 2147483646 h 91"/>
                  <a:gd name="T8" fmla="*/ 2147483646 w 133"/>
                  <a:gd name="T9" fmla="*/ 2147483646 h 91"/>
                  <a:gd name="T10" fmla="*/ 2147483646 w 133"/>
                  <a:gd name="T11" fmla="*/ 2147483646 h 91"/>
                  <a:gd name="T12" fmla="*/ 2147483646 w 133"/>
                  <a:gd name="T13" fmla="*/ 2147483646 h 91"/>
                  <a:gd name="T14" fmla="*/ 2147483646 w 133"/>
                  <a:gd name="T15" fmla="*/ 2147483646 h 91"/>
                  <a:gd name="T16" fmla="*/ 2147483646 w 133"/>
                  <a:gd name="T17" fmla="*/ 2147483646 h 91"/>
                  <a:gd name="T18" fmla="*/ 2147483646 w 133"/>
                  <a:gd name="T19" fmla="*/ 2147483646 h 91"/>
                  <a:gd name="T20" fmla="*/ 2147483646 w 133"/>
                  <a:gd name="T21" fmla="*/ 2147483646 h 91"/>
                  <a:gd name="T22" fmla="*/ 2147483646 w 133"/>
                  <a:gd name="T23" fmla="*/ 2147483646 h 91"/>
                  <a:gd name="T24" fmla="*/ 2147483646 w 133"/>
                  <a:gd name="T25" fmla="*/ 2147483646 h 91"/>
                  <a:gd name="T26" fmla="*/ 2147483646 w 133"/>
                  <a:gd name="T27" fmla="*/ 2147483646 h 91"/>
                  <a:gd name="T28" fmla="*/ 2147483646 w 133"/>
                  <a:gd name="T29" fmla="*/ 2147483646 h 91"/>
                  <a:gd name="T30" fmla="*/ 2147483646 w 133"/>
                  <a:gd name="T31" fmla="*/ 2147483646 h 91"/>
                  <a:gd name="T32" fmla="*/ 2147483646 w 133"/>
                  <a:gd name="T33" fmla="*/ 2147483646 h 91"/>
                  <a:gd name="T34" fmla="*/ 2147483646 w 133"/>
                  <a:gd name="T35" fmla="*/ 2147483646 h 91"/>
                  <a:gd name="T36" fmla="*/ 2147483646 w 133"/>
                  <a:gd name="T37" fmla="*/ 2147483646 h 91"/>
                  <a:gd name="T38" fmla="*/ 2147483646 w 133"/>
                  <a:gd name="T39" fmla="*/ 2147483646 h 91"/>
                  <a:gd name="T40" fmla="*/ 2147483646 w 133"/>
                  <a:gd name="T41" fmla="*/ 2147483646 h 91"/>
                  <a:gd name="T42" fmla="*/ 2147483646 w 133"/>
                  <a:gd name="T43" fmla="*/ 2147483646 h 91"/>
                  <a:gd name="T44" fmla="*/ 2147483646 w 133"/>
                  <a:gd name="T45" fmla="*/ 2147483646 h 91"/>
                  <a:gd name="T46" fmla="*/ 2147483646 w 133"/>
                  <a:gd name="T47" fmla="*/ 2147483646 h 91"/>
                  <a:gd name="T48" fmla="*/ 2147483646 w 133"/>
                  <a:gd name="T49" fmla="*/ 2147483646 h 91"/>
                  <a:gd name="T50" fmla="*/ 2147483646 w 133"/>
                  <a:gd name="T51" fmla="*/ 2147483646 h 91"/>
                  <a:gd name="T52" fmla="*/ 2147483646 w 133"/>
                  <a:gd name="T53" fmla="*/ 2147483646 h 91"/>
                  <a:gd name="T54" fmla="*/ 2147483646 w 133"/>
                  <a:gd name="T55" fmla="*/ 2147483646 h 91"/>
                  <a:gd name="T56" fmla="*/ 0 w 133"/>
                  <a:gd name="T57" fmla="*/ 2147483646 h 91"/>
                  <a:gd name="T58" fmla="*/ 2147483646 w 133"/>
                  <a:gd name="T59" fmla="*/ 2147483646 h 91"/>
                  <a:gd name="T60" fmla="*/ 2147483646 w 133"/>
                  <a:gd name="T61" fmla="*/ 2147483646 h 91"/>
                  <a:gd name="T62" fmla="*/ 2147483646 w 133"/>
                  <a:gd name="T63" fmla="*/ 2147483646 h 91"/>
                  <a:gd name="T64" fmla="*/ 2147483646 w 133"/>
                  <a:gd name="T65" fmla="*/ 2147483646 h 91"/>
                  <a:gd name="T66" fmla="*/ 2147483646 w 133"/>
                  <a:gd name="T67" fmla="*/ 2147483646 h 91"/>
                  <a:gd name="T68" fmla="*/ 2147483646 w 133"/>
                  <a:gd name="T69" fmla="*/ 0 h 91"/>
                  <a:gd name="T70" fmla="*/ 2147483646 w 133"/>
                  <a:gd name="T71" fmla="*/ 2147483646 h 91"/>
                  <a:gd name="T72" fmla="*/ 2147483646 w 133"/>
                  <a:gd name="T73" fmla="*/ 2147483646 h 91"/>
                  <a:gd name="T74" fmla="*/ 2147483646 w 133"/>
                  <a:gd name="T75" fmla="*/ 2147483646 h 91"/>
                  <a:gd name="T76" fmla="*/ 2147483646 w 133"/>
                  <a:gd name="T77" fmla="*/ 2147483646 h 91"/>
                  <a:gd name="T78" fmla="*/ 2147483646 w 133"/>
                  <a:gd name="T79" fmla="*/ 2147483646 h 91"/>
                  <a:gd name="T80" fmla="*/ 2147483646 w 133"/>
                  <a:gd name="T81" fmla="*/ 2147483646 h 91"/>
                  <a:gd name="T82" fmla="*/ 2147483646 w 133"/>
                  <a:gd name="T83" fmla="*/ 2147483646 h 91"/>
                  <a:gd name="T84" fmla="*/ 2147483646 w 133"/>
                  <a:gd name="T85" fmla="*/ 2147483646 h 91"/>
                  <a:gd name="T86" fmla="*/ 2147483646 w 133"/>
                  <a:gd name="T87" fmla="*/ 2147483646 h 91"/>
                  <a:gd name="T88" fmla="*/ 2147483646 w 133"/>
                  <a:gd name="T89" fmla="*/ 2147483646 h 91"/>
                  <a:gd name="T90" fmla="*/ 2147483646 w 133"/>
                  <a:gd name="T91" fmla="*/ 2147483646 h 91"/>
                  <a:gd name="T92" fmla="*/ 2147483646 w 133"/>
                  <a:gd name="T93" fmla="*/ 2147483646 h 91"/>
                  <a:gd name="T94" fmla="*/ 2147483646 w 133"/>
                  <a:gd name="T95" fmla="*/ 2147483646 h 91"/>
                  <a:gd name="T96" fmla="*/ 2147483646 w 133"/>
                  <a:gd name="T97" fmla="*/ 2147483646 h 91"/>
                  <a:gd name="T98" fmla="*/ 2147483646 w 133"/>
                  <a:gd name="T99" fmla="*/ 2147483646 h 91"/>
                  <a:gd name="T100" fmla="*/ 2147483646 w 133"/>
                  <a:gd name="T101" fmla="*/ 2147483646 h 91"/>
                  <a:gd name="T102" fmla="*/ 2147483646 w 133"/>
                  <a:gd name="T103" fmla="*/ 2147483646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79" name="Freeform 434">
                <a:extLst>
                  <a:ext uri="{FF2B5EF4-FFF2-40B4-BE49-F238E27FC236}">
                    <a16:creationId xmlns:a16="http://schemas.microsoft.com/office/drawing/2014/main" id="{EFAD1AAB-4162-4FEF-B965-8E8168BB0DED}"/>
                  </a:ext>
                </a:extLst>
              </p:cNvPr>
              <p:cNvSpPr>
                <a:spLocks/>
              </p:cNvSpPr>
              <p:nvPr/>
            </p:nvSpPr>
            <p:spPr bwMode="auto">
              <a:xfrm>
                <a:off x="1771478" y="1921558"/>
                <a:ext cx="109331" cy="60542"/>
              </a:xfrm>
              <a:custGeom>
                <a:avLst/>
                <a:gdLst>
                  <a:gd name="T0" fmla="*/ 2147483646 w 102"/>
                  <a:gd name="T1" fmla="*/ 2147483646 h 60"/>
                  <a:gd name="T2" fmla="*/ 2147483646 w 102"/>
                  <a:gd name="T3" fmla="*/ 2147483646 h 60"/>
                  <a:gd name="T4" fmla="*/ 2147483646 w 102"/>
                  <a:gd name="T5" fmla="*/ 2147483646 h 60"/>
                  <a:gd name="T6" fmla="*/ 2147483646 w 102"/>
                  <a:gd name="T7" fmla="*/ 2147483646 h 60"/>
                  <a:gd name="T8" fmla="*/ 2147483646 w 102"/>
                  <a:gd name="T9" fmla="*/ 2147483646 h 60"/>
                  <a:gd name="T10" fmla="*/ 2147483646 w 102"/>
                  <a:gd name="T11" fmla="*/ 2147483646 h 60"/>
                  <a:gd name="T12" fmla="*/ 2147483646 w 102"/>
                  <a:gd name="T13" fmla="*/ 2147483646 h 60"/>
                  <a:gd name="T14" fmla="*/ 2147483646 w 102"/>
                  <a:gd name="T15" fmla="*/ 2147483646 h 60"/>
                  <a:gd name="T16" fmla="*/ 2147483646 w 102"/>
                  <a:gd name="T17" fmla="*/ 2147483646 h 60"/>
                  <a:gd name="T18" fmla="*/ 2147483646 w 102"/>
                  <a:gd name="T19" fmla="*/ 2147483646 h 60"/>
                  <a:gd name="T20" fmla="*/ 2147483646 w 102"/>
                  <a:gd name="T21" fmla="*/ 2147483646 h 60"/>
                  <a:gd name="T22" fmla="*/ 2147483646 w 102"/>
                  <a:gd name="T23" fmla="*/ 2147483646 h 60"/>
                  <a:gd name="T24" fmla="*/ 2147483646 w 102"/>
                  <a:gd name="T25" fmla="*/ 2147483646 h 60"/>
                  <a:gd name="T26" fmla="*/ 2147483646 w 102"/>
                  <a:gd name="T27" fmla="*/ 2147483646 h 60"/>
                  <a:gd name="T28" fmla="*/ 2147483646 w 102"/>
                  <a:gd name="T29" fmla="*/ 2147483646 h 60"/>
                  <a:gd name="T30" fmla="*/ 2147483646 w 102"/>
                  <a:gd name="T31" fmla="*/ 2147483646 h 60"/>
                  <a:gd name="T32" fmla="*/ 2147483646 w 102"/>
                  <a:gd name="T33" fmla="*/ 2147483646 h 60"/>
                  <a:gd name="T34" fmla="*/ 2147483646 w 102"/>
                  <a:gd name="T35" fmla="*/ 2147483646 h 60"/>
                  <a:gd name="T36" fmla="*/ 2147483646 w 102"/>
                  <a:gd name="T37" fmla="*/ 2147483646 h 60"/>
                  <a:gd name="T38" fmla="*/ 2147483646 w 102"/>
                  <a:gd name="T39" fmla="*/ 2147483646 h 60"/>
                  <a:gd name="T40" fmla="*/ 2147483646 w 102"/>
                  <a:gd name="T41" fmla="*/ 2147483646 h 60"/>
                  <a:gd name="T42" fmla="*/ 2147483646 w 102"/>
                  <a:gd name="T43" fmla="*/ 2147483646 h 60"/>
                  <a:gd name="T44" fmla="*/ 2147483646 w 102"/>
                  <a:gd name="T45" fmla="*/ 2147483646 h 60"/>
                  <a:gd name="T46" fmla="*/ 0 w 102"/>
                  <a:gd name="T47" fmla="*/ 2147483646 h 60"/>
                  <a:gd name="T48" fmla="*/ 2147483646 w 102"/>
                  <a:gd name="T49" fmla="*/ 2147483646 h 60"/>
                  <a:gd name="T50" fmla="*/ 2147483646 w 102"/>
                  <a:gd name="T51" fmla="*/ 2147483646 h 60"/>
                  <a:gd name="T52" fmla="*/ 2147483646 w 102"/>
                  <a:gd name="T53" fmla="*/ 2147483646 h 60"/>
                  <a:gd name="T54" fmla="*/ 2147483646 w 102"/>
                  <a:gd name="T55" fmla="*/ 2147483646 h 60"/>
                  <a:gd name="T56" fmla="*/ 2147483646 w 102"/>
                  <a:gd name="T57" fmla="*/ 2147483646 h 60"/>
                  <a:gd name="T58" fmla="*/ 2147483646 w 102"/>
                  <a:gd name="T59" fmla="*/ 2147483646 h 60"/>
                  <a:gd name="T60" fmla="*/ 2147483646 w 102"/>
                  <a:gd name="T61" fmla="*/ 2147483646 h 60"/>
                  <a:gd name="T62" fmla="*/ 2147483646 w 102"/>
                  <a:gd name="T63" fmla="*/ 2147483646 h 60"/>
                  <a:gd name="T64" fmla="*/ 2147483646 w 102"/>
                  <a:gd name="T65" fmla="*/ 0 h 60"/>
                  <a:gd name="T66" fmla="*/ 2147483646 w 102"/>
                  <a:gd name="T67" fmla="*/ 0 h 60"/>
                  <a:gd name="T68" fmla="*/ 2147483646 w 102"/>
                  <a:gd name="T69" fmla="*/ 0 h 60"/>
                  <a:gd name="T70" fmla="*/ 2147483646 w 102"/>
                  <a:gd name="T71" fmla="*/ 0 h 60"/>
                  <a:gd name="T72" fmla="*/ 2147483646 w 102"/>
                  <a:gd name="T73" fmla="*/ 0 h 60"/>
                  <a:gd name="T74" fmla="*/ 2147483646 w 102"/>
                  <a:gd name="T75" fmla="*/ 0 h 60"/>
                  <a:gd name="T76" fmla="*/ 2147483646 w 102"/>
                  <a:gd name="T77" fmla="*/ 2147483646 h 60"/>
                  <a:gd name="T78" fmla="*/ 2147483646 w 102"/>
                  <a:gd name="T79" fmla="*/ 2147483646 h 60"/>
                  <a:gd name="T80" fmla="*/ 2147483646 w 102"/>
                  <a:gd name="T81" fmla="*/ 2147483646 h 60"/>
                  <a:gd name="T82" fmla="*/ 2147483646 w 102"/>
                  <a:gd name="T83" fmla="*/ 2147483646 h 60"/>
                  <a:gd name="T84" fmla="*/ 2147483646 w 102"/>
                  <a:gd name="T85" fmla="*/ 2147483646 h 60"/>
                  <a:gd name="T86" fmla="*/ 2147483646 w 102"/>
                  <a:gd name="T87" fmla="*/ 2147483646 h 60"/>
                  <a:gd name="T88" fmla="*/ 2147483646 w 102"/>
                  <a:gd name="T89" fmla="*/ 2147483646 h 60"/>
                  <a:gd name="T90" fmla="*/ 2147483646 w 102"/>
                  <a:gd name="T91" fmla="*/ 2147483646 h 60"/>
                  <a:gd name="T92" fmla="*/ 2147483646 w 102"/>
                  <a:gd name="T93" fmla="*/ 2147483646 h 60"/>
                  <a:gd name="T94" fmla="*/ 2147483646 w 102"/>
                  <a:gd name="T95" fmla="*/ 2147483646 h 60"/>
                  <a:gd name="T96" fmla="*/ 2147483646 w 102"/>
                  <a:gd name="T97" fmla="*/ 2147483646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0" name="Freeform 435">
                <a:extLst>
                  <a:ext uri="{FF2B5EF4-FFF2-40B4-BE49-F238E27FC236}">
                    <a16:creationId xmlns:a16="http://schemas.microsoft.com/office/drawing/2014/main" id="{438933DA-8809-473F-B733-42FB0BACC4FD}"/>
                  </a:ext>
                </a:extLst>
              </p:cNvPr>
              <p:cNvSpPr>
                <a:spLocks/>
              </p:cNvSpPr>
              <p:nvPr/>
            </p:nvSpPr>
            <p:spPr bwMode="auto">
              <a:xfrm>
                <a:off x="1986776" y="1982100"/>
                <a:ext cx="92511" cy="81910"/>
              </a:xfrm>
              <a:custGeom>
                <a:avLst/>
                <a:gdLst>
                  <a:gd name="T0" fmla="*/ 2147483646 w 86"/>
                  <a:gd name="T1" fmla="*/ 2147483646 h 80"/>
                  <a:gd name="T2" fmla="*/ 2147483646 w 86"/>
                  <a:gd name="T3" fmla="*/ 0 h 80"/>
                  <a:gd name="T4" fmla="*/ 2147483646 w 86"/>
                  <a:gd name="T5" fmla="*/ 2147483646 h 80"/>
                  <a:gd name="T6" fmla="*/ 2147483646 w 86"/>
                  <a:gd name="T7" fmla="*/ 2147483646 h 80"/>
                  <a:gd name="T8" fmla="*/ 2147483646 w 86"/>
                  <a:gd name="T9" fmla="*/ 2147483646 h 80"/>
                  <a:gd name="T10" fmla="*/ 2147483646 w 86"/>
                  <a:gd name="T11" fmla="*/ 2147483646 h 80"/>
                  <a:gd name="T12" fmla="*/ 2147483646 w 86"/>
                  <a:gd name="T13" fmla="*/ 2147483646 h 80"/>
                  <a:gd name="T14" fmla="*/ 2147483646 w 86"/>
                  <a:gd name="T15" fmla="*/ 2147483646 h 80"/>
                  <a:gd name="T16" fmla="*/ 2147483646 w 86"/>
                  <a:gd name="T17" fmla="*/ 2147483646 h 80"/>
                  <a:gd name="T18" fmla="*/ 2147483646 w 86"/>
                  <a:gd name="T19" fmla="*/ 2147483646 h 80"/>
                  <a:gd name="T20" fmla="*/ 2147483646 w 86"/>
                  <a:gd name="T21" fmla="*/ 2147483646 h 80"/>
                  <a:gd name="T22" fmla="*/ 2147483646 w 86"/>
                  <a:gd name="T23" fmla="*/ 2147483646 h 80"/>
                  <a:gd name="T24" fmla="*/ 2147483646 w 86"/>
                  <a:gd name="T25" fmla="*/ 2147483646 h 80"/>
                  <a:gd name="T26" fmla="*/ 2147483646 w 86"/>
                  <a:gd name="T27" fmla="*/ 2147483646 h 80"/>
                  <a:gd name="T28" fmla="*/ 2147483646 w 86"/>
                  <a:gd name="T29" fmla="*/ 2147483646 h 80"/>
                  <a:gd name="T30" fmla="*/ 2147483646 w 86"/>
                  <a:gd name="T31" fmla="*/ 2147483646 h 80"/>
                  <a:gd name="T32" fmla="*/ 2147483646 w 86"/>
                  <a:gd name="T33" fmla="*/ 2147483646 h 80"/>
                  <a:gd name="T34" fmla="*/ 2147483646 w 86"/>
                  <a:gd name="T35" fmla="*/ 2147483646 h 80"/>
                  <a:gd name="T36" fmla="*/ 2147483646 w 86"/>
                  <a:gd name="T37" fmla="*/ 2147483646 h 80"/>
                  <a:gd name="T38" fmla="*/ 2147483646 w 86"/>
                  <a:gd name="T39" fmla="*/ 2147483646 h 80"/>
                  <a:gd name="T40" fmla="*/ 2147483646 w 86"/>
                  <a:gd name="T41" fmla="*/ 2147483646 h 80"/>
                  <a:gd name="T42" fmla="*/ 2147483646 w 86"/>
                  <a:gd name="T43" fmla="*/ 2147483646 h 80"/>
                  <a:gd name="T44" fmla="*/ 2147483646 w 86"/>
                  <a:gd name="T45" fmla="*/ 2147483646 h 80"/>
                  <a:gd name="T46" fmla="*/ 2147483646 w 86"/>
                  <a:gd name="T47" fmla="*/ 2147483646 h 80"/>
                  <a:gd name="T48" fmla="*/ 2147483646 w 86"/>
                  <a:gd name="T49" fmla="*/ 2147483646 h 80"/>
                  <a:gd name="T50" fmla="*/ 2147483646 w 86"/>
                  <a:gd name="T51" fmla="*/ 2147483646 h 80"/>
                  <a:gd name="T52" fmla="*/ 2147483646 w 86"/>
                  <a:gd name="T53" fmla="*/ 2147483646 h 80"/>
                  <a:gd name="T54" fmla="*/ 2147483646 w 86"/>
                  <a:gd name="T55" fmla="*/ 2147483646 h 80"/>
                  <a:gd name="T56" fmla="*/ 2147483646 w 86"/>
                  <a:gd name="T57" fmla="*/ 2147483646 h 80"/>
                  <a:gd name="T58" fmla="*/ 2147483646 w 86"/>
                  <a:gd name="T59" fmla="*/ 2147483646 h 80"/>
                  <a:gd name="T60" fmla="*/ 2147483646 w 86"/>
                  <a:gd name="T61" fmla="*/ 2147483646 h 80"/>
                  <a:gd name="T62" fmla="*/ 2147483646 w 86"/>
                  <a:gd name="T63" fmla="*/ 2147483646 h 80"/>
                  <a:gd name="T64" fmla="*/ 2147483646 w 86"/>
                  <a:gd name="T65" fmla="*/ 2147483646 h 80"/>
                  <a:gd name="T66" fmla="*/ 2147483646 w 86"/>
                  <a:gd name="T67" fmla="*/ 2147483646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1" name="Freeform 436">
                <a:extLst>
                  <a:ext uri="{FF2B5EF4-FFF2-40B4-BE49-F238E27FC236}">
                    <a16:creationId xmlns:a16="http://schemas.microsoft.com/office/drawing/2014/main" id="{D8A62A5D-4AFE-42C0-9E0D-D16F47AEDB15}"/>
                  </a:ext>
                </a:extLst>
              </p:cNvPr>
              <p:cNvSpPr>
                <a:spLocks/>
              </p:cNvSpPr>
              <p:nvPr/>
            </p:nvSpPr>
            <p:spPr bwMode="auto">
              <a:xfrm>
                <a:off x="2080968" y="2031958"/>
                <a:ext cx="37004" cy="46297"/>
              </a:xfrm>
              <a:custGeom>
                <a:avLst/>
                <a:gdLst>
                  <a:gd name="T0" fmla="*/ 2147483646 w 34"/>
                  <a:gd name="T1" fmla="*/ 2147483646 h 46"/>
                  <a:gd name="T2" fmla="*/ 2147483646 w 34"/>
                  <a:gd name="T3" fmla="*/ 2147483646 h 46"/>
                  <a:gd name="T4" fmla="*/ 2147483646 w 34"/>
                  <a:gd name="T5" fmla="*/ 2147483646 h 46"/>
                  <a:gd name="T6" fmla="*/ 2147483646 w 34"/>
                  <a:gd name="T7" fmla="*/ 2147483646 h 46"/>
                  <a:gd name="T8" fmla="*/ 2147483646 w 34"/>
                  <a:gd name="T9" fmla="*/ 2147483646 h 46"/>
                  <a:gd name="T10" fmla="*/ 2147483646 w 34"/>
                  <a:gd name="T11" fmla="*/ 2147483646 h 46"/>
                  <a:gd name="T12" fmla="*/ 2147483646 w 34"/>
                  <a:gd name="T13" fmla="*/ 2147483646 h 46"/>
                  <a:gd name="T14" fmla="*/ 0 w 34"/>
                  <a:gd name="T15" fmla="*/ 2147483646 h 46"/>
                  <a:gd name="T16" fmla="*/ 2147483646 w 34"/>
                  <a:gd name="T17" fmla="*/ 2147483646 h 46"/>
                  <a:gd name="T18" fmla="*/ 2147483646 w 34"/>
                  <a:gd name="T19" fmla="*/ 2147483646 h 46"/>
                  <a:gd name="T20" fmla="*/ 2147483646 w 34"/>
                  <a:gd name="T21" fmla="*/ 2147483646 h 46"/>
                  <a:gd name="T22" fmla="*/ 2147483646 w 34"/>
                  <a:gd name="T23" fmla="*/ 2147483646 h 46"/>
                  <a:gd name="T24" fmla="*/ 2147483646 w 34"/>
                  <a:gd name="T25" fmla="*/ 2147483646 h 46"/>
                  <a:gd name="T26" fmla="*/ 2147483646 w 34"/>
                  <a:gd name="T27" fmla="*/ 2147483646 h 46"/>
                  <a:gd name="T28" fmla="*/ 2147483646 w 34"/>
                  <a:gd name="T29" fmla="*/ 2147483646 h 46"/>
                  <a:gd name="T30" fmla="*/ 2147483646 w 34"/>
                  <a:gd name="T31" fmla="*/ 2147483646 h 46"/>
                  <a:gd name="T32" fmla="*/ 2147483646 w 34"/>
                  <a:gd name="T33" fmla="*/ 2147483646 h 46"/>
                  <a:gd name="T34" fmla="*/ 2147483646 w 34"/>
                  <a:gd name="T35" fmla="*/ 2147483646 h 46"/>
                  <a:gd name="T36" fmla="*/ 2147483646 w 34"/>
                  <a:gd name="T37" fmla="*/ 2147483646 h 46"/>
                  <a:gd name="T38" fmla="*/ 2147483646 w 34"/>
                  <a:gd name="T39" fmla="*/ 2147483646 h 46"/>
                  <a:gd name="T40" fmla="*/ 2147483646 w 34"/>
                  <a:gd name="T41" fmla="*/ 2147483646 h 46"/>
                  <a:gd name="T42" fmla="*/ 2147483646 w 34"/>
                  <a:gd name="T43" fmla="*/ 2147483646 h 46"/>
                  <a:gd name="T44" fmla="*/ 2147483646 w 34"/>
                  <a:gd name="T45" fmla="*/ 2147483646 h 46"/>
                  <a:gd name="T46" fmla="*/ 2147483646 w 34"/>
                  <a:gd name="T47" fmla="*/ 2147483646 h 46"/>
                  <a:gd name="T48" fmla="*/ 2147483646 w 34"/>
                  <a:gd name="T49" fmla="*/ 0 h 46"/>
                  <a:gd name="T50" fmla="*/ 2147483646 w 34"/>
                  <a:gd name="T51" fmla="*/ 0 h 46"/>
                  <a:gd name="T52" fmla="*/ 2147483646 w 34"/>
                  <a:gd name="T53" fmla="*/ 0 h 46"/>
                  <a:gd name="T54" fmla="*/ 2147483646 w 34"/>
                  <a:gd name="T55" fmla="*/ 2147483646 h 46"/>
                  <a:gd name="T56" fmla="*/ 2147483646 w 34"/>
                  <a:gd name="T57" fmla="*/ 2147483646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2" name="Freeform 437">
                <a:extLst>
                  <a:ext uri="{FF2B5EF4-FFF2-40B4-BE49-F238E27FC236}">
                    <a16:creationId xmlns:a16="http://schemas.microsoft.com/office/drawing/2014/main" id="{8B12C6D2-BA2E-4746-97B1-6800FCAD75B6}"/>
                  </a:ext>
                </a:extLst>
              </p:cNvPr>
              <p:cNvSpPr>
                <a:spLocks/>
              </p:cNvSpPr>
              <p:nvPr/>
            </p:nvSpPr>
            <p:spPr bwMode="auto">
              <a:xfrm>
                <a:off x="2070876" y="1967855"/>
                <a:ext cx="216980" cy="103278"/>
              </a:xfrm>
              <a:custGeom>
                <a:avLst/>
                <a:gdLst>
                  <a:gd name="T0" fmla="*/ 2147483646 w 202"/>
                  <a:gd name="T1" fmla="*/ 2147483646 h 100"/>
                  <a:gd name="T2" fmla="*/ 2147483646 w 202"/>
                  <a:gd name="T3" fmla="*/ 2147483646 h 100"/>
                  <a:gd name="T4" fmla="*/ 2147483646 w 202"/>
                  <a:gd name="T5" fmla="*/ 2147483646 h 100"/>
                  <a:gd name="T6" fmla="*/ 2147483646 w 202"/>
                  <a:gd name="T7" fmla="*/ 2147483646 h 100"/>
                  <a:gd name="T8" fmla="*/ 2147483646 w 202"/>
                  <a:gd name="T9" fmla="*/ 2147483646 h 100"/>
                  <a:gd name="T10" fmla="*/ 2147483646 w 202"/>
                  <a:gd name="T11" fmla="*/ 2147483646 h 100"/>
                  <a:gd name="T12" fmla="*/ 2147483646 w 202"/>
                  <a:gd name="T13" fmla="*/ 2147483646 h 100"/>
                  <a:gd name="T14" fmla="*/ 2147483646 w 202"/>
                  <a:gd name="T15" fmla="*/ 2147483646 h 100"/>
                  <a:gd name="T16" fmla="*/ 2147483646 w 202"/>
                  <a:gd name="T17" fmla="*/ 2147483646 h 100"/>
                  <a:gd name="T18" fmla="*/ 2147483646 w 202"/>
                  <a:gd name="T19" fmla="*/ 2147483646 h 100"/>
                  <a:gd name="T20" fmla="*/ 2147483646 w 202"/>
                  <a:gd name="T21" fmla="*/ 2147483646 h 100"/>
                  <a:gd name="T22" fmla="*/ 2147483646 w 202"/>
                  <a:gd name="T23" fmla="*/ 2147483646 h 100"/>
                  <a:gd name="T24" fmla="*/ 2147483646 w 202"/>
                  <a:gd name="T25" fmla="*/ 2147483646 h 100"/>
                  <a:gd name="T26" fmla="*/ 2147483646 w 202"/>
                  <a:gd name="T27" fmla="*/ 2147483646 h 100"/>
                  <a:gd name="T28" fmla="*/ 2147483646 w 202"/>
                  <a:gd name="T29" fmla="*/ 2147483646 h 100"/>
                  <a:gd name="T30" fmla="*/ 2147483646 w 202"/>
                  <a:gd name="T31" fmla="*/ 2147483646 h 100"/>
                  <a:gd name="T32" fmla="*/ 2147483646 w 202"/>
                  <a:gd name="T33" fmla="*/ 2147483646 h 100"/>
                  <a:gd name="T34" fmla="*/ 2147483646 w 202"/>
                  <a:gd name="T35" fmla="*/ 2147483646 h 100"/>
                  <a:gd name="T36" fmla="*/ 2147483646 w 202"/>
                  <a:gd name="T37" fmla="*/ 2147483646 h 100"/>
                  <a:gd name="T38" fmla="*/ 2147483646 w 202"/>
                  <a:gd name="T39" fmla="*/ 2147483646 h 100"/>
                  <a:gd name="T40" fmla="*/ 2147483646 w 202"/>
                  <a:gd name="T41" fmla="*/ 2147483646 h 100"/>
                  <a:gd name="T42" fmla="*/ 2147483646 w 202"/>
                  <a:gd name="T43" fmla="*/ 2147483646 h 100"/>
                  <a:gd name="T44" fmla="*/ 2147483646 w 202"/>
                  <a:gd name="T45" fmla="*/ 2147483646 h 100"/>
                  <a:gd name="T46" fmla="*/ 2147483646 w 202"/>
                  <a:gd name="T47" fmla="*/ 2147483646 h 100"/>
                  <a:gd name="T48" fmla="*/ 2147483646 w 202"/>
                  <a:gd name="T49" fmla="*/ 2147483646 h 100"/>
                  <a:gd name="T50" fmla="*/ 2147483646 w 202"/>
                  <a:gd name="T51" fmla="*/ 2147483646 h 100"/>
                  <a:gd name="T52" fmla="*/ 2147483646 w 202"/>
                  <a:gd name="T53" fmla="*/ 2147483646 h 100"/>
                  <a:gd name="T54" fmla="*/ 0 w 202"/>
                  <a:gd name="T55" fmla="*/ 2147483646 h 100"/>
                  <a:gd name="T56" fmla="*/ 2147483646 w 202"/>
                  <a:gd name="T57" fmla="*/ 2147483646 h 100"/>
                  <a:gd name="T58" fmla="*/ 2147483646 w 202"/>
                  <a:gd name="T59" fmla="*/ 0 h 100"/>
                  <a:gd name="T60" fmla="*/ 2147483646 w 202"/>
                  <a:gd name="T61" fmla="*/ 2147483646 h 100"/>
                  <a:gd name="T62" fmla="*/ 2147483646 w 202"/>
                  <a:gd name="T63" fmla="*/ 2147483646 h 100"/>
                  <a:gd name="T64" fmla="*/ 2147483646 w 202"/>
                  <a:gd name="T65" fmla="*/ 2147483646 h 100"/>
                  <a:gd name="T66" fmla="*/ 2147483646 w 202"/>
                  <a:gd name="T67" fmla="*/ 2147483646 h 100"/>
                  <a:gd name="T68" fmla="*/ 2147483646 w 202"/>
                  <a:gd name="T69" fmla="*/ 2147483646 h 100"/>
                  <a:gd name="T70" fmla="*/ 2147483646 w 202"/>
                  <a:gd name="T71" fmla="*/ 2147483646 h 100"/>
                  <a:gd name="T72" fmla="*/ 2147483646 w 202"/>
                  <a:gd name="T73" fmla="*/ 2147483646 h 100"/>
                  <a:gd name="T74" fmla="*/ 2147483646 w 202"/>
                  <a:gd name="T75" fmla="*/ 2147483646 h 100"/>
                  <a:gd name="T76" fmla="*/ 2147483646 w 202"/>
                  <a:gd name="T77" fmla="*/ 2147483646 h 100"/>
                  <a:gd name="T78" fmla="*/ 2147483646 w 202"/>
                  <a:gd name="T79" fmla="*/ 2147483646 h 100"/>
                  <a:gd name="T80" fmla="*/ 2147483646 w 202"/>
                  <a:gd name="T81" fmla="*/ 2147483646 h 100"/>
                  <a:gd name="T82" fmla="*/ 2147483646 w 202"/>
                  <a:gd name="T83" fmla="*/ 2147483646 h 100"/>
                  <a:gd name="T84" fmla="*/ 2147483646 w 202"/>
                  <a:gd name="T85" fmla="*/ 2147483646 h 100"/>
                  <a:gd name="T86" fmla="*/ 2147483646 w 202"/>
                  <a:gd name="T87" fmla="*/ 2147483646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3" name="Freeform 438">
                <a:extLst>
                  <a:ext uri="{FF2B5EF4-FFF2-40B4-BE49-F238E27FC236}">
                    <a16:creationId xmlns:a16="http://schemas.microsoft.com/office/drawing/2014/main" id="{F1130FAF-BC81-4708-BDE3-35FB41B78008}"/>
                  </a:ext>
                </a:extLst>
              </p:cNvPr>
              <p:cNvSpPr>
                <a:spLocks/>
              </p:cNvSpPr>
              <p:nvPr/>
            </p:nvSpPr>
            <p:spPr bwMode="auto">
              <a:xfrm>
                <a:off x="1900994" y="1903751"/>
                <a:ext cx="45414" cy="37393"/>
              </a:xfrm>
              <a:custGeom>
                <a:avLst/>
                <a:gdLst>
                  <a:gd name="T0" fmla="*/ 2147483646 w 40"/>
                  <a:gd name="T1" fmla="*/ 2147483646 h 37"/>
                  <a:gd name="T2" fmla="*/ 2147483646 w 40"/>
                  <a:gd name="T3" fmla="*/ 2147483646 h 37"/>
                  <a:gd name="T4" fmla="*/ 2147483646 w 40"/>
                  <a:gd name="T5" fmla="*/ 2147483646 h 37"/>
                  <a:gd name="T6" fmla="*/ 2147483646 w 40"/>
                  <a:gd name="T7" fmla="*/ 2147483646 h 37"/>
                  <a:gd name="T8" fmla="*/ 2147483646 w 40"/>
                  <a:gd name="T9" fmla="*/ 2147483646 h 37"/>
                  <a:gd name="T10" fmla="*/ 2147483646 w 40"/>
                  <a:gd name="T11" fmla="*/ 2147483646 h 37"/>
                  <a:gd name="T12" fmla="*/ 2147483646 w 40"/>
                  <a:gd name="T13" fmla="*/ 2147483646 h 37"/>
                  <a:gd name="T14" fmla="*/ 2147483646 w 40"/>
                  <a:gd name="T15" fmla="*/ 2147483646 h 37"/>
                  <a:gd name="T16" fmla="*/ 2147483646 w 40"/>
                  <a:gd name="T17" fmla="*/ 2147483646 h 37"/>
                  <a:gd name="T18" fmla="*/ 2147483646 w 40"/>
                  <a:gd name="T19" fmla="*/ 2147483646 h 37"/>
                  <a:gd name="T20" fmla="*/ 2147483646 w 40"/>
                  <a:gd name="T21" fmla="*/ 2147483646 h 37"/>
                  <a:gd name="T22" fmla="*/ 2147483646 w 40"/>
                  <a:gd name="T23" fmla="*/ 2147483646 h 37"/>
                  <a:gd name="T24" fmla="*/ 2147483646 w 40"/>
                  <a:gd name="T25" fmla="*/ 2147483646 h 37"/>
                  <a:gd name="T26" fmla="*/ 2147483646 w 40"/>
                  <a:gd name="T27" fmla="*/ 2147483646 h 37"/>
                  <a:gd name="T28" fmla="*/ 0 w 40"/>
                  <a:gd name="T29" fmla="*/ 2147483646 h 37"/>
                  <a:gd name="T30" fmla="*/ 2147483646 w 40"/>
                  <a:gd name="T31" fmla="*/ 2147483646 h 37"/>
                  <a:gd name="T32" fmla="*/ 2147483646 w 40"/>
                  <a:gd name="T33" fmla="*/ 2147483646 h 37"/>
                  <a:gd name="T34" fmla="*/ 2147483646 w 40"/>
                  <a:gd name="T35" fmla="*/ 2147483646 h 37"/>
                  <a:gd name="T36" fmla="*/ 2147483646 w 40"/>
                  <a:gd name="T37" fmla="*/ 2147483646 h 37"/>
                  <a:gd name="T38" fmla="*/ 2147483646 w 40"/>
                  <a:gd name="T39" fmla="*/ 0 h 37"/>
                  <a:gd name="T40" fmla="*/ 2147483646 w 40"/>
                  <a:gd name="T41" fmla="*/ 2147483646 h 37"/>
                  <a:gd name="T42" fmla="*/ 2147483646 w 40"/>
                  <a:gd name="T43" fmla="*/ 2147483646 h 37"/>
                  <a:gd name="T44" fmla="*/ 2147483646 w 40"/>
                  <a:gd name="T45" fmla="*/ 2147483646 h 37"/>
                  <a:gd name="T46" fmla="*/ 2147483646 w 40"/>
                  <a:gd name="T47" fmla="*/ 2147483646 h 37"/>
                  <a:gd name="T48" fmla="*/ 2147483646 w 40"/>
                  <a:gd name="T49" fmla="*/ 2147483646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4" name="Freeform 439">
                <a:extLst>
                  <a:ext uri="{FF2B5EF4-FFF2-40B4-BE49-F238E27FC236}">
                    <a16:creationId xmlns:a16="http://schemas.microsoft.com/office/drawing/2014/main" id="{583D9A8A-F89B-4C59-84E7-5609E6A69639}"/>
                  </a:ext>
                </a:extLst>
              </p:cNvPr>
              <p:cNvSpPr>
                <a:spLocks/>
              </p:cNvSpPr>
              <p:nvPr/>
            </p:nvSpPr>
            <p:spPr bwMode="auto">
              <a:xfrm flipV="1">
                <a:off x="2070876" y="1661582"/>
                <a:ext cx="216980" cy="324079"/>
              </a:xfrm>
              <a:custGeom>
                <a:avLst/>
                <a:gdLst>
                  <a:gd name="T0" fmla="*/ 2147483646 w 201"/>
                  <a:gd name="T1" fmla="*/ 2147483646 h 319"/>
                  <a:gd name="T2" fmla="*/ 2147483646 w 201"/>
                  <a:gd name="T3" fmla="*/ 2147483646 h 319"/>
                  <a:gd name="T4" fmla="*/ 2147483646 w 201"/>
                  <a:gd name="T5" fmla="*/ 2147483646 h 319"/>
                  <a:gd name="T6" fmla="*/ 2147483646 w 201"/>
                  <a:gd name="T7" fmla="*/ 2147483646 h 319"/>
                  <a:gd name="T8" fmla="*/ 2147483646 w 201"/>
                  <a:gd name="T9" fmla="*/ 2147483646 h 319"/>
                  <a:gd name="T10" fmla="*/ 2147483646 w 201"/>
                  <a:gd name="T11" fmla="*/ 2147483646 h 319"/>
                  <a:gd name="T12" fmla="*/ 2147483646 w 201"/>
                  <a:gd name="T13" fmla="*/ 2147483646 h 319"/>
                  <a:gd name="T14" fmla="*/ 2147483646 w 201"/>
                  <a:gd name="T15" fmla="*/ 2147483646 h 319"/>
                  <a:gd name="T16" fmla="*/ 2147483646 w 201"/>
                  <a:gd name="T17" fmla="*/ 2147483646 h 319"/>
                  <a:gd name="T18" fmla="*/ 2147483646 w 201"/>
                  <a:gd name="T19" fmla="*/ 2147483646 h 319"/>
                  <a:gd name="T20" fmla="*/ 2147483646 w 201"/>
                  <a:gd name="T21" fmla="*/ 2147483646 h 319"/>
                  <a:gd name="T22" fmla="*/ 2147483646 w 201"/>
                  <a:gd name="T23" fmla="*/ 2147483646 h 319"/>
                  <a:gd name="T24" fmla="*/ 2147483646 w 201"/>
                  <a:gd name="T25" fmla="*/ 2147483646 h 319"/>
                  <a:gd name="T26" fmla="*/ 2147483646 w 201"/>
                  <a:gd name="T27" fmla="*/ 2147483646 h 319"/>
                  <a:gd name="T28" fmla="*/ 2147483646 w 201"/>
                  <a:gd name="T29" fmla="*/ 2147483646 h 319"/>
                  <a:gd name="T30" fmla="*/ 2147483646 w 201"/>
                  <a:gd name="T31" fmla="*/ 2147483646 h 319"/>
                  <a:gd name="T32" fmla="*/ 2147483646 w 201"/>
                  <a:gd name="T33" fmla="*/ 2147483646 h 319"/>
                  <a:gd name="T34" fmla="*/ 2147483646 w 201"/>
                  <a:gd name="T35" fmla="*/ 2147483646 h 319"/>
                  <a:gd name="T36" fmla="*/ 2147483646 w 201"/>
                  <a:gd name="T37" fmla="*/ 2147483646 h 319"/>
                  <a:gd name="T38" fmla="*/ 2147483646 w 201"/>
                  <a:gd name="T39" fmla="*/ 2147483646 h 319"/>
                  <a:gd name="T40" fmla="*/ 2147483646 w 201"/>
                  <a:gd name="T41" fmla="*/ 2147483646 h 319"/>
                  <a:gd name="T42" fmla="*/ 2147483646 w 201"/>
                  <a:gd name="T43" fmla="*/ 2147483646 h 319"/>
                  <a:gd name="T44" fmla="*/ 2147483646 w 201"/>
                  <a:gd name="T45" fmla="*/ 2147483646 h 319"/>
                  <a:gd name="T46" fmla="*/ 2147483646 w 201"/>
                  <a:gd name="T47" fmla="*/ 2147483646 h 319"/>
                  <a:gd name="T48" fmla="*/ 2147483646 w 201"/>
                  <a:gd name="T49" fmla="*/ 2147483646 h 319"/>
                  <a:gd name="T50" fmla="*/ 2147483646 w 201"/>
                  <a:gd name="T51" fmla="*/ 0 h 319"/>
                  <a:gd name="T52" fmla="*/ 2147483646 w 201"/>
                  <a:gd name="T53" fmla="*/ 2147483646 h 319"/>
                  <a:gd name="T54" fmla="*/ 2147483646 w 201"/>
                  <a:gd name="T55" fmla="*/ 2147483646 h 319"/>
                  <a:gd name="T56" fmla="*/ 2147483646 w 201"/>
                  <a:gd name="T57" fmla="*/ 2147483646 h 319"/>
                  <a:gd name="T58" fmla="*/ 2147483646 w 201"/>
                  <a:gd name="T59" fmla="*/ 2147483646 h 319"/>
                  <a:gd name="T60" fmla="*/ 2147483646 w 201"/>
                  <a:gd name="T61" fmla="*/ 2147483646 h 319"/>
                  <a:gd name="T62" fmla="*/ 2147483646 w 201"/>
                  <a:gd name="T63" fmla="*/ 2147483646 h 319"/>
                  <a:gd name="T64" fmla="*/ 2147483646 w 201"/>
                  <a:gd name="T65" fmla="*/ 2147483646 h 319"/>
                  <a:gd name="T66" fmla="*/ 2147483646 w 201"/>
                  <a:gd name="T67" fmla="*/ 2147483646 h 319"/>
                  <a:gd name="T68" fmla="*/ 2147483646 w 201"/>
                  <a:gd name="T69" fmla="*/ 2147483646 h 319"/>
                  <a:gd name="T70" fmla="*/ 2147483646 w 201"/>
                  <a:gd name="T71" fmla="*/ 2147483646 h 319"/>
                  <a:gd name="T72" fmla="*/ 2147483646 w 201"/>
                  <a:gd name="T73" fmla="*/ 2147483646 h 319"/>
                  <a:gd name="T74" fmla="*/ 2147483646 w 201"/>
                  <a:gd name="T75" fmla="*/ 2147483646 h 319"/>
                  <a:gd name="T76" fmla="*/ 2147483646 w 201"/>
                  <a:gd name="T77" fmla="*/ 2147483646 h 319"/>
                  <a:gd name="T78" fmla="*/ 2147483646 w 201"/>
                  <a:gd name="T79" fmla="*/ 2147483646 h 319"/>
                  <a:gd name="T80" fmla="*/ 2147483646 w 201"/>
                  <a:gd name="T81" fmla="*/ 2147483646 h 319"/>
                  <a:gd name="T82" fmla="*/ 2147483646 w 201"/>
                  <a:gd name="T83" fmla="*/ 2147483646 h 319"/>
                  <a:gd name="T84" fmla="*/ 2147483646 w 201"/>
                  <a:gd name="T85" fmla="*/ 2147483646 h 319"/>
                  <a:gd name="T86" fmla="*/ 0 w 201"/>
                  <a:gd name="T87" fmla="*/ 2147483646 h 319"/>
                  <a:gd name="T88" fmla="*/ 2147483646 w 201"/>
                  <a:gd name="T89" fmla="*/ 2147483646 h 319"/>
                  <a:gd name="T90" fmla="*/ 2147483646 w 201"/>
                  <a:gd name="T91" fmla="*/ 2147483646 h 319"/>
                  <a:gd name="T92" fmla="*/ 2147483646 w 201"/>
                  <a:gd name="T93" fmla="*/ 2147483646 h 319"/>
                  <a:gd name="T94" fmla="*/ 2147483646 w 201"/>
                  <a:gd name="T95" fmla="*/ 2147483646 h 319"/>
                  <a:gd name="T96" fmla="*/ 2147483646 w 201"/>
                  <a:gd name="T97" fmla="*/ 2147483646 h 319"/>
                  <a:gd name="T98" fmla="*/ 2147483646 w 201"/>
                  <a:gd name="T99" fmla="*/ 2147483646 h 319"/>
                  <a:gd name="T100" fmla="*/ 2147483646 w 201"/>
                  <a:gd name="T101" fmla="*/ 2147483646 h 319"/>
                  <a:gd name="T102" fmla="*/ 2147483646 w 201"/>
                  <a:gd name="T103" fmla="*/ 2147483646 h 319"/>
                  <a:gd name="T104" fmla="*/ 2147483646 w 201"/>
                  <a:gd name="T105" fmla="*/ 2147483646 h 319"/>
                  <a:gd name="T106" fmla="*/ 2147483646 w 201"/>
                  <a:gd name="T107" fmla="*/ 2147483646 h 319"/>
                  <a:gd name="T108" fmla="*/ 2147483646 w 201"/>
                  <a:gd name="T109" fmla="*/ 2147483646 h 319"/>
                  <a:gd name="T110" fmla="*/ 2147483646 w 201"/>
                  <a:gd name="T111" fmla="*/ 2147483646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5" name="Freeform 440">
                <a:extLst>
                  <a:ext uri="{FF2B5EF4-FFF2-40B4-BE49-F238E27FC236}">
                    <a16:creationId xmlns:a16="http://schemas.microsoft.com/office/drawing/2014/main" id="{13360693-E80E-463F-8D88-AE22E28D7E5B}"/>
                  </a:ext>
                </a:extLst>
              </p:cNvPr>
              <p:cNvSpPr>
                <a:spLocks/>
              </p:cNvSpPr>
              <p:nvPr/>
            </p:nvSpPr>
            <p:spPr bwMode="auto">
              <a:xfrm>
                <a:off x="2075923" y="1930460"/>
                <a:ext cx="37004" cy="17807"/>
              </a:xfrm>
              <a:custGeom>
                <a:avLst/>
                <a:gdLst>
                  <a:gd name="T0" fmla="*/ 2147483646 w 34"/>
                  <a:gd name="T1" fmla="*/ 0 h 18"/>
                  <a:gd name="T2" fmla="*/ 2147483646 w 34"/>
                  <a:gd name="T3" fmla="*/ 2147483646 h 18"/>
                  <a:gd name="T4" fmla="*/ 2147483646 w 34"/>
                  <a:gd name="T5" fmla="*/ 2147483646 h 18"/>
                  <a:gd name="T6" fmla="*/ 2147483646 w 34"/>
                  <a:gd name="T7" fmla="*/ 2147483646 h 18"/>
                  <a:gd name="T8" fmla="*/ 2147483646 w 34"/>
                  <a:gd name="T9" fmla="*/ 2147483646 h 18"/>
                  <a:gd name="T10" fmla="*/ 2147483646 w 34"/>
                  <a:gd name="T11" fmla="*/ 2147483646 h 18"/>
                  <a:gd name="T12" fmla="*/ 2147483646 w 34"/>
                  <a:gd name="T13" fmla="*/ 2147483646 h 18"/>
                  <a:gd name="T14" fmla="*/ 2147483646 w 34"/>
                  <a:gd name="T15" fmla="*/ 2147483646 h 18"/>
                  <a:gd name="T16" fmla="*/ 2147483646 w 34"/>
                  <a:gd name="T17" fmla="*/ 2147483646 h 18"/>
                  <a:gd name="T18" fmla="*/ 2147483646 w 34"/>
                  <a:gd name="T19" fmla="*/ 2147483646 h 18"/>
                  <a:gd name="T20" fmla="*/ 0 w 34"/>
                  <a:gd name="T21" fmla="*/ 2147483646 h 18"/>
                  <a:gd name="T22" fmla="*/ 0 w 34"/>
                  <a:gd name="T23" fmla="*/ 2147483646 h 18"/>
                  <a:gd name="T24" fmla="*/ 2147483646 w 34"/>
                  <a:gd name="T25" fmla="*/ 2147483646 h 18"/>
                  <a:gd name="T26" fmla="*/ 2147483646 w 34"/>
                  <a:gd name="T27" fmla="*/ 2147483646 h 18"/>
                  <a:gd name="T28" fmla="*/ 2147483646 w 34"/>
                  <a:gd name="T29" fmla="*/ 2147483646 h 18"/>
                  <a:gd name="T30" fmla="*/ 2147483646 w 34"/>
                  <a:gd name="T31" fmla="*/ 2147483646 h 18"/>
                  <a:gd name="T32" fmla="*/ 2147483646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6" name="Freeform 441">
                <a:extLst>
                  <a:ext uri="{FF2B5EF4-FFF2-40B4-BE49-F238E27FC236}">
                    <a16:creationId xmlns:a16="http://schemas.microsoft.com/office/drawing/2014/main" id="{DBA56EA1-530B-4D67-9D39-70E4FDC260AB}"/>
                  </a:ext>
                </a:extLst>
              </p:cNvPr>
              <p:cNvSpPr>
                <a:spLocks/>
              </p:cNvSpPr>
              <p:nvPr/>
            </p:nvSpPr>
            <p:spPr bwMode="auto">
              <a:xfrm>
                <a:off x="2057420" y="1884163"/>
                <a:ext cx="33640" cy="48078"/>
              </a:xfrm>
              <a:custGeom>
                <a:avLst/>
                <a:gdLst>
                  <a:gd name="T0" fmla="*/ 2147483646 w 34"/>
                  <a:gd name="T1" fmla="*/ 2147483646 h 46"/>
                  <a:gd name="T2" fmla="*/ 2147483646 w 34"/>
                  <a:gd name="T3" fmla="*/ 2147483646 h 46"/>
                  <a:gd name="T4" fmla="*/ 2147483646 w 34"/>
                  <a:gd name="T5" fmla="*/ 2147483646 h 46"/>
                  <a:gd name="T6" fmla="*/ 2147483646 w 34"/>
                  <a:gd name="T7" fmla="*/ 0 h 46"/>
                  <a:gd name="T8" fmla="*/ 2147483646 w 34"/>
                  <a:gd name="T9" fmla="*/ 0 h 46"/>
                  <a:gd name="T10" fmla="*/ 2147483646 w 34"/>
                  <a:gd name="T11" fmla="*/ 2147483646 h 46"/>
                  <a:gd name="T12" fmla="*/ 0 w 34"/>
                  <a:gd name="T13" fmla="*/ 2147483646 h 46"/>
                  <a:gd name="T14" fmla="*/ 2147483646 w 34"/>
                  <a:gd name="T15" fmla="*/ 2147483646 h 46"/>
                  <a:gd name="T16" fmla="*/ 2147483646 w 34"/>
                  <a:gd name="T17" fmla="*/ 2147483646 h 46"/>
                  <a:gd name="T18" fmla="*/ 2147483646 w 34"/>
                  <a:gd name="T19" fmla="*/ 2147483646 h 46"/>
                  <a:gd name="T20" fmla="*/ 2147483646 w 34"/>
                  <a:gd name="T21" fmla="*/ 2147483646 h 46"/>
                  <a:gd name="T22" fmla="*/ 2147483646 w 34"/>
                  <a:gd name="T23" fmla="*/ 2147483646 h 46"/>
                  <a:gd name="T24" fmla="*/ 2147483646 w 34"/>
                  <a:gd name="T25" fmla="*/ 2147483646 h 46"/>
                  <a:gd name="T26" fmla="*/ 2147483646 w 34"/>
                  <a:gd name="T27" fmla="*/ 2147483646 h 46"/>
                  <a:gd name="T28" fmla="*/ 2147483646 w 34"/>
                  <a:gd name="T29" fmla="*/ 2147483646 h 46"/>
                  <a:gd name="T30" fmla="*/ 2147483646 w 34"/>
                  <a:gd name="T31" fmla="*/ 2147483646 h 46"/>
                  <a:gd name="T32" fmla="*/ 2147483646 w 34"/>
                  <a:gd name="T33" fmla="*/ 2147483646 h 46"/>
                  <a:gd name="T34" fmla="*/ 2147483646 w 34"/>
                  <a:gd name="T35" fmla="*/ 2147483646 h 46"/>
                  <a:gd name="T36" fmla="*/ 2147483646 w 34"/>
                  <a:gd name="T37" fmla="*/ 2147483646 h 46"/>
                  <a:gd name="T38" fmla="*/ 2147483646 w 34"/>
                  <a:gd name="T39" fmla="*/ 2147483646 h 46"/>
                  <a:gd name="T40" fmla="*/ 2147483646 w 34"/>
                  <a:gd name="T41" fmla="*/ 2147483646 h 46"/>
                  <a:gd name="T42" fmla="*/ 2147483646 w 34"/>
                  <a:gd name="T43" fmla="*/ 2147483646 h 46"/>
                  <a:gd name="T44" fmla="*/ 2147483646 w 34"/>
                  <a:gd name="T45" fmla="*/ 2147483646 h 46"/>
                  <a:gd name="T46" fmla="*/ 2147483646 w 34"/>
                  <a:gd name="T47" fmla="*/ 2147483646 h 46"/>
                  <a:gd name="T48" fmla="*/ 2147483646 w 34"/>
                  <a:gd name="T49" fmla="*/ 2147483646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7" name="Freeform 442">
                <a:extLst>
                  <a:ext uri="{FF2B5EF4-FFF2-40B4-BE49-F238E27FC236}">
                    <a16:creationId xmlns:a16="http://schemas.microsoft.com/office/drawing/2014/main" id="{EB90EC8B-7023-4424-BF47-C39F9F8DB84B}"/>
                  </a:ext>
                </a:extLst>
              </p:cNvPr>
              <p:cNvSpPr>
                <a:spLocks/>
              </p:cNvSpPr>
              <p:nvPr/>
            </p:nvSpPr>
            <p:spPr bwMode="auto">
              <a:xfrm>
                <a:off x="1990140" y="1862795"/>
                <a:ext cx="60552" cy="67665"/>
              </a:xfrm>
              <a:custGeom>
                <a:avLst/>
                <a:gdLst>
                  <a:gd name="T0" fmla="*/ 2147483646 w 58"/>
                  <a:gd name="T1" fmla="*/ 2147483646 h 67"/>
                  <a:gd name="T2" fmla="*/ 2147483646 w 58"/>
                  <a:gd name="T3" fmla="*/ 2147483646 h 67"/>
                  <a:gd name="T4" fmla="*/ 2147483646 w 58"/>
                  <a:gd name="T5" fmla="*/ 2147483646 h 67"/>
                  <a:gd name="T6" fmla="*/ 2147483646 w 58"/>
                  <a:gd name="T7" fmla="*/ 2147483646 h 67"/>
                  <a:gd name="T8" fmla="*/ 2147483646 w 58"/>
                  <a:gd name="T9" fmla="*/ 2147483646 h 67"/>
                  <a:gd name="T10" fmla="*/ 2147483646 w 58"/>
                  <a:gd name="T11" fmla="*/ 2147483646 h 67"/>
                  <a:gd name="T12" fmla="*/ 2147483646 w 58"/>
                  <a:gd name="T13" fmla="*/ 2147483646 h 67"/>
                  <a:gd name="T14" fmla="*/ 2147483646 w 58"/>
                  <a:gd name="T15" fmla="*/ 2147483646 h 67"/>
                  <a:gd name="T16" fmla="*/ 2147483646 w 58"/>
                  <a:gd name="T17" fmla="*/ 2147483646 h 67"/>
                  <a:gd name="T18" fmla="*/ 2147483646 w 58"/>
                  <a:gd name="T19" fmla="*/ 2147483646 h 67"/>
                  <a:gd name="T20" fmla="*/ 2147483646 w 58"/>
                  <a:gd name="T21" fmla="*/ 2147483646 h 67"/>
                  <a:gd name="T22" fmla="*/ 2147483646 w 58"/>
                  <a:gd name="T23" fmla="*/ 2147483646 h 67"/>
                  <a:gd name="T24" fmla="*/ 2147483646 w 58"/>
                  <a:gd name="T25" fmla="*/ 2147483646 h 67"/>
                  <a:gd name="T26" fmla="*/ 2147483646 w 58"/>
                  <a:gd name="T27" fmla="*/ 2147483646 h 67"/>
                  <a:gd name="T28" fmla="*/ 2147483646 w 58"/>
                  <a:gd name="T29" fmla="*/ 2147483646 h 67"/>
                  <a:gd name="T30" fmla="*/ 2147483646 w 58"/>
                  <a:gd name="T31" fmla="*/ 2147483646 h 67"/>
                  <a:gd name="T32" fmla="*/ 2147483646 w 58"/>
                  <a:gd name="T33" fmla="*/ 2147483646 h 67"/>
                  <a:gd name="T34" fmla="*/ 2147483646 w 58"/>
                  <a:gd name="T35" fmla="*/ 2147483646 h 67"/>
                  <a:gd name="T36" fmla="*/ 2147483646 w 58"/>
                  <a:gd name="T37" fmla="*/ 2147483646 h 67"/>
                  <a:gd name="T38" fmla="*/ 2147483646 w 58"/>
                  <a:gd name="T39" fmla="*/ 2147483646 h 67"/>
                  <a:gd name="T40" fmla="*/ 2147483646 w 58"/>
                  <a:gd name="T41" fmla="*/ 2147483646 h 67"/>
                  <a:gd name="T42" fmla="*/ 2147483646 w 58"/>
                  <a:gd name="T43" fmla="*/ 2147483646 h 67"/>
                  <a:gd name="T44" fmla="*/ 2147483646 w 58"/>
                  <a:gd name="T45" fmla="*/ 2147483646 h 67"/>
                  <a:gd name="T46" fmla="*/ 0 w 58"/>
                  <a:gd name="T47" fmla="*/ 2147483646 h 67"/>
                  <a:gd name="T48" fmla="*/ 2147483646 w 58"/>
                  <a:gd name="T49" fmla="*/ 0 h 67"/>
                  <a:gd name="T50" fmla="*/ 2147483646 w 58"/>
                  <a:gd name="T51" fmla="*/ 0 h 67"/>
                  <a:gd name="T52" fmla="*/ 2147483646 w 58"/>
                  <a:gd name="T53" fmla="*/ 0 h 67"/>
                  <a:gd name="T54" fmla="*/ 2147483646 w 58"/>
                  <a:gd name="T55" fmla="*/ 2147483646 h 67"/>
                  <a:gd name="T56" fmla="*/ 2147483646 w 58"/>
                  <a:gd name="T57" fmla="*/ 2147483646 h 67"/>
                  <a:gd name="T58" fmla="*/ 2147483646 w 58"/>
                  <a:gd name="T59" fmla="*/ 2147483646 h 67"/>
                  <a:gd name="T60" fmla="*/ 2147483646 w 58"/>
                  <a:gd name="T61" fmla="*/ 2147483646 h 67"/>
                  <a:gd name="T62" fmla="*/ 2147483646 w 58"/>
                  <a:gd name="T63" fmla="*/ 2147483646 h 67"/>
                  <a:gd name="T64" fmla="*/ 2147483646 w 58"/>
                  <a:gd name="T65" fmla="*/ 2147483646 h 67"/>
                  <a:gd name="T66" fmla="*/ 2147483646 w 58"/>
                  <a:gd name="T67" fmla="*/ 2147483646 h 67"/>
                  <a:gd name="T68" fmla="*/ 2147483646 w 58"/>
                  <a:gd name="T69" fmla="*/ 2147483646 h 67"/>
                  <a:gd name="T70" fmla="*/ 2147483646 w 58"/>
                  <a:gd name="T71" fmla="*/ 2147483646 h 67"/>
                  <a:gd name="T72" fmla="*/ 2147483646 w 58"/>
                  <a:gd name="T73" fmla="*/ 2147483646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88" name="Freeform 443">
                <a:extLst>
                  <a:ext uri="{FF2B5EF4-FFF2-40B4-BE49-F238E27FC236}">
                    <a16:creationId xmlns:a16="http://schemas.microsoft.com/office/drawing/2014/main" id="{37225390-BC41-49D5-B4FE-AC00B85689CF}"/>
                  </a:ext>
                </a:extLst>
              </p:cNvPr>
              <p:cNvSpPr>
                <a:spLocks/>
              </p:cNvSpPr>
              <p:nvPr/>
            </p:nvSpPr>
            <p:spPr bwMode="auto">
              <a:xfrm>
                <a:off x="1747930" y="2110307"/>
                <a:ext cx="269122" cy="235047"/>
              </a:xfrm>
              <a:custGeom>
                <a:avLst/>
                <a:gdLst>
                  <a:gd name="T0" fmla="*/ 2147483646 w 249"/>
                  <a:gd name="T1" fmla="*/ 2147483646 h 231"/>
                  <a:gd name="T2" fmla="*/ 2147483646 w 249"/>
                  <a:gd name="T3" fmla="*/ 2147483646 h 231"/>
                  <a:gd name="T4" fmla="*/ 2147483646 w 249"/>
                  <a:gd name="T5" fmla="*/ 2147483646 h 231"/>
                  <a:gd name="T6" fmla="*/ 2147483646 w 249"/>
                  <a:gd name="T7" fmla="*/ 2147483646 h 231"/>
                  <a:gd name="T8" fmla="*/ 2147483646 w 249"/>
                  <a:gd name="T9" fmla="*/ 2147483646 h 231"/>
                  <a:gd name="T10" fmla="*/ 2147483646 w 249"/>
                  <a:gd name="T11" fmla="*/ 2147483646 h 231"/>
                  <a:gd name="T12" fmla="*/ 2147483646 w 249"/>
                  <a:gd name="T13" fmla="*/ 2147483646 h 231"/>
                  <a:gd name="T14" fmla="*/ 2147483646 w 249"/>
                  <a:gd name="T15" fmla="*/ 2147483646 h 231"/>
                  <a:gd name="T16" fmla="*/ 2147483646 w 249"/>
                  <a:gd name="T17" fmla="*/ 2147483646 h 231"/>
                  <a:gd name="T18" fmla="*/ 2147483646 w 249"/>
                  <a:gd name="T19" fmla="*/ 2147483646 h 231"/>
                  <a:gd name="T20" fmla="*/ 2147483646 w 249"/>
                  <a:gd name="T21" fmla="*/ 2147483646 h 231"/>
                  <a:gd name="T22" fmla="*/ 2147483646 w 249"/>
                  <a:gd name="T23" fmla="*/ 2147483646 h 231"/>
                  <a:gd name="T24" fmla="*/ 2147483646 w 249"/>
                  <a:gd name="T25" fmla="*/ 2147483646 h 231"/>
                  <a:gd name="T26" fmla="*/ 2147483646 w 249"/>
                  <a:gd name="T27" fmla="*/ 2147483646 h 231"/>
                  <a:gd name="T28" fmla="*/ 2147483646 w 249"/>
                  <a:gd name="T29" fmla="*/ 2147483646 h 231"/>
                  <a:gd name="T30" fmla="*/ 2147483646 w 249"/>
                  <a:gd name="T31" fmla="*/ 2147483646 h 231"/>
                  <a:gd name="T32" fmla="*/ 2147483646 w 249"/>
                  <a:gd name="T33" fmla="*/ 2147483646 h 231"/>
                  <a:gd name="T34" fmla="*/ 2147483646 w 249"/>
                  <a:gd name="T35" fmla="*/ 2147483646 h 231"/>
                  <a:gd name="T36" fmla="*/ 2147483646 w 249"/>
                  <a:gd name="T37" fmla="*/ 2147483646 h 231"/>
                  <a:gd name="T38" fmla="*/ 2147483646 w 249"/>
                  <a:gd name="T39" fmla="*/ 2147483646 h 231"/>
                  <a:gd name="T40" fmla="*/ 2147483646 w 249"/>
                  <a:gd name="T41" fmla="*/ 2147483646 h 231"/>
                  <a:gd name="T42" fmla="*/ 2147483646 w 249"/>
                  <a:gd name="T43" fmla="*/ 2147483646 h 231"/>
                  <a:gd name="T44" fmla="*/ 2147483646 w 249"/>
                  <a:gd name="T45" fmla="*/ 2147483646 h 231"/>
                  <a:gd name="T46" fmla="*/ 2147483646 w 249"/>
                  <a:gd name="T47" fmla="*/ 2147483646 h 231"/>
                  <a:gd name="T48" fmla="*/ 2147483646 w 249"/>
                  <a:gd name="T49" fmla="*/ 2147483646 h 231"/>
                  <a:gd name="T50" fmla="*/ 2147483646 w 249"/>
                  <a:gd name="T51" fmla="*/ 2147483646 h 231"/>
                  <a:gd name="T52" fmla="*/ 2147483646 w 249"/>
                  <a:gd name="T53" fmla="*/ 2147483646 h 231"/>
                  <a:gd name="T54" fmla="*/ 2147483646 w 249"/>
                  <a:gd name="T55" fmla="*/ 2147483646 h 231"/>
                  <a:gd name="T56" fmla="*/ 2147483646 w 249"/>
                  <a:gd name="T57" fmla="*/ 2147483646 h 231"/>
                  <a:gd name="T58" fmla="*/ 2147483646 w 249"/>
                  <a:gd name="T59" fmla="*/ 2147483646 h 231"/>
                  <a:gd name="T60" fmla="*/ 2147483646 w 249"/>
                  <a:gd name="T61" fmla="*/ 2147483646 h 231"/>
                  <a:gd name="T62" fmla="*/ 2147483646 w 249"/>
                  <a:gd name="T63" fmla="*/ 2147483646 h 231"/>
                  <a:gd name="T64" fmla="*/ 2147483646 w 249"/>
                  <a:gd name="T65" fmla="*/ 2147483646 h 231"/>
                  <a:gd name="T66" fmla="*/ 2147483646 w 249"/>
                  <a:gd name="T67" fmla="*/ 2147483646 h 231"/>
                  <a:gd name="T68" fmla="*/ 2147483646 w 249"/>
                  <a:gd name="T69" fmla="*/ 2147483646 h 231"/>
                  <a:gd name="T70" fmla="*/ 2147483646 w 249"/>
                  <a:gd name="T71" fmla="*/ 2147483646 h 231"/>
                  <a:gd name="T72" fmla="*/ 2147483646 w 249"/>
                  <a:gd name="T73" fmla="*/ 2147483646 h 231"/>
                  <a:gd name="T74" fmla="*/ 2147483646 w 249"/>
                  <a:gd name="T75" fmla="*/ 2147483646 h 231"/>
                  <a:gd name="T76" fmla="*/ 2147483646 w 249"/>
                  <a:gd name="T77" fmla="*/ 2147483646 h 231"/>
                  <a:gd name="T78" fmla="*/ 2147483646 w 249"/>
                  <a:gd name="T79" fmla="*/ 2147483646 h 231"/>
                  <a:gd name="T80" fmla="*/ 2147483646 w 249"/>
                  <a:gd name="T81" fmla="*/ 2147483646 h 231"/>
                  <a:gd name="T82" fmla="*/ 2147483646 w 249"/>
                  <a:gd name="T83" fmla="*/ 2147483646 h 231"/>
                  <a:gd name="T84" fmla="*/ 2147483646 w 249"/>
                  <a:gd name="T85" fmla="*/ 2147483646 h 231"/>
                  <a:gd name="T86" fmla="*/ 2147483646 w 249"/>
                  <a:gd name="T87" fmla="*/ 2147483646 h 231"/>
                  <a:gd name="T88" fmla="*/ 2147483646 w 249"/>
                  <a:gd name="T89" fmla="*/ 2147483646 h 231"/>
                  <a:gd name="T90" fmla="*/ 2147483646 w 249"/>
                  <a:gd name="T91" fmla="*/ 2147483646 h 231"/>
                  <a:gd name="T92" fmla="*/ 2147483646 w 249"/>
                  <a:gd name="T93" fmla="*/ 2147483646 h 231"/>
                  <a:gd name="T94" fmla="*/ 2147483646 w 249"/>
                  <a:gd name="T95" fmla="*/ 2147483646 h 231"/>
                  <a:gd name="T96" fmla="*/ 2147483646 w 249"/>
                  <a:gd name="T97" fmla="*/ 2147483646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20" name="Freeform 445">
                <a:extLst>
                  <a:ext uri="{FF2B5EF4-FFF2-40B4-BE49-F238E27FC236}">
                    <a16:creationId xmlns:a16="http://schemas.microsoft.com/office/drawing/2014/main" id="{2B0658F5-4307-48D5-A5F6-BF56DC6A32EB}"/>
                  </a:ext>
                </a:extLst>
              </p:cNvPr>
              <p:cNvSpPr>
                <a:spLocks/>
              </p:cNvSpPr>
              <p:nvPr/>
            </p:nvSpPr>
            <p:spPr bwMode="auto">
              <a:xfrm>
                <a:off x="2776538" y="4244975"/>
                <a:ext cx="36512" cy="19050"/>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chemeClr val="bg1"/>
              </a:solidFill>
              <a:ln w="6350" cap="flat"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l-GR"/>
              </a:p>
            </p:txBody>
          </p:sp>
          <p:sp>
            <p:nvSpPr>
              <p:cNvPr id="83121" name="Freeform 450">
                <a:extLst>
                  <a:ext uri="{FF2B5EF4-FFF2-40B4-BE49-F238E27FC236}">
                    <a16:creationId xmlns:a16="http://schemas.microsoft.com/office/drawing/2014/main" id="{1F56C3EC-D39E-4DFB-9C88-AEFCFDD25DB6}"/>
                  </a:ext>
                </a:extLst>
              </p:cNvPr>
              <p:cNvSpPr>
                <a:spLocks/>
              </p:cNvSpPr>
              <p:nvPr/>
            </p:nvSpPr>
            <p:spPr bwMode="auto">
              <a:xfrm>
                <a:off x="3753782" y="2350306"/>
                <a:ext cx="195470" cy="102382"/>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rgbClr val="92D050"/>
              </a:solidFill>
              <a:ln w="9525">
                <a:solidFill>
                  <a:schemeClr val="bg1"/>
                </a:solidFill>
                <a:round/>
                <a:headEnd/>
                <a:tailEnd/>
              </a:ln>
            </p:spPr>
            <p:txBody>
              <a:bodyPr/>
              <a:lstStyle/>
              <a:p>
                <a:endParaRPr lang="el-GR"/>
              </a:p>
            </p:txBody>
          </p:sp>
          <p:sp>
            <p:nvSpPr>
              <p:cNvPr id="83122" name="Freeform 451">
                <a:extLst>
                  <a:ext uri="{FF2B5EF4-FFF2-40B4-BE49-F238E27FC236}">
                    <a16:creationId xmlns:a16="http://schemas.microsoft.com/office/drawing/2014/main" id="{E11F097C-4883-4676-8EBB-AA7CB35146FA}"/>
                  </a:ext>
                </a:extLst>
              </p:cNvPr>
              <p:cNvSpPr>
                <a:spLocks/>
              </p:cNvSpPr>
              <p:nvPr/>
            </p:nvSpPr>
            <p:spPr bwMode="auto">
              <a:xfrm>
                <a:off x="7815263" y="4605338"/>
                <a:ext cx="215900" cy="185737"/>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rgbClr val="FF0000"/>
              </a:solidFill>
              <a:ln w="9525">
                <a:solidFill>
                  <a:schemeClr val="bg1"/>
                </a:solidFill>
                <a:round/>
                <a:headEnd/>
                <a:tailEnd/>
              </a:ln>
            </p:spPr>
            <p:txBody>
              <a:bodyPr/>
              <a:lstStyle/>
              <a:p>
                <a:endParaRPr lang="el-GR"/>
              </a:p>
            </p:txBody>
          </p:sp>
          <p:sp>
            <p:nvSpPr>
              <p:cNvPr id="83123" name="Freeform 452">
                <a:extLst>
                  <a:ext uri="{FF2B5EF4-FFF2-40B4-BE49-F238E27FC236}">
                    <a16:creationId xmlns:a16="http://schemas.microsoft.com/office/drawing/2014/main" id="{F5DE9D86-65B6-4822-A902-D608C0C845FB}"/>
                  </a:ext>
                </a:extLst>
              </p:cNvPr>
              <p:cNvSpPr>
                <a:spLocks/>
              </p:cNvSpPr>
              <p:nvPr/>
            </p:nvSpPr>
            <p:spPr bwMode="auto">
              <a:xfrm>
                <a:off x="8031163" y="4649788"/>
                <a:ext cx="174625" cy="169862"/>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rgbClr val="FF0000"/>
              </a:solidFill>
              <a:ln w="9525">
                <a:solidFill>
                  <a:schemeClr val="bg1"/>
                </a:solidFill>
                <a:round/>
                <a:headEnd/>
                <a:tailEnd/>
              </a:ln>
            </p:spPr>
            <p:txBody>
              <a:bodyPr/>
              <a:lstStyle/>
              <a:p>
                <a:endParaRPr lang="el-GR"/>
              </a:p>
            </p:txBody>
          </p:sp>
          <p:grpSp>
            <p:nvGrpSpPr>
              <p:cNvPr id="83124" name="Group 453">
                <a:extLst>
                  <a:ext uri="{FF2B5EF4-FFF2-40B4-BE49-F238E27FC236}">
                    <a16:creationId xmlns:a16="http://schemas.microsoft.com/office/drawing/2014/main" id="{40D5860A-1B16-4047-A5E0-86FAD170D4A5}"/>
                  </a:ext>
                </a:extLst>
              </p:cNvPr>
              <p:cNvGrpSpPr>
                <a:grpSpLocks/>
              </p:cNvGrpSpPr>
              <p:nvPr/>
            </p:nvGrpSpPr>
            <p:grpSpPr bwMode="auto">
              <a:xfrm>
                <a:off x="4292600" y="2860675"/>
                <a:ext cx="250825" cy="368300"/>
                <a:chOff x="2201" y="1250"/>
                <a:chExt cx="133" cy="193"/>
              </a:xfrm>
            </p:grpSpPr>
            <p:sp>
              <p:nvSpPr>
                <p:cNvPr id="83167" name="Freeform 454">
                  <a:extLst>
                    <a:ext uri="{FF2B5EF4-FFF2-40B4-BE49-F238E27FC236}">
                      <a16:creationId xmlns:a16="http://schemas.microsoft.com/office/drawing/2014/main" id="{C2FD8832-33E2-4D2C-AC3B-9C3A80714F3F}"/>
                    </a:ext>
                  </a:extLst>
                </p:cNvPr>
                <p:cNvSpPr>
                  <a:spLocks/>
                </p:cNvSpPr>
                <p:nvPr/>
              </p:nvSpPr>
              <p:spPr bwMode="auto">
                <a:xfrm>
                  <a:off x="2234" y="1250"/>
                  <a:ext cx="100" cy="193"/>
                </a:xfrm>
                <a:custGeom>
                  <a:avLst/>
                  <a:gdLst>
                    <a:gd name="T0" fmla="*/ 9440400 w 24"/>
                    <a:gd name="T1" fmla="*/ 47783351 h 47"/>
                    <a:gd name="T2" fmla="*/ 6452554 w 24"/>
                    <a:gd name="T3" fmla="*/ 45108268 h 47"/>
                    <a:gd name="T4" fmla="*/ 15896842 w 24"/>
                    <a:gd name="T5" fmla="*/ 39536313 h 47"/>
                    <a:gd name="T6" fmla="*/ 14348229 w 24"/>
                    <a:gd name="T7" fmla="*/ 34200417 h 47"/>
                    <a:gd name="T8" fmla="*/ 12537396 w 24"/>
                    <a:gd name="T9" fmla="*/ 29909411 h 47"/>
                    <a:gd name="T10" fmla="*/ 4907846 w 24"/>
                    <a:gd name="T11" fmla="*/ 29909411 h 47"/>
                    <a:gd name="T12" fmla="*/ 6452554 w 24"/>
                    <a:gd name="T13" fmla="*/ 21911249 h 47"/>
                    <a:gd name="T14" fmla="*/ 1548613 w 24"/>
                    <a:gd name="T15" fmla="*/ 24572403 h 47"/>
                    <a:gd name="T16" fmla="*/ 0 w 24"/>
                    <a:gd name="T17" fmla="*/ 17620227 h 47"/>
                    <a:gd name="T18" fmla="*/ 0 w 24"/>
                    <a:gd name="T19" fmla="*/ 10984915 h 47"/>
                    <a:gd name="T20" fmla="*/ 1548613 w 24"/>
                    <a:gd name="T21" fmla="*/ 5335900 h 47"/>
                    <a:gd name="T22" fmla="*/ 8001163 w 24"/>
                    <a:gd name="T23" fmla="*/ 0 h 47"/>
                    <a:gd name="T24" fmla="*/ 12537396 w 24"/>
                    <a:gd name="T25" fmla="*/ 1299416 h 47"/>
                    <a:gd name="T26" fmla="*/ 10988717 w 24"/>
                    <a:gd name="T27" fmla="*/ 8328599 h 47"/>
                    <a:gd name="T28" fmla="*/ 20449358 w 24"/>
                    <a:gd name="T29" fmla="*/ 8328599 h 47"/>
                    <a:gd name="T30" fmla="*/ 17441633 w 24"/>
                    <a:gd name="T31" fmla="*/ 14963980 h 47"/>
                    <a:gd name="T32" fmla="*/ 14348229 w 24"/>
                    <a:gd name="T33" fmla="*/ 20611817 h 47"/>
                    <a:gd name="T34" fmla="*/ 20449358 w 24"/>
                    <a:gd name="T35" fmla="*/ 23210931 h 47"/>
                    <a:gd name="T36" fmla="*/ 26885642 w 24"/>
                    <a:gd name="T37" fmla="*/ 32901002 h 47"/>
                    <a:gd name="T38" fmla="*/ 29894600 w 24"/>
                    <a:gd name="T39" fmla="*/ 39536313 h 47"/>
                    <a:gd name="T40" fmla="*/ 29894600 w 24"/>
                    <a:gd name="T41" fmla="*/ 43492332 h 47"/>
                    <a:gd name="T42" fmla="*/ 36347450 w 24"/>
                    <a:gd name="T43" fmla="*/ 43492332 h 47"/>
                    <a:gd name="T44" fmla="*/ 34797604 w 24"/>
                    <a:gd name="T45" fmla="*/ 53120347 h 47"/>
                    <a:gd name="T46" fmla="*/ 37895763 w 24"/>
                    <a:gd name="T47" fmla="*/ 54418666 h 47"/>
                    <a:gd name="T48" fmla="*/ 26885642 w 24"/>
                    <a:gd name="T49" fmla="*/ 58772750 h 47"/>
                    <a:gd name="T50" fmla="*/ 17441633 w 24"/>
                    <a:gd name="T51" fmla="*/ 60072182 h 47"/>
                    <a:gd name="T52" fmla="*/ 12537396 w 24"/>
                    <a:gd name="T53" fmla="*/ 61447833 h 47"/>
                    <a:gd name="T54" fmla="*/ 6452554 w 24"/>
                    <a:gd name="T55" fmla="*/ 61447833 h 47"/>
                    <a:gd name="T56" fmla="*/ 1548613 w 24"/>
                    <a:gd name="T57" fmla="*/ 62747265 h 47"/>
                    <a:gd name="T58" fmla="*/ 8001163 w 24"/>
                    <a:gd name="T59" fmla="*/ 57074978 h 47"/>
                    <a:gd name="T60" fmla="*/ 9440400 w 24"/>
                    <a:gd name="T61" fmla="*/ 51820644 h 47"/>
                    <a:gd name="T62" fmla="*/ 4907846 w 24"/>
                    <a:gd name="T63" fmla="*/ 50444168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solidFill>
                  <a:srgbClr val="92D050"/>
                </a:solidFill>
                <a:ln w="9525">
                  <a:solidFill>
                    <a:schemeClr val="bg1"/>
                  </a:solidFill>
                  <a:round/>
                  <a:headEnd/>
                  <a:tailEnd/>
                </a:ln>
              </p:spPr>
              <p:txBody>
                <a:bodyPr/>
                <a:lstStyle/>
                <a:p>
                  <a:endParaRPr lang="el-GR"/>
                </a:p>
              </p:txBody>
            </p:sp>
            <p:sp>
              <p:nvSpPr>
                <p:cNvPr id="83168" name="Freeform 455">
                  <a:extLst>
                    <a:ext uri="{FF2B5EF4-FFF2-40B4-BE49-F238E27FC236}">
                      <a16:creationId xmlns:a16="http://schemas.microsoft.com/office/drawing/2014/main" id="{D4A9132B-1280-4B21-A84B-AFBE74D27335}"/>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solidFill>
                  <a:srgbClr val="92D050"/>
                </a:solidFill>
                <a:ln w="9525">
                  <a:solidFill>
                    <a:schemeClr val="bg1"/>
                  </a:solidFill>
                  <a:round/>
                  <a:headEnd/>
                  <a:tailEnd/>
                </a:ln>
              </p:spPr>
              <p:txBody>
                <a:bodyPr/>
                <a:lstStyle/>
                <a:p>
                  <a:endParaRPr lang="el-GR"/>
                </a:p>
              </p:txBody>
            </p:sp>
          </p:grpSp>
          <p:sp>
            <p:nvSpPr>
              <p:cNvPr id="194" name="Freeform 458">
                <a:extLst>
                  <a:ext uri="{FF2B5EF4-FFF2-40B4-BE49-F238E27FC236}">
                    <a16:creationId xmlns:a16="http://schemas.microsoft.com/office/drawing/2014/main" id="{1D0AA899-DBC2-49D2-96CB-3573A0D15BBC}"/>
                  </a:ext>
                </a:extLst>
              </p:cNvPr>
              <p:cNvSpPr>
                <a:spLocks/>
              </p:cNvSpPr>
              <p:nvPr/>
            </p:nvSpPr>
            <p:spPr bwMode="auto">
              <a:xfrm>
                <a:off x="5275110" y="3709336"/>
                <a:ext cx="74009" cy="44516"/>
              </a:xfrm>
              <a:custGeom>
                <a:avLst/>
                <a:gdLst>
                  <a:gd name="T0" fmla="*/ 0 w 46"/>
                  <a:gd name="T1" fmla="*/ 2147483646 h 28"/>
                  <a:gd name="T2" fmla="*/ 2147483646 w 46"/>
                  <a:gd name="T3" fmla="*/ 2147483646 h 28"/>
                  <a:gd name="T4" fmla="*/ 2147483646 w 46"/>
                  <a:gd name="T5" fmla="*/ 2147483646 h 28"/>
                  <a:gd name="T6" fmla="*/ 2147483646 w 46"/>
                  <a:gd name="T7" fmla="*/ 2147483646 h 28"/>
                  <a:gd name="T8" fmla="*/ 2147483646 w 46"/>
                  <a:gd name="T9" fmla="*/ 2147483646 h 28"/>
                  <a:gd name="T10" fmla="*/ 2147483646 w 46"/>
                  <a:gd name="T11" fmla="*/ 0 h 28"/>
                  <a:gd name="T12" fmla="*/ 2147483646 w 46"/>
                  <a:gd name="T13" fmla="*/ 2147483646 h 28"/>
                  <a:gd name="T14" fmla="*/ 2147483646 w 46"/>
                  <a:gd name="T15" fmla="*/ 2147483646 h 28"/>
                  <a:gd name="T16" fmla="*/ 2147483646 w 46"/>
                  <a:gd name="T17" fmla="*/ 2147483646 h 28"/>
                  <a:gd name="T18" fmla="*/ 2147483646 w 46"/>
                  <a:gd name="T19" fmla="*/ 2147483646 h 28"/>
                  <a:gd name="T20" fmla="*/ 2147483646 w 46"/>
                  <a:gd name="T21" fmla="*/ 2147483646 h 28"/>
                  <a:gd name="T22" fmla="*/ 2147483646 w 46"/>
                  <a:gd name="T23" fmla="*/ 2147483646 h 28"/>
                  <a:gd name="T24" fmla="*/ 2147483646 w 46"/>
                  <a:gd name="T25" fmla="*/ 2147483646 h 28"/>
                  <a:gd name="T26" fmla="*/ 2147483646 w 46"/>
                  <a:gd name="T27" fmla="*/ 2147483646 h 28"/>
                  <a:gd name="T28" fmla="*/ 0 w 46"/>
                  <a:gd name="T29" fmla="*/ 2147483646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95" name="Freeform 507">
                <a:extLst>
                  <a:ext uri="{FF2B5EF4-FFF2-40B4-BE49-F238E27FC236}">
                    <a16:creationId xmlns:a16="http://schemas.microsoft.com/office/drawing/2014/main" id="{CCC55252-78D6-42C7-BA8C-2CBB1AB22B06}"/>
                  </a:ext>
                </a:extLst>
              </p:cNvPr>
              <p:cNvSpPr>
                <a:spLocks/>
              </p:cNvSpPr>
              <p:nvPr/>
            </p:nvSpPr>
            <p:spPr bwMode="auto">
              <a:xfrm>
                <a:off x="6333095" y="3102132"/>
                <a:ext cx="1508765" cy="1047026"/>
              </a:xfrm>
              <a:custGeom>
                <a:avLst/>
                <a:gdLst>
                  <a:gd name="T0" fmla="*/ 2147483646 w 950"/>
                  <a:gd name="T1" fmla="*/ 2147483646 h 660"/>
                  <a:gd name="T2" fmla="*/ 2147483646 w 950"/>
                  <a:gd name="T3" fmla="*/ 2147483646 h 660"/>
                  <a:gd name="T4" fmla="*/ 2147483646 w 950"/>
                  <a:gd name="T5" fmla="*/ 2147483646 h 660"/>
                  <a:gd name="T6" fmla="*/ 2147483646 w 950"/>
                  <a:gd name="T7" fmla="*/ 2147483646 h 660"/>
                  <a:gd name="T8" fmla="*/ 2147483646 w 950"/>
                  <a:gd name="T9" fmla="*/ 2147483646 h 660"/>
                  <a:gd name="T10" fmla="*/ 2147483646 w 950"/>
                  <a:gd name="T11" fmla="*/ 2147483646 h 660"/>
                  <a:gd name="T12" fmla="*/ 2147483646 w 950"/>
                  <a:gd name="T13" fmla="*/ 2147483646 h 660"/>
                  <a:gd name="T14" fmla="*/ 2147483646 w 950"/>
                  <a:gd name="T15" fmla="*/ 2147483646 h 660"/>
                  <a:gd name="T16" fmla="*/ 2147483646 w 950"/>
                  <a:gd name="T17" fmla="*/ 2147483646 h 660"/>
                  <a:gd name="T18" fmla="*/ 2147483646 w 950"/>
                  <a:gd name="T19" fmla="*/ 2147483646 h 660"/>
                  <a:gd name="T20" fmla="*/ 2147483646 w 950"/>
                  <a:gd name="T21" fmla="*/ 2147483646 h 660"/>
                  <a:gd name="T22" fmla="*/ 2147483646 w 950"/>
                  <a:gd name="T23" fmla="*/ 2147483646 h 660"/>
                  <a:gd name="T24" fmla="*/ 2147483646 w 950"/>
                  <a:gd name="T25" fmla="*/ 2147483646 h 660"/>
                  <a:gd name="T26" fmla="*/ 2147483646 w 950"/>
                  <a:gd name="T27" fmla="*/ 2147483646 h 660"/>
                  <a:gd name="T28" fmla="*/ 2147483646 w 950"/>
                  <a:gd name="T29" fmla="*/ 2147483646 h 660"/>
                  <a:gd name="T30" fmla="*/ 2147483646 w 950"/>
                  <a:gd name="T31" fmla="*/ 2147483646 h 660"/>
                  <a:gd name="T32" fmla="*/ 2147483646 w 950"/>
                  <a:gd name="T33" fmla="*/ 2147483646 h 660"/>
                  <a:gd name="T34" fmla="*/ 2147483646 w 950"/>
                  <a:gd name="T35" fmla="*/ 2147483646 h 660"/>
                  <a:gd name="T36" fmla="*/ 2147483646 w 950"/>
                  <a:gd name="T37" fmla="*/ 2147483646 h 660"/>
                  <a:gd name="T38" fmla="*/ 2147483646 w 950"/>
                  <a:gd name="T39" fmla="*/ 2147483646 h 660"/>
                  <a:gd name="T40" fmla="*/ 2147483646 w 950"/>
                  <a:gd name="T41" fmla="*/ 2147483646 h 660"/>
                  <a:gd name="T42" fmla="*/ 2147483646 w 950"/>
                  <a:gd name="T43" fmla="*/ 2147483646 h 660"/>
                  <a:gd name="T44" fmla="*/ 2147483646 w 950"/>
                  <a:gd name="T45" fmla="*/ 2147483646 h 660"/>
                  <a:gd name="T46" fmla="*/ 2147483646 w 950"/>
                  <a:gd name="T47" fmla="*/ 2147483646 h 660"/>
                  <a:gd name="T48" fmla="*/ 2147483646 w 950"/>
                  <a:gd name="T49" fmla="*/ 2147483646 h 660"/>
                  <a:gd name="T50" fmla="*/ 2147483646 w 950"/>
                  <a:gd name="T51" fmla="*/ 2147483646 h 660"/>
                  <a:gd name="T52" fmla="*/ 2147483646 w 950"/>
                  <a:gd name="T53" fmla="*/ 2147483646 h 660"/>
                  <a:gd name="T54" fmla="*/ 2147483646 w 950"/>
                  <a:gd name="T55" fmla="*/ 2147483646 h 660"/>
                  <a:gd name="T56" fmla="*/ 2147483646 w 950"/>
                  <a:gd name="T57" fmla="*/ 2147483646 h 660"/>
                  <a:gd name="T58" fmla="*/ 2147483646 w 950"/>
                  <a:gd name="T59" fmla="*/ 2147483646 h 660"/>
                  <a:gd name="T60" fmla="*/ 2147483646 w 950"/>
                  <a:gd name="T61" fmla="*/ 2147483646 h 660"/>
                  <a:gd name="T62" fmla="*/ 2147483646 w 950"/>
                  <a:gd name="T63" fmla="*/ 2147483646 h 660"/>
                  <a:gd name="T64" fmla="*/ 2147483646 w 950"/>
                  <a:gd name="T65" fmla="*/ 2147483646 h 660"/>
                  <a:gd name="T66" fmla="*/ 2147483646 w 950"/>
                  <a:gd name="T67" fmla="*/ 2147483646 h 660"/>
                  <a:gd name="T68" fmla="*/ 2147483646 w 950"/>
                  <a:gd name="T69" fmla="*/ 2147483646 h 660"/>
                  <a:gd name="T70" fmla="*/ 2147483646 w 950"/>
                  <a:gd name="T71" fmla="*/ 2147483646 h 660"/>
                  <a:gd name="T72" fmla="*/ 2147483646 w 950"/>
                  <a:gd name="T73" fmla="*/ 2147483646 h 660"/>
                  <a:gd name="T74" fmla="*/ 2147483646 w 950"/>
                  <a:gd name="T75" fmla="*/ 2147483646 h 660"/>
                  <a:gd name="T76" fmla="*/ 2147483646 w 950"/>
                  <a:gd name="T77" fmla="*/ 2147483646 h 660"/>
                  <a:gd name="T78" fmla="*/ 2147483646 w 950"/>
                  <a:gd name="T79" fmla="*/ 2147483646 h 660"/>
                  <a:gd name="T80" fmla="*/ 2147483646 w 950"/>
                  <a:gd name="T81" fmla="*/ 2147483646 h 660"/>
                  <a:gd name="T82" fmla="*/ 2147483646 w 950"/>
                  <a:gd name="T83" fmla="*/ 2147483646 h 660"/>
                  <a:gd name="T84" fmla="*/ 2147483646 w 950"/>
                  <a:gd name="T85" fmla="*/ 2147483646 h 660"/>
                  <a:gd name="T86" fmla="*/ 2147483646 w 950"/>
                  <a:gd name="T87" fmla="*/ 2147483646 h 660"/>
                  <a:gd name="T88" fmla="*/ 2147483646 w 950"/>
                  <a:gd name="T89" fmla="*/ 2147483646 h 660"/>
                  <a:gd name="T90" fmla="*/ 2147483646 w 950"/>
                  <a:gd name="T91" fmla="*/ 2147483646 h 660"/>
                  <a:gd name="T92" fmla="*/ 2147483646 w 950"/>
                  <a:gd name="T93" fmla="*/ 2147483646 h 660"/>
                  <a:gd name="T94" fmla="*/ 2147483646 w 950"/>
                  <a:gd name="T95" fmla="*/ 2147483646 h 660"/>
                  <a:gd name="T96" fmla="*/ 2147483646 w 950"/>
                  <a:gd name="T97" fmla="*/ 2147483646 h 660"/>
                  <a:gd name="T98" fmla="*/ 2147483646 w 950"/>
                  <a:gd name="T99" fmla="*/ 2147483646 h 660"/>
                  <a:gd name="T100" fmla="*/ 2147483646 w 950"/>
                  <a:gd name="T101" fmla="*/ 2147483646 h 660"/>
                  <a:gd name="T102" fmla="*/ 2147483646 w 950"/>
                  <a:gd name="T103" fmla="*/ 2147483646 h 660"/>
                  <a:gd name="T104" fmla="*/ 2147483646 w 950"/>
                  <a:gd name="T105" fmla="*/ 2147483646 h 660"/>
                  <a:gd name="T106" fmla="*/ 2147483646 w 950"/>
                  <a:gd name="T107" fmla="*/ 2147483646 h 660"/>
                  <a:gd name="T108" fmla="*/ 2147483646 w 950"/>
                  <a:gd name="T109" fmla="*/ 2147483646 h 660"/>
                  <a:gd name="T110" fmla="*/ 2147483646 w 950"/>
                  <a:gd name="T111" fmla="*/ 2147483646 h 660"/>
                  <a:gd name="T112" fmla="*/ 2147483646 w 950"/>
                  <a:gd name="T113" fmla="*/ 2147483646 h 660"/>
                  <a:gd name="T114" fmla="*/ 2147483646 w 950"/>
                  <a:gd name="T115" fmla="*/ 2147483646 h 660"/>
                  <a:gd name="T116" fmla="*/ 2147483646 w 950"/>
                  <a:gd name="T117" fmla="*/ 2147483646 h 660"/>
                  <a:gd name="T118" fmla="*/ 2147483646 w 950"/>
                  <a:gd name="T119" fmla="*/ 2147483646 h 660"/>
                  <a:gd name="T120" fmla="*/ 2147483646 w 950"/>
                  <a:gd name="T121" fmla="*/ 2147483646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196" name="Freeform 260">
                <a:extLst>
                  <a:ext uri="{FF2B5EF4-FFF2-40B4-BE49-F238E27FC236}">
                    <a16:creationId xmlns:a16="http://schemas.microsoft.com/office/drawing/2014/main" id="{5282E2CA-9273-4A86-9C30-9DA430142158}"/>
                  </a:ext>
                </a:extLst>
              </p:cNvPr>
              <p:cNvSpPr>
                <a:spLocks/>
              </p:cNvSpPr>
              <p:nvPr/>
            </p:nvSpPr>
            <p:spPr bwMode="auto">
              <a:xfrm>
                <a:off x="6386919" y="4663768"/>
                <a:ext cx="57188" cy="69445"/>
              </a:xfrm>
              <a:custGeom>
                <a:avLst/>
                <a:gdLst>
                  <a:gd name="T0" fmla="*/ 2147483646 w 42"/>
                  <a:gd name="T1" fmla="*/ 0 h 54"/>
                  <a:gd name="T2" fmla="*/ 0 w 42"/>
                  <a:gd name="T3" fmla="*/ 2147483646 h 54"/>
                  <a:gd name="T4" fmla="*/ 2147483646 w 42"/>
                  <a:gd name="T5" fmla="*/ 2147483646 h 54"/>
                  <a:gd name="T6" fmla="*/ 2147483646 w 42"/>
                  <a:gd name="T7" fmla="*/ 2147483646 h 54"/>
                  <a:gd name="T8" fmla="*/ 2147483646 w 42"/>
                  <a:gd name="T9" fmla="*/ 2147483646 h 54"/>
                  <a:gd name="T10" fmla="*/ 2147483646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28" name="Freeform 261">
                <a:extLst>
                  <a:ext uri="{FF2B5EF4-FFF2-40B4-BE49-F238E27FC236}">
                    <a16:creationId xmlns:a16="http://schemas.microsoft.com/office/drawing/2014/main" id="{2A1CA111-7347-4EAB-A0E6-553622F2DB8F}"/>
                  </a:ext>
                </a:extLst>
              </p:cNvPr>
              <p:cNvSpPr>
                <a:spLocks/>
              </p:cNvSpPr>
              <p:nvPr/>
            </p:nvSpPr>
            <p:spPr bwMode="auto">
              <a:xfrm>
                <a:off x="7205663" y="4143375"/>
                <a:ext cx="53975" cy="53975"/>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solidFill>
                <a:srgbClr val="FF0000"/>
              </a:solidFill>
              <a:ln w="9525">
                <a:solidFill>
                  <a:schemeClr val="bg1"/>
                </a:solidFill>
                <a:round/>
                <a:headEnd/>
                <a:tailEnd/>
              </a:ln>
            </p:spPr>
            <p:txBody>
              <a:bodyPr/>
              <a:lstStyle/>
              <a:p>
                <a:endParaRPr lang="el-GR"/>
              </a:p>
            </p:txBody>
          </p:sp>
          <p:sp>
            <p:nvSpPr>
              <p:cNvPr id="83129" name="Freeform 262">
                <a:extLst>
                  <a:ext uri="{FF2B5EF4-FFF2-40B4-BE49-F238E27FC236}">
                    <a16:creationId xmlns:a16="http://schemas.microsoft.com/office/drawing/2014/main" id="{9CC710AF-5607-4C02-8861-009AC7C98128}"/>
                  </a:ext>
                </a:extLst>
              </p:cNvPr>
              <p:cNvSpPr>
                <a:spLocks/>
              </p:cNvSpPr>
              <p:nvPr/>
            </p:nvSpPr>
            <p:spPr bwMode="auto">
              <a:xfrm>
                <a:off x="7496175" y="4010025"/>
                <a:ext cx="31750" cy="93663"/>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solidFill>
                <a:srgbClr val="FF0000"/>
              </a:solidFill>
              <a:ln w="9525">
                <a:solidFill>
                  <a:schemeClr val="bg1"/>
                </a:solidFill>
                <a:round/>
                <a:headEnd/>
                <a:tailEnd/>
              </a:ln>
            </p:spPr>
            <p:txBody>
              <a:bodyPr/>
              <a:lstStyle/>
              <a:p>
                <a:endParaRPr lang="el-GR"/>
              </a:p>
            </p:txBody>
          </p:sp>
          <p:sp>
            <p:nvSpPr>
              <p:cNvPr id="199" name="Freeform 263">
                <a:extLst>
                  <a:ext uri="{FF2B5EF4-FFF2-40B4-BE49-F238E27FC236}">
                    <a16:creationId xmlns:a16="http://schemas.microsoft.com/office/drawing/2014/main" id="{C91F4A7B-2A56-4E79-8BEF-AF474405AA3E}"/>
                  </a:ext>
                </a:extLst>
              </p:cNvPr>
              <p:cNvSpPr>
                <a:spLocks/>
              </p:cNvSpPr>
              <p:nvPr/>
            </p:nvSpPr>
            <p:spPr bwMode="auto">
              <a:xfrm>
                <a:off x="7730847" y="3766317"/>
                <a:ext cx="47096" cy="71226"/>
              </a:xfrm>
              <a:custGeom>
                <a:avLst/>
                <a:gdLst>
                  <a:gd name="T0" fmla="*/ 0 w 36"/>
                  <a:gd name="T1" fmla="*/ 2147483646 h 54"/>
                  <a:gd name="T2" fmla="*/ 2147483646 w 36"/>
                  <a:gd name="T3" fmla="*/ 2147483646 h 54"/>
                  <a:gd name="T4" fmla="*/ 2147483646 w 36"/>
                  <a:gd name="T5" fmla="*/ 2147483646 h 54"/>
                  <a:gd name="T6" fmla="*/ 2147483646 w 36"/>
                  <a:gd name="T7" fmla="*/ 2147483646 h 54"/>
                  <a:gd name="T8" fmla="*/ 2147483646 w 36"/>
                  <a:gd name="T9" fmla="*/ 2147483646 h 54"/>
                  <a:gd name="T10" fmla="*/ 2147483646 w 36"/>
                  <a:gd name="T11" fmla="*/ 0 h 54"/>
                  <a:gd name="T12" fmla="*/ 0 w 36"/>
                  <a:gd name="T13" fmla="*/ 2147483646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00" name="Freeform 264">
                <a:extLst>
                  <a:ext uri="{FF2B5EF4-FFF2-40B4-BE49-F238E27FC236}">
                    <a16:creationId xmlns:a16="http://schemas.microsoft.com/office/drawing/2014/main" id="{C2A7A6E1-F3A1-4BD3-8D16-F3D661A4B827}"/>
                  </a:ext>
                </a:extLst>
              </p:cNvPr>
              <p:cNvSpPr>
                <a:spLocks/>
              </p:cNvSpPr>
              <p:nvPr/>
            </p:nvSpPr>
            <p:spPr bwMode="auto">
              <a:xfrm>
                <a:off x="7786353" y="3408405"/>
                <a:ext cx="344813" cy="373938"/>
              </a:xfrm>
              <a:custGeom>
                <a:avLst/>
                <a:gdLst>
                  <a:gd name="T0" fmla="*/ 2147483646 w 264"/>
                  <a:gd name="T1" fmla="*/ 2147483646 h 289"/>
                  <a:gd name="T2" fmla="*/ 2147483646 w 264"/>
                  <a:gd name="T3" fmla="*/ 2147483646 h 289"/>
                  <a:gd name="T4" fmla="*/ 2147483646 w 264"/>
                  <a:gd name="T5" fmla="*/ 2147483646 h 289"/>
                  <a:gd name="T6" fmla="*/ 2147483646 w 264"/>
                  <a:gd name="T7" fmla="*/ 2147483646 h 289"/>
                  <a:gd name="T8" fmla="*/ 2147483646 w 264"/>
                  <a:gd name="T9" fmla="*/ 2147483646 h 289"/>
                  <a:gd name="T10" fmla="*/ 2147483646 w 264"/>
                  <a:gd name="T11" fmla="*/ 2147483646 h 289"/>
                  <a:gd name="T12" fmla="*/ 2147483646 w 264"/>
                  <a:gd name="T13" fmla="*/ 2147483646 h 289"/>
                  <a:gd name="T14" fmla="*/ 2147483646 w 264"/>
                  <a:gd name="T15" fmla="*/ 2147483646 h 289"/>
                  <a:gd name="T16" fmla="*/ 2147483646 w 264"/>
                  <a:gd name="T17" fmla="*/ 2147483646 h 289"/>
                  <a:gd name="T18" fmla="*/ 2147483646 w 264"/>
                  <a:gd name="T19" fmla="*/ 2147483646 h 289"/>
                  <a:gd name="T20" fmla="*/ 2147483646 w 264"/>
                  <a:gd name="T21" fmla="*/ 0 h 289"/>
                  <a:gd name="T22" fmla="*/ 2147483646 w 264"/>
                  <a:gd name="T23" fmla="*/ 2147483646 h 289"/>
                  <a:gd name="T24" fmla="*/ 2147483646 w 264"/>
                  <a:gd name="T25" fmla="*/ 2147483646 h 289"/>
                  <a:gd name="T26" fmla="*/ 2147483646 w 264"/>
                  <a:gd name="T27" fmla="*/ 2147483646 h 289"/>
                  <a:gd name="T28" fmla="*/ 2147483646 w 264"/>
                  <a:gd name="T29" fmla="*/ 2147483646 h 289"/>
                  <a:gd name="T30" fmla="*/ 2147483646 w 264"/>
                  <a:gd name="T31" fmla="*/ 2147483646 h 289"/>
                  <a:gd name="T32" fmla="*/ 2147483646 w 264"/>
                  <a:gd name="T33" fmla="*/ 2147483646 h 289"/>
                  <a:gd name="T34" fmla="*/ 2147483646 w 264"/>
                  <a:gd name="T35" fmla="*/ 2147483646 h 289"/>
                  <a:gd name="T36" fmla="*/ 2147483646 w 264"/>
                  <a:gd name="T37" fmla="*/ 2147483646 h 289"/>
                  <a:gd name="T38" fmla="*/ 2147483646 w 264"/>
                  <a:gd name="T39" fmla="*/ 2147483646 h 289"/>
                  <a:gd name="T40" fmla="*/ 2147483646 w 264"/>
                  <a:gd name="T41" fmla="*/ 2147483646 h 289"/>
                  <a:gd name="T42" fmla="*/ 2147483646 w 264"/>
                  <a:gd name="T43" fmla="*/ 2147483646 h 289"/>
                  <a:gd name="T44" fmla="*/ 2147483646 w 264"/>
                  <a:gd name="T45" fmla="*/ 2147483646 h 289"/>
                  <a:gd name="T46" fmla="*/ 2147483646 w 264"/>
                  <a:gd name="T47" fmla="*/ 2147483646 h 289"/>
                  <a:gd name="T48" fmla="*/ 2147483646 w 264"/>
                  <a:gd name="T49" fmla="*/ 2147483646 h 289"/>
                  <a:gd name="T50" fmla="*/ 2147483646 w 264"/>
                  <a:gd name="T51" fmla="*/ 2147483646 h 289"/>
                  <a:gd name="T52" fmla="*/ 2147483646 w 264"/>
                  <a:gd name="T53" fmla="*/ 2147483646 h 289"/>
                  <a:gd name="T54" fmla="*/ 2147483646 w 264"/>
                  <a:gd name="T55" fmla="*/ 2147483646 h 289"/>
                  <a:gd name="T56" fmla="*/ 2147483646 w 264"/>
                  <a:gd name="T57" fmla="*/ 2147483646 h 289"/>
                  <a:gd name="T58" fmla="*/ 2147483646 w 264"/>
                  <a:gd name="T59" fmla="*/ 2147483646 h 289"/>
                  <a:gd name="T60" fmla="*/ 2147483646 w 264"/>
                  <a:gd name="T61" fmla="*/ 2147483646 h 289"/>
                  <a:gd name="T62" fmla="*/ 2147483646 w 264"/>
                  <a:gd name="T63" fmla="*/ 2147483646 h 289"/>
                  <a:gd name="T64" fmla="*/ 2147483646 w 264"/>
                  <a:gd name="T65" fmla="*/ 2147483646 h 289"/>
                  <a:gd name="T66" fmla="*/ 0 w 264"/>
                  <a:gd name="T67" fmla="*/ 2147483646 h 289"/>
                  <a:gd name="T68" fmla="*/ 2147483646 w 264"/>
                  <a:gd name="T69" fmla="*/ 2147483646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01" name="Freeform 265">
                <a:extLst>
                  <a:ext uri="{FF2B5EF4-FFF2-40B4-BE49-F238E27FC236}">
                    <a16:creationId xmlns:a16="http://schemas.microsoft.com/office/drawing/2014/main" id="{EA9A56FE-5538-4CD5-9FB9-F26EBEF37783}"/>
                  </a:ext>
                </a:extLst>
              </p:cNvPr>
              <p:cNvSpPr>
                <a:spLocks/>
              </p:cNvSpPr>
              <p:nvPr/>
            </p:nvSpPr>
            <p:spPr bwMode="auto">
              <a:xfrm>
                <a:off x="8030245" y="3064739"/>
                <a:ext cx="60552" cy="306273"/>
              </a:xfrm>
              <a:custGeom>
                <a:avLst/>
                <a:gdLst>
                  <a:gd name="T0" fmla="*/ 2147483646 w 48"/>
                  <a:gd name="T1" fmla="*/ 2147483646 h 234"/>
                  <a:gd name="T2" fmla="*/ 2147483646 w 48"/>
                  <a:gd name="T3" fmla="*/ 2147483646 h 234"/>
                  <a:gd name="T4" fmla="*/ 2147483646 w 48"/>
                  <a:gd name="T5" fmla="*/ 2147483646 h 234"/>
                  <a:gd name="T6" fmla="*/ 0 w 48"/>
                  <a:gd name="T7" fmla="*/ 2147483646 h 234"/>
                  <a:gd name="T8" fmla="*/ 2147483646 w 48"/>
                  <a:gd name="T9" fmla="*/ 2147483646 h 234"/>
                  <a:gd name="T10" fmla="*/ 2147483646 w 48"/>
                  <a:gd name="T11" fmla="*/ 0 h 234"/>
                  <a:gd name="T12" fmla="*/ 2147483646 w 48"/>
                  <a:gd name="T13" fmla="*/ 2147483646 h 234"/>
                  <a:gd name="T14" fmla="*/ 2147483646 w 48"/>
                  <a:gd name="T15" fmla="*/ 2147483646 h 234"/>
                  <a:gd name="T16" fmla="*/ 2147483646 w 48"/>
                  <a:gd name="T17" fmla="*/ 2147483646 h 234"/>
                  <a:gd name="T18" fmla="*/ 2147483646 w 48"/>
                  <a:gd name="T19" fmla="*/ 2147483646 h 234"/>
                  <a:gd name="T20" fmla="*/ 2147483646 w 48"/>
                  <a:gd name="T21" fmla="*/ 2147483646 h 234"/>
                  <a:gd name="T22" fmla="*/ 2147483646 w 48"/>
                  <a:gd name="T23" fmla="*/ 2147483646 h 234"/>
                  <a:gd name="T24" fmla="*/ 2147483646 w 48"/>
                  <a:gd name="T25" fmla="*/ 2147483646 h 234"/>
                  <a:gd name="T26" fmla="*/ 2147483646 w 48"/>
                  <a:gd name="T27" fmla="*/ 2147483646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33" name="Freeform 272">
                <a:extLst>
                  <a:ext uri="{FF2B5EF4-FFF2-40B4-BE49-F238E27FC236}">
                    <a16:creationId xmlns:a16="http://schemas.microsoft.com/office/drawing/2014/main" id="{A663B6BD-0FE1-47E8-B1FB-7A049CF35B9A}"/>
                  </a:ext>
                </a:extLst>
              </p:cNvPr>
              <p:cNvSpPr>
                <a:spLocks/>
              </p:cNvSpPr>
              <p:nvPr/>
            </p:nvSpPr>
            <p:spPr bwMode="auto">
              <a:xfrm>
                <a:off x="7478713" y="4189413"/>
                <a:ext cx="141287" cy="195262"/>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solidFill>
                <a:srgbClr val="FF0000"/>
              </a:solidFill>
              <a:ln w="9525">
                <a:solidFill>
                  <a:schemeClr val="bg1"/>
                </a:solidFill>
                <a:round/>
                <a:headEnd/>
                <a:tailEnd/>
              </a:ln>
            </p:spPr>
            <p:txBody>
              <a:bodyPr/>
              <a:lstStyle/>
              <a:p>
                <a:endParaRPr lang="el-GR"/>
              </a:p>
            </p:txBody>
          </p:sp>
          <p:sp>
            <p:nvSpPr>
              <p:cNvPr id="83134" name="Freeform 273">
                <a:extLst>
                  <a:ext uri="{FF2B5EF4-FFF2-40B4-BE49-F238E27FC236}">
                    <a16:creationId xmlns:a16="http://schemas.microsoft.com/office/drawing/2014/main" id="{4BE27505-7A29-4AF7-890A-3281E186A8BB}"/>
                  </a:ext>
                </a:extLst>
              </p:cNvPr>
              <p:cNvSpPr>
                <a:spLocks/>
              </p:cNvSpPr>
              <p:nvPr/>
            </p:nvSpPr>
            <p:spPr bwMode="auto">
              <a:xfrm>
                <a:off x="7535863" y="4416425"/>
                <a:ext cx="115887" cy="92075"/>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solidFill>
                <a:srgbClr val="FF0000"/>
              </a:solidFill>
              <a:ln w="9525">
                <a:solidFill>
                  <a:schemeClr val="bg1"/>
                </a:solidFill>
                <a:round/>
                <a:headEnd/>
                <a:tailEnd/>
              </a:ln>
            </p:spPr>
            <p:txBody>
              <a:bodyPr/>
              <a:lstStyle/>
              <a:p>
                <a:endParaRPr lang="el-GR"/>
              </a:p>
            </p:txBody>
          </p:sp>
          <p:sp>
            <p:nvSpPr>
              <p:cNvPr id="83135" name="Freeform 333">
                <a:extLst>
                  <a:ext uri="{FF2B5EF4-FFF2-40B4-BE49-F238E27FC236}">
                    <a16:creationId xmlns:a16="http://schemas.microsoft.com/office/drawing/2014/main" id="{801CD747-AC1C-411A-BF71-726179F1E680}"/>
                  </a:ext>
                </a:extLst>
              </p:cNvPr>
              <p:cNvSpPr>
                <a:spLocks/>
              </p:cNvSpPr>
              <p:nvPr/>
            </p:nvSpPr>
            <p:spPr bwMode="auto">
              <a:xfrm>
                <a:off x="6692900" y="3148536"/>
                <a:ext cx="777875" cy="390525"/>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rgbClr val="FF0000"/>
              </a:solidFill>
              <a:ln w="9525">
                <a:solidFill>
                  <a:schemeClr val="bg1"/>
                </a:solidFill>
                <a:round/>
                <a:headEnd/>
                <a:tailEnd/>
              </a:ln>
            </p:spPr>
            <p:txBody>
              <a:bodyPr/>
              <a:lstStyle/>
              <a:p>
                <a:endParaRPr lang="el-GR"/>
              </a:p>
            </p:txBody>
          </p:sp>
          <p:sp>
            <p:nvSpPr>
              <p:cNvPr id="83136" name="Line 449">
                <a:extLst>
                  <a:ext uri="{FF2B5EF4-FFF2-40B4-BE49-F238E27FC236}">
                    <a16:creationId xmlns:a16="http://schemas.microsoft.com/office/drawing/2014/main" id="{4192CCA7-F5E0-4853-941B-77B07D83250C}"/>
                  </a:ext>
                </a:extLst>
              </p:cNvPr>
              <p:cNvSpPr>
                <a:spLocks noChangeShapeType="1"/>
              </p:cNvSpPr>
              <p:nvPr/>
            </p:nvSpPr>
            <p:spPr bwMode="auto">
              <a:xfrm>
                <a:off x="7440613" y="4206875"/>
                <a:ext cx="0" cy="0"/>
              </a:xfrm>
              <a:prstGeom prst="line">
                <a:avLst/>
              </a:prstGeom>
              <a:noFill/>
              <a:ln w="9525">
                <a:solidFill>
                  <a:schemeClr val="bg1"/>
                </a:solidFill>
                <a:round/>
                <a:headEnd/>
                <a:tailEnd/>
              </a:ln>
            </p:spPr>
            <p:txBody>
              <a:bodyPr/>
              <a:lstStyle/>
              <a:p>
                <a:endParaRPr lang="el-GR"/>
              </a:p>
            </p:txBody>
          </p:sp>
          <p:sp>
            <p:nvSpPr>
              <p:cNvPr id="83137" name="Freeform 506">
                <a:extLst>
                  <a:ext uri="{FF2B5EF4-FFF2-40B4-BE49-F238E27FC236}">
                    <a16:creationId xmlns:a16="http://schemas.microsoft.com/office/drawing/2014/main" id="{937246A1-FD7B-42D2-BBBB-8B93BB7A5BC6}"/>
                  </a:ext>
                </a:extLst>
              </p:cNvPr>
              <p:cNvSpPr>
                <a:spLocks/>
              </p:cNvSpPr>
              <p:nvPr/>
            </p:nvSpPr>
            <p:spPr bwMode="auto">
              <a:xfrm>
                <a:off x="7589838" y="3492500"/>
                <a:ext cx="123825" cy="155575"/>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rgbClr val="FF0000"/>
              </a:solidFill>
              <a:ln w="9525">
                <a:solidFill>
                  <a:schemeClr val="bg1"/>
                </a:solidFill>
                <a:round/>
                <a:headEnd/>
                <a:tailEnd/>
              </a:ln>
            </p:spPr>
            <p:txBody>
              <a:bodyPr/>
              <a:lstStyle/>
              <a:p>
                <a:endParaRPr lang="el-GR"/>
              </a:p>
            </p:txBody>
          </p:sp>
          <p:sp>
            <p:nvSpPr>
              <p:cNvPr id="83138" name="Freeform 517">
                <a:extLst>
                  <a:ext uri="{FF2B5EF4-FFF2-40B4-BE49-F238E27FC236}">
                    <a16:creationId xmlns:a16="http://schemas.microsoft.com/office/drawing/2014/main" id="{3F121212-EC1C-467A-8555-2484F236D507}"/>
                  </a:ext>
                </a:extLst>
              </p:cNvPr>
              <p:cNvSpPr>
                <a:spLocks/>
              </p:cNvSpPr>
              <p:nvPr/>
            </p:nvSpPr>
            <p:spPr bwMode="auto">
              <a:xfrm>
                <a:off x="7637463" y="3632200"/>
                <a:ext cx="85725" cy="104775"/>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solidFill>
                <a:srgbClr val="FF0000"/>
              </a:solidFill>
              <a:ln w="9525">
                <a:solidFill>
                  <a:schemeClr val="bg1"/>
                </a:solidFill>
                <a:round/>
                <a:headEnd/>
                <a:tailEnd/>
              </a:ln>
            </p:spPr>
            <p:txBody>
              <a:bodyPr/>
              <a:lstStyle/>
              <a:p>
                <a:endParaRPr lang="el-GR"/>
              </a:p>
            </p:txBody>
          </p:sp>
          <p:sp>
            <p:nvSpPr>
              <p:cNvPr id="83139" name="Freeform 411">
                <a:extLst>
                  <a:ext uri="{FF2B5EF4-FFF2-40B4-BE49-F238E27FC236}">
                    <a16:creationId xmlns:a16="http://schemas.microsoft.com/office/drawing/2014/main" id="{6965C865-6148-42F6-8251-AC1686DB0BAB}"/>
                  </a:ext>
                </a:extLst>
              </p:cNvPr>
              <p:cNvSpPr>
                <a:spLocks/>
              </p:cNvSpPr>
              <p:nvPr/>
            </p:nvSpPr>
            <p:spPr bwMode="auto">
              <a:xfrm>
                <a:off x="2919413" y="5365750"/>
                <a:ext cx="127000" cy="166688"/>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rgbClr val="92D050"/>
              </a:solidFill>
              <a:ln w="9525">
                <a:solidFill>
                  <a:schemeClr val="bg1"/>
                </a:solidFill>
                <a:round/>
                <a:headEnd/>
                <a:tailEnd/>
              </a:ln>
            </p:spPr>
            <p:txBody>
              <a:bodyPr/>
              <a:lstStyle/>
              <a:p>
                <a:endParaRPr lang="el-GR"/>
              </a:p>
            </p:txBody>
          </p:sp>
          <p:sp>
            <p:nvSpPr>
              <p:cNvPr id="83140" name="Freeform 420">
                <a:extLst>
                  <a:ext uri="{FF2B5EF4-FFF2-40B4-BE49-F238E27FC236}">
                    <a16:creationId xmlns:a16="http://schemas.microsoft.com/office/drawing/2014/main" id="{C8A0D2F7-9533-43C2-9326-9C52729E0A4C}"/>
                  </a:ext>
                </a:extLst>
              </p:cNvPr>
              <p:cNvSpPr>
                <a:spLocks/>
              </p:cNvSpPr>
              <p:nvPr/>
            </p:nvSpPr>
            <p:spPr bwMode="auto">
              <a:xfrm>
                <a:off x="2371725" y="4675188"/>
                <a:ext cx="320675" cy="392112"/>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solidFill>
                <a:srgbClr val="FF0000"/>
              </a:solidFill>
              <a:ln w="9525">
                <a:solidFill>
                  <a:schemeClr val="bg1"/>
                </a:solidFill>
                <a:round/>
                <a:headEnd/>
                <a:tailEnd/>
              </a:ln>
            </p:spPr>
            <p:txBody>
              <a:bodyPr/>
              <a:lstStyle/>
              <a:p>
                <a:endParaRPr lang="el-GR"/>
              </a:p>
            </p:txBody>
          </p:sp>
          <p:sp>
            <p:nvSpPr>
              <p:cNvPr id="210" name="Freeform 413">
                <a:extLst>
                  <a:ext uri="{FF2B5EF4-FFF2-40B4-BE49-F238E27FC236}">
                    <a16:creationId xmlns:a16="http://schemas.microsoft.com/office/drawing/2014/main" id="{335BA6DF-A187-4F01-BE37-DDF0B7BFB4ED}"/>
                  </a:ext>
                </a:extLst>
              </p:cNvPr>
              <p:cNvSpPr>
                <a:spLocks/>
              </p:cNvSpPr>
              <p:nvPr/>
            </p:nvSpPr>
            <p:spPr bwMode="auto">
              <a:xfrm>
                <a:off x="2577162" y="4551586"/>
                <a:ext cx="883056" cy="911696"/>
              </a:xfrm>
              <a:custGeom>
                <a:avLst/>
                <a:gdLst>
                  <a:gd name="T0" fmla="*/ 2147483646 w 10000"/>
                  <a:gd name="T1" fmla="*/ 2147483646 h 10000"/>
                  <a:gd name="T2" fmla="*/ 2147483646 w 10000"/>
                  <a:gd name="T3" fmla="*/ 2147483646 h 10000"/>
                  <a:gd name="T4" fmla="*/ 2147483646 w 10000"/>
                  <a:gd name="T5" fmla="*/ 2147483646 h 10000"/>
                  <a:gd name="T6" fmla="*/ 2147483646 w 10000"/>
                  <a:gd name="T7" fmla="*/ 2147483646 h 10000"/>
                  <a:gd name="T8" fmla="*/ 2147483646 w 10000"/>
                  <a:gd name="T9" fmla="*/ 2147483646 h 10000"/>
                  <a:gd name="T10" fmla="*/ 2147483646 w 10000"/>
                  <a:gd name="T11" fmla="*/ 2147483646 h 10000"/>
                  <a:gd name="T12" fmla="*/ 2147483646 w 10000"/>
                  <a:gd name="T13" fmla="*/ 2147483646 h 10000"/>
                  <a:gd name="T14" fmla="*/ 2147483646 w 10000"/>
                  <a:gd name="T15" fmla="*/ 2147483646 h 10000"/>
                  <a:gd name="T16" fmla="*/ 2147483646 w 10000"/>
                  <a:gd name="T17" fmla="*/ 2147483646 h 10000"/>
                  <a:gd name="T18" fmla="*/ 2147483646 w 10000"/>
                  <a:gd name="T19" fmla="*/ 2147483646 h 10000"/>
                  <a:gd name="T20" fmla="*/ 2147483646 w 10000"/>
                  <a:gd name="T21" fmla="*/ 2147483646 h 10000"/>
                  <a:gd name="T22" fmla="*/ 2147483646 w 10000"/>
                  <a:gd name="T23" fmla="*/ 2147483646 h 10000"/>
                  <a:gd name="T24" fmla="*/ 2147483646 w 10000"/>
                  <a:gd name="T25" fmla="*/ 2147483646 h 10000"/>
                  <a:gd name="T26" fmla="*/ 2147483646 w 10000"/>
                  <a:gd name="T27" fmla="*/ 2147483646 h 10000"/>
                  <a:gd name="T28" fmla="*/ 2147483646 w 10000"/>
                  <a:gd name="T29" fmla="*/ 2147483646 h 10000"/>
                  <a:gd name="T30" fmla="*/ 2147483646 w 10000"/>
                  <a:gd name="T31" fmla="*/ 2147483646 h 10000"/>
                  <a:gd name="T32" fmla="*/ 2147483646 w 10000"/>
                  <a:gd name="T33" fmla="*/ 2147483646 h 10000"/>
                  <a:gd name="T34" fmla="*/ 2147483646 w 10000"/>
                  <a:gd name="T35" fmla="*/ 2147483646 h 10000"/>
                  <a:gd name="T36" fmla="*/ 2147483646 w 10000"/>
                  <a:gd name="T37" fmla="*/ 2147483646 h 10000"/>
                  <a:gd name="T38" fmla="*/ 2147483646 w 10000"/>
                  <a:gd name="T39" fmla="*/ 2147483646 h 10000"/>
                  <a:gd name="T40" fmla="*/ 2147483646 w 10000"/>
                  <a:gd name="T41" fmla="*/ 2147483646 h 10000"/>
                  <a:gd name="T42" fmla="*/ 2147483646 w 10000"/>
                  <a:gd name="T43" fmla="*/ 2147483646 h 10000"/>
                  <a:gd name="T44" fmla="*/ 2147483646 w 10000"/>
                  <a:gd name="T45" fmla="*/ 2147483646 h 10000"/>
                  <a:gd name="T46" fmla="*/ 2147483646 w 10000"/>
                  <a:gd name="T47" fmla="*/ 2147483646 h 10000"/>
                  <a:gd name="T48" fmla="*/ 2147483646 w 10000"/>
                  <a:gd name="T49" fmla="*/ 0 h 10000"/>
                  <a:gd name="T50" fmla="*/ 2147483646 w 10000"/>
                  <a:gd name="T51" fmla="*/ 2147483646 h 10000"/>
                  <a:gd name="T52" fmla="*/ 2147483646 w 10000"/>
                  <a:gd name="T53" fmla="*/ 2147483646 h 10000"/>
                  <a:gd name="T54" fmla="*/ 2147483646 w 10000"/>
                  <a:gd name="T55" fmla="*/ 2147483646 h 10000"/>
                  <a:gd name="T56" fmla="*/ 2147483646 w 10000"/>
                  <a:gd name="T57" fmla="*/ 2147483646 h 10000"/>
                  <a:gd name="T58" fmla="*/ 2147483646 w 10000"/>
                  <a:gd name="T59" fmla="*/ 2147483646 h 10000"/>
                  <a:gd name="T60" fmla="*/ 2147483646 w 10000"/>
                  <a:gd name="T61" fmla="*/ 2147483646 h 10000"/>
                  <a:gd name="T62" fmla="*/ 0 w 10000"/>
                  <a:gd name="T63" fmla="*/ 2147483646 h 10000"/>
                  <a:gd name="T64" fmla="*/ 2147483646 w 10000"/>
                  <a:gd name="T65" fmla="*/ 2147483646 h 10000"/>
                  <a:gd name="T66" fmla="*/ 2147483646 w 10000"/>
                  <a:gd name="T67" fmla="*/ 2147483646 h 10000"/>
                  <a:gd name="T68" fmla="*/ 2147483646 w 10000"/>
                  <a:gd name="T69" fmla="*/ 2147483646 h 10000"/>
                  <a:gd name="T70" fmla="*/ 2147483646 w 10000"/>
                  <a:gd name="T71" fmla="*/ 2147483646 h 10000"/>
                  <a:gd name="T72" fmla="*/ 2147483646 w 10000"/>
                  <a:gd name="T73" fmla="*/ 2147483646 h 10000"/>
                  <a:gd name="T74" fmla="*/ 2147483646 w 10000"/>
                  <a:gd name="T75" fmla="*/ 2147483646 h 10000"/>
                  <a:gd name="T76" fmla="*/ 2147483646 w 10000"/>
                  <a:gd name="T77" fmla="*/ 2147483646 h 10000"/>
                  <a:gd name="T78" fmla="*/ 2147483646 w 10000"/>
                  <a:gd name="T79" fmla="*/ 2147483646 h 10000"/>
                  <a:gd name="T80" fmla="*/ 2147483646 w 10000"/>
                  <a:gd name="T81" fmla="*/ 2147483646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42" name="Freeform 409">
                <a:extLst>
                  <a:ext uri="{FF2B5EF4-FFF2-40B4-BE49-F238E27FC236}">
                    <a16:creationId xmlns:a16="http://schemas.microsoft.com/office/drawing/2014/main" id="{6DC0CF4C-A158-4D31-B250-092E48A22F96}"/>
                  </a:ext>
                </a:extLst>
              </p:cNvPr>
              <p:cNvSpPr>
                <a:spLocks/>
              </p:cNvSpPr>
              <p:nvPr/>
            </p:nvSpPr>
            <p:spPr bwMode="auto">
              <a:xfrm>
                <a:off x="2563813" y="5153025"/>
                <a:ext cx="473075" cy="947738"/>
              </a:xfrm>
              <a:custGeom>
                <a:avLst/>
                <a:gdLst>
                  <a:gd name="T0" fmla="*/ 2147483647 w 10000"/>
                  <a:gd name="T1" fmla="*/ 2147483647 h 10001"/>
                  <a:gd name="T2" fmla="*/ 2147483647 w 10000"/>
                  <a:gd name="T3" fmla="*/ 2147483647 h 10001"/>
                  <a:gd name="T4" fmla="*/ 2147483647 w 10000"/>
                  <a:gd name="T5" fmla="*/ 2147483647 h 10001"/>
                  <a:gd name="T6" fmla="*/ 2147483647 w 10000"/>
                  <a:gd name="T7" fmla="*/ 2147483647 h 10001"/>
                  <a:gd name="T8" fmla="*/ 2147483647 w 10000"/>
                  <a:gd name="T9" fmla="*/ 2147483647 h 10001"/>
                  <a:gd name="T10" fmla="*/ 2147483647 w 10000"/>
                  <a:gd name="T11" fmla="*/ 2147483647 h 10001"/>
                  <a:gd name="T12" fmla="*/ 2147483647 w 10000"/>
                  <a:gd name="T13" fmla="*/ 2147483647 h 10001"/>
                  <a:gd name="T14" fmla="*/ 2147483647 w 10000"/>
                  <a:gd name="T15" fmla="*/ 2147483647 h 10001"/>
                  <a:gd name="T16" fmla="*/ 2147483647 w 10000"/>
                  <a:gd name="T17" fmla="*/ 2147483647 h 10001"/>
                  <a:gd name="T18" fmla="*/ 2147483647 w 10000"/>
                  <a:gd name="T19" fmla="*/ 2147483647 h 10001"/>
                  <a:gd name="T20" fmla="*/ 2147483647 w 10000"/>
                  <a:gd name="T21" fmla="*/ 2147483647 h 10001"/>
                  <a:gd name="T22" fmla="*/ 2147483647 w 10000"/>
                  <a:gd name="T23" fmla="*/ 2147483647 h 10001"/>
                  <a:gd name="T24" fmla="*/ 2147483647 w 10000"/>
                  <a:gd name="T25" fmla="*/ 2147483647 h 10001"/>
                  <a:gd name="T26" fmla="*/ 2147483647 w 10000"/>
                  <a:gd name="T27" fmla="*/ 2147483647 h 10001"/>
                  <a:gd name="T28" fmla="*/ 2147483647 w 10000"/>
                  <a:gd name="T29" fmla="*/ 0 h 10001"/>
                  <a:gd name="T30" fmla="*/ 2147483647 w 10000"/>
                  <a:gd name="T31" fmla="*/ 2147483647 h 10001"/>
                  <a:gd name="T32" fmla="*/ 2147483647 w 10000"/>
                  <a:gd name="T33" fmla="*/ 2147483647 h 10001"/>
                  <a:gd name="T34" fmla="*/ 2147483647 w 10000"/>
                  <a:gd name="T35" fmla="*/ 2147483647 h 10001"/>
                  <a:gd name="T36" fmla="*/ 2147483647 w 10000"/>
                  <a:gd name="T37" fmla="*/ 2147483647 h 10001"/>
                  <a:gd name="T38" fmla="*/ 2147483647 w 10000"/>
                  <a:gd name="T39" fmla="*/ 2147483647 h 10001"/>
                  <a:gd name="T40" fmla="*/ 2147483647 w 10000"/>
                  <a:gd name="T41" fmla="*/ 2147483647 h 10001"/>
                  <a:gd name="T42" fmla="*/ 2147483647 w 10000"/>
                  <a:gd name="T43" fmla="*/ 2147483647 h 10001"/>
                  <a:gd name="T44" fmla="*/ 2147483647 w 10000"/>
                  <a:gd name="T45" fmla="*/ 2147483647 h 10001"/>
                  <a:gd name="T46" fmla="*/ 2147483647 w 10000"/>
                  <a:gd name="T47" fmla="*/ 2147483647 h 10001"/>
                  <a:gd name="T48" fmla="*/ 2147483647 w 10000"/>
                  <a:gd name="T49" fmla="*/ 2147483647 h 10001"/>
                  <a:gd name="T50" fmla="*/ 2147483647 w 10000"/>
                  <a:gd name="T51" fmla="*/ 2147483647 h 10001"/>
                  <a:gd name="T52" fmla="*/ 2147483647 w 10000"/>
                  <a:gd name="T53" fmla="*/ 2147483647 h 10001"/>
                  <a:gd name="T54" fmla="*/ 2147483647 w 10000"/>
                  <a:gd name="T55" fmla="*/ 2147483647 h 10001"/>
                  <a:gd name="T56" fmla="*/ 2147483647 w 10000"/>
                  <a:gd name="T57" fmla="*/ 2147483647 h 10001"/>
                  <a:gd name="T58" fmla="*/ 2147483647 w 10000"/>
                  <a:gd name="T59" fmla="*/ 2147483647 h 10001"/>
                  <a:gd name="T60" fmla="*/ 2147483647 w 10000"/>
                  <a:gd name="T61" fmla="*/ 2147483647 h 10001"/>
                  <a:gd name="T62" fmla="*/ 2147483647 w 10000"/>
                  <a:gd name="T63" fmla="*/ 2147483647 h 10001"/>
                  <a:gd name="T64" fmla="*/ 2147483647 w 10000"/>
                  <a:gd name="T65" fmla="*/ 2147483647 h 10001"/>
                  <a:gd name="T66" fmla="*/ 0 w 10000"/>
                  <a:gd name="T67" fmla="*/ 2147483647 h 10001"/>
                  <a:gd name="T68" fmla="*/ 2147483647 w 10000"/>
                  <a:gd name="T69" fmla="*/ 2147483647 h 10001"/>
                  <a:gd name="T70" fmla="*/ 2147483647 w 10000"/>
                  <a:gd name="T71" fmla="*/ 2147483647 h 10001"/>
                  <a:gd name="T72" fmla="*/ 2147483647 w 10000"/>
                  <a:gd name="T73" fmla="*/ 2147483647 h 10001"/>
                  <a:gd name="T74" fmla="*/ 2147483647 w 10000"/>
                  <a:gd name="T75" fmla="*/ 2147483647 h 10001"/>
                  <a:gd name="T76" fmla="*/ 2147483647 w 10000"/>
                  <a:gd name="T77" fmla="*/ 2147483647 h 10001"/>
                  <a:gd name="T78" fmla="*/ 2147483647 w 10000"/>
                  <a:gd name="T79" fmla="*/ 2147483647 h 10001"/>
                  <a:gd name="T80" fmla="*/ 2147483647 w 10000"/>
                  <a:gd name="T81" fmla="*/ 2147483647 h 10001"/>
                  <a:gd name="T82" fmla="*/ 2147483647 w 10000"/>
                  <a:gd name="T83" fmla="*/ 2147483647 h 10001"/>
                  <a:gd name="T84" fmla="*/ 2147483647 w 10000"/>
                  <a:gd name="T85" fmla="*/ 2147483647 h 10001"/>
                  <a:gd name="T86" fmla="*/ 2147483647 w 10000"/>
                  <a:gd name="T87" fmla="*/ 2147483647 h 10001"/>
                  <a:gd name="T88" fmla="*/ 2147483647 w 10000"/>
                  <a:gd name="T89" fmla="*/ 2147483647 h 10001"/>
                  <a:gd name="T90" fmla="*/ 2147483647 w 10000"/>
                  <a:gd name="T91" fmla="*/ 2147483647 h 10001"/>
                  <a:gd name="T92" fmla="*/ 2147483647 w 10000"/>
                  <a:gd name="T93" fmla="*/ 2147483647 h 10001"/>
                  <a:gd name="T94" fmla="*/ 2147483647 w 10000"/>
                  <a:gd name="T95" fmla="*/ 2147483647 h 10001"/>
                  <a:gd name="T96" fmla="*/ 2147483647 w 10000"/>
                  <a:gd name="T97" fmla="*/ 2147483647 h 10001"/>
                  <a:gd name="T98" fmla="*/ 2147483647 w 10000"/>
                  <a:gd name="T99" fmla="*/ 2147483647 h 10001"/>
                  <a:gd name="T100" fmla="*/ 2147483647 w 10000"/>
                  <a:gd name="T101" fmla="*/ 2147483647 h 10001"/>
                  <a:gd name="T102" fmla="*/ 2147483647 w 10000"/>
                  <a:gd name="T103" fmla="*/ 2147483647 h 10001"/>
                  <a:gd name="T104" fmla="*/ 2147483647 w 10000"/>
                  <a:gd name="T105" fmla="*/ 2147483647 h 10001"/>
                  <a:gd name="T106" fmla="*/ 2147483647 w 10000"/>
                  <a:gd name="T107" fmla="*/ 2147483647 h 10001"/>
                  <a:gd name="T108" fmla="*/ 2147483647 w 10000"/>
                  <a:gd name="T109" fmla="*/ 2147483647 h 10001"/>
                  <a:gd name="T110" fmla="*/ 2147483647 w 10000"/>
                  <a:gd name="T111" fmla="*/ 2147483647 h 10001"/>
                  <a:gd name="T112" fmla="*/ 2147483647 w 10000"/>
                  <a:gd name="T113" fmla="*/ 2147483647 h 10001"/>
                  <a:gd name="T114" fmla="*/ 2147483647 w 10000"/>
                  <a:gd name="T115" fmla="*/ 2147483647 h 10001"/>
                  <a:gd name="T116" fmla="*/ 2147483647 w 10000"/>
                  <a:gd name="T117" fmla="*/ 2147483647 h 10001"/>
                  <a:gd name="T118" fmla="*/ 2147483647 w 10000"/>
                  <a:gd name="T119" fmla="*/ 2147483647 h 10001"/>
                  <a:gd name="T120" fmla="*/ 2147483647 w 10000"/>
                  <a:gd name="T121" fmla="*/ 2147483647 h 10001"/>
                  <a:gd name="T122" fmla="*/ 2147483647 w 10000"/>
                  <a:gd name="T123" fmla="*/ 2147483647 h 10001"/>
                  <a:gd name="T124" fmla="*/ 2147483647 w 10000"/>
                  <a:gd name="T125" fmla="*/ 2147483647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solidFill>
                <a:srgbClr val="92D050"/>
              </a:solidFill>
              <a:ln w="9525">
                <a:solidFill>
                  <a:schemeClr val="bg1"/>
                </a:solidFill>
                <a:round/>
                <a:headEnd/>
                <a:tailEnd/>
              </a:ln>
            </p:spPr>
            <p:txBody>
              <a:bodyPr/>
              <a:lstStyle/>
              <a:p>
                <a:endParaRPr lang="el-GR"/>
              </a:p>
            </p:txBody>
          </p:sp>
          <p:sp>
            <p:nvSpPr>
              <p:cNvPr id="83143" name="Freeform 444">
                <a:extLst>
                  <a:ext uri="{FF2B5EF4-FFF2-40B4-BE49-F238E27FC236}">
                    <a16:creationId xmlns:a16="http://schemas.microsoft.com/office/drawing/2014/main" id="{441D64D2-284E-4314-AA70-ED275623BCF8}"/>
                  </a:ext>
                </a:extLst>
              </p:cNvPr>
              <p:cNvSpPr>
                <a:spLocks/>
              </p:cNvSpPr>
              <p:nvPr/>
            </p:nvSpPr>
            <p:spPr bwMode="auto">
              <a:xfrm>
                <a:off x="2500313" y="5053013"/>
                <a:ext cx="242887" cy="1179512"/>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2147483647 w 14463"/>
                  <a:gd name="T47" fmla="*/ 2147483647 h 11339"/>
                  <a:gd name="T48" fmla="*/ 2147483647 w 14463"/>
                  <a:gd name="T49" fmla="*/ 2147483647 h 11339"/>
                  <a:gd name="T50" fmla="*/ 2147483647 w 14463"/>
                  <a:gd name="T51" fmla="*/ 2147483647 h 11339"/>
                  <a:gd name="T52" fmla="*/ 2147483647 w 14463"/>
                  <a:gd name="T53" fmla="*/ 2147483647 h 11339"/>
                  <a:gd name="T54" fmla="*/ 2147483647 w 14463"/>
                  <a:gd name="T55" fmla="*/ 2147483647 h 11339"/>
                  <a:gd name="T56" fmla="*/ 2147483647 w 14463"/>
                  <a:gd name="T57" fmla="*/ 2147483647 h 11339"/>
                  <a:gd name="T58" fmla="*/ 2147483647 w 14463"/>
                  <a:gd name="T59" fmla="*/ 2147483647 h 11339"/>
                  <a:gd name="T60" fmla="*/ 2147483647 w 14463"/>
                  <a:gd name="T61" fmla="*/ 2147483647 h 11339"/>
                  <a:gd name="T62" fmla="*/ 2147483647 w 14463"/>
                  <a:gd name="T63" fmla="*/ 2147483647 h 11339"/>
                  <a:gd name="T64" fmla="*/ 0 w 14463"/>
                  <a:gd name="T65" fmla="*/ 2147483647 h 11339"/>
                  <a:gd name="T66" fmla="*/ 2147483647 w 14463"/>
                  <a:gd name="T67" fmla="*/ 2147483647 h 11339"/>
                  <a:gd name="T68" fmla="*/ 2147483647 w 14463"/>
                  <a:gd name="T69" fmla="*/ 2147483647 h 11339"/>
                  <a:gd name="T70" fmla="*/ 2147483647 w 14463"/>
                  <a:gd name="T71" fmla="*/ 2147483647 h 11339"/>
                  <a:gd name="T72" fmla="*/ 2147483647 w 14463"/>
                  <a:gd name="T73" fmla="*/ 2147483647 h 11339"/>
                  <a:gd name="T74" fmla="*/ 2147483647 w 14463"/>
                  <a:gd name="T75" fmla="*/ 2147483647 h 11339"/>
                  <a:gd name="T76" fmla="*/ 2147483647 w 14463"/>
                  <a:gd name="T77" fmla="*/ 2147483647 h 11339"/>
                  <a:gd name="T78" fmla="*/ 2147483647 w 14463"/>
                  <a:gd name="T79" fmla="*/ 2147483647 h 11339"/>
                  <a:gd name="T80" fmla="*/ 21474836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solidFill>
                <a:srgbClr val="92D050"/>
              </a:solidFill>
              <a:ln w="9525">
                <a:solidFill>
                  <a:schemeClr val="bg1"/>
                </a:solidFill>
                <a:round/>
                <a:headEnd/>
                <a:tailEnd/>
              </a:ln>
            </p:spPr>
            <p:txBody>
              <a:bodyPr/>
              <a:lstStyle/>
              <a:p>
                <a:endParaRPr lang="el-GR"/>
              </a:p>
            </p:txBody>
          </p:sp>
          <p:sp>
            <p:nvSpPr>
              <p:cNvPr id="83144" name="Freeform 410">
                <a:extLst>
                  <a:ext uri="{FF2B5EF4-FFF2-40B4-BE49-F238E27FC236}">
                    <a16:creationId xmlns:a16="http://schemas.microsoft.com/office/drawing/2014/main" id="{DC0C9E49-E926-42D2-B872-3BAA2D5362F9}"/>
                  </a:ext>
                </a:extLst>
              </p:cNvPr>
              <p:cNvSpPr>
                <a:spLocks/>
              </p:cNvSpPr>
              <p:nvPr/>
            </p:nvSpPr>
            <p:spPr bwMode="auto">
              <a:xfrm>
                <a:off x="2820988" y="5105400"/>
                <a:ext cx="200025" cy="187325"/>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rgbClr val="92D050"/>
              </a:solidFill>
              <a:ln w="9525">
                <a:solidFill>
                  <a:schemeClr val="bg1"/>
                </a:solidFill>
                <a:round/>
                <a:headEnd/>
                <a:tailEnd/>
              </a:ln>
            </p:spPr>
            <p:txBody>
              <a:bodyPr/>
              <a:lstStyle/>
              <a:p>
                <a:endParaRPr lang="el-GR"/>
              </a:p>
            </p:txBody>
          </p:sp>
          <p:sp>
            <p:nvSpPr>
              <p:cNvPr id="83145" name="Freeform 412">
                <a:extLst>
                  <a:ext uri="{FF2B5EF4-FFF2-40B4-BE49-F238E27FC236}">
                    <a16:creationId xmlns:a16="http://schemas.microsoft.com/office/drawing/2014/main" id="{E3FCE8B4-C99B-41CF-8178-25B5D39210FD}"/>
                  </a:ext>
                </a:extLst>
              </p:cNvPr>
              <p:cNvSpPr>
                <a:spLocks/>
              </p:cNvSpPr>
              <p:nvPr/>
            </p:nvSpPr>
            <p:spPr bwMode="auto">
              <a:xfrm>
                <a:off x="2667000" y="4897438"/>
                <a:ext cx="266700" cy="287337"/>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2147483647 h 10000"/>
                  <a:gd name="T26" fmla="*/ 2147483647 w 10141"/>
                  <a:gd name="T27" fmla="*/ 0 h 10000"/>
                  <a:gd name="T28" fmla="*/ 2147483647 w 10141"/>
                  <a:gd name="T29" fmla="*/ 2147483647 h 10000"/>
                  <a:gd name="T30" fmla="*/ 2147483647 w 10141"/>
                  <a:gd name="T31" fmla="*/ 2147483647 h 10000"/>
                  <a:gd name="T32" fmla="*/ 2147483647 w 10141"/>
                  <a:gd name="T33" fmla="*/ 2147483647 h 10000"/>
                  <a:gd name="T34" fmla="*/ 2147483647 w 10141"/>
                  <a:gd name="T35" fmla="*/ 2147483647 h 10000"/>
                  <a:gd name="T36" fmla="*/ 2147483647 w 10141"/>
                  <a:gd name="T37" fmla="*/ 2147483647 h 10000"/>
                  <a:gd name="T38" fmla="*/ 2147483647 w 10141"/>
                  <a:gd name="T39" fmla="*/ 2147483647 h 10000"/>
                  <a:gd name="T40" fmla="*/ 2147483647 w 10141"/>
                  <a:gd name="T41" fmla="*/ 2147483647 h 10000"/>
                  <a:gd name="T42" fmla="*/ 2147483647 w 10141"/>
                  <a:gd name="T43" fmla="*/ 2147483647 h 10000"/>
                  <a:gd name="T44" fmla="*/ 2147483647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solidFill>
                <a:srgbClr val="92D050"/>
              </a:solidFill>
              <a:ln w="9525">
                <a:solidFill>
                  <a:schemeClr val="bg1"/>
                </a:solidFill>
                <a:round/>
                <a:headEnd/>
                <a:tailEnd/>
              </a:ln>
            </p:spPr>
            <p:txBody>
              <a:bodyPr/>
              <a:lstStyle/>
              <a:p>
                <a:endParaRPr lang="el-GR"/>
              </a:p>
            </p:txBody>
          </p:sp>
          <p:sp>
            <p:nvSpPr>
              <p:cNvPr id="215" name="Freeform 405">
                <a:extLst>
                  <a:ext uri="{FF2B5EF4-FFF2-40B4-BE49-F238E27FC236}">
                    <a16:creationId xmlns:a16="http://schemas.microsoft.com/office/drawing/2014/main" id="{2FE64140-2440-4C21-A852-02D5177B0C36}"/>
                  </a:ext>
                </a:extLst>
              </p:cNvPr>
              <p:cNvSpPr>
                <a:spLocks/>
              </p:cNvSpPr>
              <p:nvPr/>
            </p:nvSpPr>
            <p:spPr bwMode="auto">
              <a:xfrm>
                <a:off x="2531747" y="4629935"/>
                <a:ext cx="195113" cy="138891"/>
              </a:xfrm>
              <a:custGeom>
                <a:avLst/>
                <a:gdLst>
                  <a:gd name="T0" fmla="*/ 0 w 10000"/>
                  <a:gd name="T1" fmla="*/ 2147483646 h 10000"/>
                  <a:gd name="T2" fmla="*/ 0 w 10000"/>
                  <a:gd name="T3" fmla="*/ 2147483646 h 10000"/>
                  <a:gd name="T4" fmla="*/ 2147483646 w 10000"/>
                  <a:gd name="T5" fmla="*/ 2147483646 h 10000"/>
                  <a:gd name="T6" fmla="*/ 2147483646 w 10000"/>
                  <a:gd name="T7" fmla="*/ 2147483646 h 10000"/>
                  <a:gd name="T8" fmla="*/ 2147483646 w 10000"/>
                  <a:gd name="T9" fmla="*/ 2147483646 h 10000"/>
                  <a:gd name="T10" fmla="*/ 2147483646 w 10000"/>
                  <a:gd name="T11" fmla="*/ 2147483646 h 10000"/>
                  <a:gd name="T12" fmla="*/ 2147483646 w 10000"/>
                  <a:gd name="T13" fmla="*/ 2147483646 h 10000"/>
                  <a:gd name="T14" fmla="*/ 2147483646 w 10000"/>
                  <a:gd name="T15" fmla="*/ 2147483646 h 10000"/>
                  <a:gd name="T16" fmla="*/ 2147483646 w 10000"/>
                  <a:gd name="T17" fmla="*/ 2147483646 h 10000"/>
                  <a:gd name="T18" fmla="*/ 2147483646 w 10000"/>
                  <a:gd name="T19" fmla="*/ 2147483646 h 10000"/>
                  <a:gd name="T20" fmla="*/ 2147483646 w 10000"/>
                  <a:gd name="T21" fmla="*/ 2147483646 h 10000"/>
                  <a:gd name="T22" fmla="*/ 2147483646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16" name="Freeform 407">
                <a:extLst>
                  <a:ext uri="{FF2B5EF4-FFF2-40B4-BE49-F238E27FC236}">
                    <a16:creationId xmlns:a16="http://schemas.microsoft.com/office/drawing/2014/main" id="{72CEADB8-3908-450D-A42C-E330D12CF326}"/>
                  </a:ext>
                </a:extLst>
              </p:cNvPr>
              <p:cNvSpPr>
                <a:spLocks/>
              </p:cNvSpPr>
              <p:nvPr/>
            </p:nvSpPr>
            <p:spPr bwMode="auto">
              <a:xfrm>
                <a:off x="2854694" y="4462553"/>
                <a:ext cx="117741" cy="179847"/>
              </a:xfrm>
              <a:custGeom>
                <a:avLst/>
                <a:gdLst>
                  <a:gd name="T0" fmla="*/ 2147483646 w 90"/>
                  <a:gd name="T1" fmla="*/ 2147483646 h 138"/>
                  <a:gd name="T2" fmla="*/ 2147483646 w 90"/>
                  <a:gd name="T3" fmla="*/ 2147483646 h 138"/>
                  <a:gd name="T4" fmla="*/ 2147483646 w 90"/>
                  <a:gd name="T5" fmla="*/ 2147483646 h 138"/>
                  <a:gd name="T6" fmla="*/ 2147483646 w 90"/>
                  <a:gd name="T7" fmla="*/ 2147483646 h 138"/>
                  <a:gd name="T8" fmla="*/ 2147483646 w 90"/>
                  <a:gd name="T9" fmla="*/ 2147483646 h 138"/>
                  <a:gd name="T10" fmla="*/ 2147483646 w 90"/>
                  <a:gd name="T11" fmla="*/ 2147483646 h 138"/>
                  <a:gd name="T12" fmla="*/ 2147483646 w 90"/>
                  <a:gd name="T13" fmla="*/ 2147483646 h 138"/>
                  <a:gd name="T14" fmla="*/ 2147483646 w 90"/>
                  <a:gd name="T15" fmla="*/ 0 h 138"/>
                  <a:gd name="T16" fmla="*/ 2147483646 w 90"/>
                  <a:gd name="T17" fmla="*/ 2147483646 h 138"/>
                  <a:gd name="T18" fmla="*/ 0 w 90"/>
                  <a:gd name="T19" fmla="*/ 2147483646 h 138"/>
                  <a:gd name="T20" fmla="*/ 2147483646 w 90"/>
                  <a:gd name="T21" fmla="*/ 2147483646 h 138"/>
                  <a:gd name="T22" fmla="*/ 2147483646 w 90"/>
                  <a:gd name="T23" fmla="*/ 2147483646 h 138"/>
                  <a:gd name="T24" fmla="*/ 2147483646 w 90"/>
                  <a:gd name="T25" fmla="*/ 2147483646 h 138"/>
                  <a:gd name="T26" fmla="*/ 2147483646 w 90"/>
                  <a:gd name="T27" fmla="*/ 2147483646 h 138"/>
                  <a:gd name="T28" fmla="*/ 2147483646 w 90"/>
                  <a:gd name="T29" fmla="*/ 2147483646 h 138"/>
                  <a:gd name="T30" fmla="*/ 2147483646 w 90"/>
                  <a:gd name="T31" fmla="*/ 2147483646 h 138"/>
                  <a:gd name="T32" fmla="*/ 2147483646 w 90"/>
                  <a:gd name="T33" fmla="*/ 2147483646 h 138"/>
                  <a:gd name="T34" fmla="*/ 2147483646 w 90"/>
                  <a:gd name="T35" fmla="*/ 2147483646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17" name="Freeform 408">
                <a:extLst>
                  <a:ext uri="{FF2B5EF4-FFF2-40B4-BE49-F238E27FC236}">
                    <a16:creationId xmlns:a16="http://schemas.microsoft.com/office/drawing/2014/main" id="{A56CB1EB-26A6-40E7-9679-3EE75B68C2E0}"/>
                  </a:ext>
                </a:extLst>
              </p:cNvPr>
              <p:cNvSpPr>
                <a:spLocks/>
              </p:cNvSpPr>
              <p:nvPr/>
            </p:nvSpPr>
            <p:spPr bwMode="auto">
              <a:xfrm>
                <a:off x="3036351" y="4526657"/>
                <a:ext cx="77373" cy="92594"/>
              </a:xfrm>
              <a:custGeom>
                <a:avLst/>
                <a:gdLst>
                  <a:gd name="T0" fmla="*/ 2147483646 w 60"/>
                  <a:gd name="T1" fmla="*/ 2147483646 h 72"/>
                  <a:gd name="T2" fmla="*/ 2147483646 w 60"/>
                  <a:gd name="T3" fmla="*/ 2147483646 h 72"/>
                  <a:gd name="T4" fmla="*/ 2147483646 w 60"/>
                  <a:gd name="T5" fmla="*/ 2147483646 h 72"/>
                  <a:gd name="T6" fmla="*/ 2147483646 w 60"/>
                  <a:gd name="T7" fmla="*/ 2147483646 h 72"/>
                  <a:gd name="T8" fmla="*/ 2147483646 w 60"/>
                  <a:gd name="T9" fmla="*/ 2147483646 h 72"/>
                  <a:gd name="T10" fmla="*/ 2147483646 w 60"/>
                  <a:gd name="T11" fmla="*/ 0 h 72"/>
                  <a:gd name="T12" fmla="*/ 2147483646 w 60"/>
                  <a:gd name="T13" fmla="*/ 0 h 72"/>
                  <a:gd name="T14" fmla="*/ 0 w 60"/>
                  <a:gd name="T15" fmla="*/ 2147483646 h 72"/>
                  <a:gd name="T16" fmla="*/ 2147483646 w 60"/>
                  <a:gd name="T17" fmla="*/ 2147483646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18" name="Freeform 417">
                <a:extLst>
                  <a:ext uri="{FF2B5EF4-FFF2-40B4-BE49-F238E27FC236}">
                    <a16:creationId xmlns:a16="http://schemas.microsoft.com/office/drawing/2014/main" id="{42339319-2342-4983-BF56-A06F0B915E76}"/>
                  </a:ext>
                </a:extLst>
              </p:cNvPr>
              <p:cNvSpPr>
                <a:spLocks/>
              </p:cNvSpPr>
              <p:nvPr/>
            </p:nvSpPr>
            <p:spPr bwMode="auto">
              <a:xfrm>
                <a:off x="2943841" y="4523095"/>
                <a:ext cx="95874" cy="108621"/>
              </a:xfrm>
              <a:custGeom>
                <a:avLst/>
                <a:gdLst>
                  <a:gd name="T0" fmla="*/ 2147483646 w 72"/>
                  <a:gd name="T1" fmla="*/ 2147483646 h 84"/>
                  <a:gd name="T2" fmla="*/ 2147483646 w 72"/>
                  <a:gd name="T3" fmla="*/ 2147483646 h 84"/>
                  <a:gd name="T4" fmla="*/ 2147483646 w 72"/>
                  <a:gd name="T5" fmla="*/ 2147483646 h 84"/>
                  <a:gd name="T6" fmla="*/ 2147483646 w 72"/>
                  <a:gd name="T7" fmla="*/ 2147483646 h 84"/>
                  <a:gd name="T8" fmla="*/ 2147483646 w 72"/>
                  <a:gd name="T9" fmla="*/ 2147483646 h 84"/>
                  <a:gd name="T10" fmla="*/ 2147483646 w 72"/>
                  <a:gd name="T11" fmla="*/ 0 h 84"/>
                  <a:gd name="T12" fmla="*/ 2147483646 w 72"/>
                  <a:gd name="T13" fmla="*/ 2147483646 h 84"/>
                  <a:gd name="T14" fmla="*/ 0 w 72"/>
                  <a:gd name="T15" fmla="*/ 2147483646 h 84"/>
                  <a:gd name="T16" fmla="*/ 2147483646 w 72"/>
                  <a:gd name="T17" fmla="*/ 2147483646 h 84"/>
                  <a:gd name="T18" fmla="*/ 2147483646 w 72"/>
                  <a:gd name="T19" fmla="*/ 2147483646 h 84"/>
                  <a:gd name="T20" fmla="*/ 2147483646 w 72"/>
                  <a:gd name="T21" fmla="*/ 2147483646 h 84"/>
                  <a:gd name="T22" fmla="*/ 2147483646 w 72"/>
                  <a:gd name="T23" fmla="*/ 2147483646 h 84"/>
                  <a:gd name="T24" fmla="*/ 2147483646 w 72"/>
                  <a:gd name="T25" fmla="*/ 2147483646 h 84"/>
                  <a:gd name="T26" fmla="*/ 2147483646 w 72"/>
                  <a:gd name="T27" fmla="*/ 2147483646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19" name="Freeform 418">
                <a:extLst>
                  <a:ext uri="{FF2B5EF4-FFF2-40B4-BE49-F238E27FC236}">
                    <a16:creationId xmlns:a16="http://schemas.microsoft.com/office/drawing/2014/main" id="{183C545D-3567-447F-A2B9-E027DDD8697F}"/>
                  </a:ext>
                </a:extLst>
              </p:cNvPr>
              <p:cNvSpPr>
                <a:spLocks/>
              </p:cNvSpPr>
              <p:nvPr/>
            </p:nvSpPr>
            <p:spPr bwMode="auto">
              <a:xfrm>
                <a:off x="2580526" y="4378863"/>
                <a:ext cx="333038" cy="279562"/>
              </a:xfrm>
              <a:custGeom>
                <a:avLst/>
                <a:gdLst>
                  <a:gd name="T0" fmla="*/ 2147483646 w 43"/>
                  <a:gd name="T1" fmla="*/ 2147483646 h 36"/>
                  <a:gd name="T2" fmla="*/ 2147483646 w 43"/>
                  <a:gd name="T3" fmla="*/ 2147483646 h 36"/>
                  <a:gd name="T4" fmla="*/ 2147483646 w 43"/>
                  <a:gd name="T5" fmla="*/ 2147483646 h 36"/>
                  <a:gd name="T6" fmla="*/ 2147483646 w 43"/>
                  <a:gd name="T7" fmla="*/ 2147483646 h 36"/>
                  <a:gd name="T8" fmla="*/ 2147483646 w 43"/>
                  <a:gd name="T9" fmla="*/ 2147483646 h 36"/>
                  <a:gd name="T10" fmla="*/ 2147483646 w 43"/>
                  <a:gd name="T11" fmla="*/ 2147483646 h 36"/>
                  <a:gd name="T12" fmla="*/ 2147483646 w 43"/>
                  <a:gd name="T13" fmla="*/ 2147483646 h 36"/>
                  <a:gd name="T14" fmla="*/ 2147483646 w 43"/>
                  <a:gd name="T15" fmla="*/ 2147483646 h 36"/>
                  <a:gd name="T16" fmla="*/ 2147483646 w 43"/>
                  <a:gd name="T17" fmla="*/ 2147483646 h 36"/>
                  <a:gd name="T18" fmla="*/ 2147483646 w 43"/>
                  <a:gd name="T19" fmla="*/ 2147483646 h 36"/>
                  <a:gd name="T20" fmla="*/ 2147483646 w 43"/>
                  <a:gd name="T21" fmla="*/ 2147483646 h 36"/>
                  <a:gd name="T22" fmla="*/ 2147483646 w 43"/>
                  <a:gd name="T23" fmla="*/ 2147483646 h 36"/>
                  <a:gd name="T24" fmla="*/ 2147483646 w 43"/>
                  <a:gd name="T25" fmla="*/ 2147483646 h 36"/>
                  <a:gd name="T26" fmla="*/ 2147483646 w 43"/>
                  <a:gd name="T27" fmla="*/ 0 h 36"/>
                  <a:gd name="T28" fmla="*/ 2147483646 w 43"/>
                  <a:gd name="T29" fmla="*/ 2147483646 h 36"/>
                  <a:gd name="T30" fmla="*/ 0 w 43"/>
                  <a:gd name="T31" fmla="*/ 2147483646 h 36"/>
                  <a:gd name="T32" fmla="*/ 2147483646 w 43"/>
                  <a:gd name="T33" fmla="*/ 2147483646 h 36"/>
                  <a:gd name="T34" fmla="*/ 2147483646 w 43"/>
                  <a:gd name="T35" fmla="*/ 2147483646 h 36"/>
                  <a:gd name="T36" fmla="*/ 2147483646 w 43"/>
                  <a:gd name="T37" fmla="*/ 2147483646 h 36"/>
                  <a:gd name="T38" fmla="*/ 2147483646 w 43"/>
                  <a:gd name="T39" fmla="*/ 2147483646 h 36"/>
                  <a:gd name="T40" fmla="*/ 2147483646 w 43"/>
                  <a:gd name="T41" fmla="*/ 2147483646 h 36"/>
                  <a:gd name="T42" fmla="*/ 2147483646 w 43"/>
                  <a:gd name="T43" fmla="*/ 2147483646 h 36"/>
                  <a:gd name="T44" fmla="*/ 2147483646 w 43"/>
                  <a:gd name="T45" fmla="*/ 2147483646 h 36"/>
                  <a:gd name="T46" fmla="*/ 2147483646 w 43"/>
                  <a:gd name="T47" fmla="*/ 2147483646 h 36"/>
                  <a:gd name="T48" fmla="*/ 2147483646 w 43"/>
                  <a:gd name="T49" fmla="*/ 2147483646 h 36"/>
                  <a:gd name="T50" fmla="*/ 2147483646 w 43"/>
                  <a:gd name="T51" fmla="*/ 2147483646 h 36"/>
                  <a:gd name="T52" fmla="*/ 2147483646 w 43"/>
                  <a:gd name="T53" fmla="*/ 2147483646 h 36"/>
                  <a:gd name="T54" fmla="*/ 2147483646 w 43"/>
                  <a:gd name="T55" fmla="*/ 2147483646 h 36"/>
                  <a:gd name="T56" fmla="*/ 2147483646 w 43"/>
                  <a:gd name="T57" fmla="*/ 2147483646 h 36"/>
                  <a:gd name="T58" fmla="*/ 2147483646 w 43"/>
                  <a:gd name="T59" fmla="*/ 2147483646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20" name="Freeform 421">
                <a:extLst>
                  <a:ext uri="{FF2B5EF4-FFF2-40B4-BE49-F238E27FC236}">
                    <a16:creationId xmlns:a16="http://schemas.microsoft.com/office/drawing/2014/main" id="{F8172C02-1518-42EC-836D-EC12931CDB8C}"/>
                  </a:ext>
                </a:extLst>
              </p:cNvPr>
              <p:cNvSpPr>
                <a:spLocks/>
              </p:cNvSpPr>
              <p:nvPr/>
            </p:nvSpPr>
            <p:spPr bwMode="auto">
              <a:xfrm>
                <a:off x="2390458" y="4628155"/>
                <a:ext cx="134561" cy="147794"/>
              </a:xfrm>
              <a:custGeom>
                <a:avLst/>
                <a:gdLst>
                  <a:gd name="T0" fmla="*/ 2147483646 w 102"/>
                  <a:gd name="T1" fmla="*/ 2147483646 h 114"/>
                  <a:gd name="T2" fmla="*/ 2147483646 w 102"/>
                  <a:gd name="T3" fmla="*/ 2147483646 h 114"/>
                  <a:gd name="T4" fmla="*/ 2147483646 w 102"/>
                  <a:gd name="T5" fmla="*/ 2147483646 h 114"/>
                  <a:gd name="T6" fmla="*/ 2147483646 w 102"/>
                  <a:gd name="T7" fmla="*/ 2147483646 h 114"/>
                  <a:gd name="T8" fmla="*/ 2147483646 w 102"/>
                  <a:gd name="T9" fmla="*/ 2147483646 h 114"/>
                  <a:gd name="T10" fmla="*/ 2147483646 w 102"/>
                  <a:gd name="T11" fmla="*/ 2147483646 h 114"/>
                  <a:gd name="T12" fmla="*/ 2147483646 w 102"/>
                  <a:gd name="T13" fmla="*/ 0 h 114"/>
                  <a:gd name="T14" fmla="*/ 2147483646 w 102"/>
                  <a:gd name="T15" fmla="*/ 2147483646 h 114"/>
                  <a:gd name="T16" fmla="*/ 0 w 102"/>
                  <a:gd name="T17" fmla="*/ 2147483646 h 114"/>
                  <a:gd name="T18" fmla="*/ 2147483646 w 102"/>
                  <a:gd name="T19" fmla="*/ 2147483646 h 114"/>
                  <a:gd name="T20" fmla="*/ 0 w 102"/>
                  <a:gd name="T21" fmla="*/ 2147483646 h 114"/>
                  <a:gd name="T22" fmla="*/ 2147483646 w 102"/>
                  <a:gd name="T23" fmla="*/ 2147483646 h 114"/>
                  <a:gd name="T24" fmla="*/ 2147483646 w 102"/>
                  <a:gd name="T25" fmla="*/ 2147483646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52" name="Freeform 263">
                <a:extLst>
                  <a:ext uri="{FF2B5EF4-FFF2-40B4-BE49-F238E27FC236}">
                    <a16:creationId xmlns:a16="http://schemas.microsoft.com/office/drawing/2014/main" id="{32B989E5-8379-4DEB-AFE5-6C7A9A2A1B6B}"/>
                  </a:ext>
                </a:extLst>
              </p:cNvPr>
              <p:cNvSpPr>
                <a:spLocks/>
              </p:cNvSpPr>
              <p:nvPr/>
            </p:nvSpPr>
            <p:spPr bwMode="auto">
              <a:xfrm>
                <a:off x="4757738" y="2967038"/>
                <a:ext cx="49212" cy="96837"/>
              </a:xfrm>
              <a:custGeom>
                <a:avLst/>
                <a:gdLst>
                  <a:gd name="T0" fmla="*/ 0 w 429209"/>
                  <a:gd name="T1" fmla="*/ 0 h 839755"/>
                  <a:gd name="T2" fmla="*/ 0 w 429209"/>
                  <a:gd name="T3" fmla="*/ 0 h 839755"/>
                  <a:gd name="T4" fmla="*/ 0 w 429209"/>
                  <a:gd name="T5" fmla="*/ 0 h 839755"/>
                  <a:gd name="T6" fmla="*/ 0 w 429209"/>
                  <a:gd name="T7" fmla="*/ 0 h 839755"/>
                  <a:gd name="T8" fmla="*/ 0 w 429209"/>
                  <a:gd name="T9" fmla="*/ 0 h 839755"/>
                  <a:gd name="T10" fmla="*/ 0 w 429209"/>
                  <a:gd name="T11" fmla="*/ 0 h 839755"/>
                  <a:gd name="T12" fmla="*/ 0 w 429209"/>
                  <a:gd name="T13" fmla="*/ 0 h 839755"/>
                  <a:gd name="T14" fmla="*/ 0 w 429209"/>
                  <a:gd name="T15" fmla="*/ 0 h 839755"/>
                  <a:gd name="T16" fmla="*/ 0 w 429209"/>
                  <a:gd name="T17" fmla="*/ 0 h 839755"/>
                  <a:gd name="T18" fmla="*/ 0 w 429209"/>
                  <a:gd name="T19" fmla="*/ 0 h 839755"/>
                  <a:gd name="T20" fmla="*/ 0 w 429209"/>
                  <a:gd name="T21" fmla="*/ 0 h 839755"/>
                  <a:gd name="T22" fmla="*/ 0 w 429209"/>
                  <a:gd name="T23" fmla="*/ 0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solidFill>
                <a:srgbClr val="92D050"/>
              </a:solidFill>
              <a:ln w="9525">
                <a:solidFill>
                  <a:schemeClr val="bg1"/>
                </a:solidFill>
                <a:round/>
                <a:headEnd/>
                <a:tailEnd/>
              </a:ln>
            </p:spPr>
            <p:txBody>
              <a:bodyPr/>
              <a:lstStyle/>
              <a:p>
                <a:endParaRPr lang="el-GR"/>
              </a:p>
            </p:txBody>
          </p:sp>
          <p:sp>
            <p:nvSpPr>
              <p:cNvPr id="222" name="Freeform 295">
                <a:extLst>
                  <a:ext uri="{FF2B5EF4-FFF2-40B4-BE49-F238E27FC236}">
                    <a16:creationId xmlns:a16="http://schemas.microsoft.com/office/drawing/2014/main" id="{F1C343E7-E95D-403D-895E-C7FD390B32DD}"/>
                  </a:ext>
                </a:extLst>
              </p:cNvPr>
              <p:cNvSpPr>
                <a:spLocks/>
              </p:cNvSpPr>
              <p:nvPr/>
            </p:nvSpPr>
            <p:spPr bwMode="auto">
              <a:xfrm>
                <a:off x="6020240" y="3652355"/>
                <a:ext cx="437323" cy="418454"/>
              </a:xfrm>
              <a:custGeom>
                <a:avLst/>
                <a:gdLst>
                  <a:gd name="T0" fmla="*/ 2147483646 w 10944"/>
                  <a:gd name="T1" fmla="*/ 2147483646 h 10652"/>
                  <a:gd name="T2" fmla="*/ 2147483646 w 10944"/>
                  <a:gd name="T3" fmla="*/ 2147483646 h 10652"/>
                  <a:gd name="T4" fmla="*/ 2147483646 w 10944"/>
                  <a:gd name="T5" fmla="*/ 2147483646 h 10652"/>
                  <a:gd name="T6" fmla="*/ 2147483646 w 10944"/>
                  <a:gd name="T7" fmla="*/ 2147483646 h 10652"/>
                  <a:gd name="T8" fmla="*/ 2147483646 w 10944"/>
                  <a:gd name="T9" fmla="*/ 2147483646 h 10652"/>
                  <a:gd name="T10" fmla="*/ 2147483646 w 10944"/>
                  <a:gd name="T11" fmla="*/ 2147483646 h 10652"/>
                  <a:gd name="T12" fmla="*/ 2147483646 w 10944"/>
                  <a:gd name="T13" fmla="*/ 2147483646 h 10652"/>
                  <a:gd name="T14" fmla="*/ 2147483646 w 10944"/>
                  <a:gd name="T15" fmla="*/ 2147483646 h 10652"/>
                  <a:gd name="T16" fmla="*/ 2147483646 w 10944"/>
                  <a:gd name="T17" fmla="*/ 2147483646 h 10652"/>
                  <a:gd name="T18" fmla="*/ 2147483646 w 10944"/>
                  <a:gd name="T19" fmla="*/ 2147483646 h 10652"/>
                  <a:gd name="T20" fmla="*/ 2147483646 w 10944"/>
                  <a:gd name="T21" fmla="*/ 2147483646 h 10652"/>
                  <a:gd name="T22" fmla="*/ 2147483646 w 10944"/>
                  <a:gd name="T23" fmla="*/ 1997793352 h 10652"/>
                  <a:gd name="T24" fmla="*/ 2147483646 w 10944"/>
                  <a:gd name="T25" fmla="*/ 1101535252 h 10652"/>
                  <a:gd name="T26" fmla="*/ 2147483646 w 10944"/>
                  <a:gd name="T27" fmla="*/ 422176360 h 10652"/>
                  <a:gd name="T28" fmla="*/ 2147483646 w 10944"/>
                  <a:gd name="T29" fmla="*/ 2348995 h 10652"/>
                  <a:gd name="T30" fmla="*/ 2147483646 w 10944"/>
                  <a:gd name="T31" fmla="*/ 558986835 h 10652"/>
                  <a:gd name="T32" fmla="*/ 2147483646 w 10944"/>
                  <a:gd name="T33" fmla="*/ 620348125 h 10652"/>
                  <a:gd name="T34" fmla="*/ 2147483646 w 10944"/>
                  <a:gd name="T35" fmla="*/ 1351552467 h 10652"/>
                  <a:gd name="T36" fmla="*/ 2147483646 w 10944"/>
                  <a:gd name="T37" fmla="*/ 2147483646 h 10652"/>
                  <a:gd name="T38" fmla="*/ 2147483646 w 10944"/>
                  <a:gd name="T39" fmla="*/ 2147483646 h 10652"/>
                  <a:gd name="T40" fmla="*/ 2147483646 w 10944"/>
                  <a:gd name="T41" fmla="*/ 2147483646 h 10652"/>
                  <a:gd name="T42" fmla="*/ 2147483646 w 10944"/>
                  <a:gd name="T43" fmla="*/ 2147483646 h 10652"/>
                  <a:gd name="T44" fmla="*/ 2147483646 w 10944"/>
                  <a:gd name="T45" fmla="*/ 2147483646 h 10652"/>
                  <a:gd name="T46" fmla="*/ 2147483646 w 10944"/>
                  <a:gd name="T47" fmla="*/ 2147483646 h 10652"/>
                  <a:gd name="T48" fmla="*/ 2147483646 w 10944"/>
                  <a:gd name="T49" fmla="*/ 2147483646 h 10652"/>
                  <a:gd name="T50" fmla="*/ 2147483646 w 10944"/>
                  <a:gd name="T51" fmla="*/ 2147483646 h 10652"/>
                  <a:gd name="T52" fmla="*/ 2147483646 w 10944"/>
                  <a:gd name="T53" fmla="*/ 2147483646 h 10652"/>
                  <a:gd name="T54" fmla="*/ 434246325 w 10944"/>
                  <a:gd name="T55" fmla="*/ 2147483646 h 10652"/>
                  <a:gd name="T56" fmla="*/ 1801221118 w 10944"/>
                  <a:gd name="T57" fmla="*/ 2147483646 h 10652"/>
                  <a:gd name="T58" fmla="*/ 2147483646 w 10944"/>
                  <a:gd name="T59" fmla="*/ 2147483646 h 10652"/>
                  <a:gd name="T60" fmla="*/ 2147483646 w 10944"/>
                  <a:gd name="T61" fmla="*/ 2147483646 h 10652"/>
                  <a:gd name="T62" fmla="*/ 2147483646 w 10944"/>
                  <a:gd name="T63" fmla="*/ 2147483646 h 10652"/>
                  <a:gd name="T64" fmla="*/ 2147483646 w 10944"/>
                  <a:gd name="T65" fmla="*/ 2147483646 h 10652"/>
                  <a:gd name="T66" fmla="*/ 827358637 w 10944"/>
                  <a:gd name="T67" fmla="*/ 2147483646 h 10652"/>
                  <a:gd name="T68" fmla="*/ 1202504557 w 10944"/>
                  <a:gd name="T69" fmla="*/ 2147483646 h 10652"/>
                  <a:gd name="T70" fmla="*/ 2147483646 w 10944"/>
                  <a:gd name="T71" fmla="*/ 2147483646 h 10652"/>
                  <a:gd name="T72" fmla="*/ 2147483646 w 10944"/>
                  <a:gd name="T73" fmla="*/ 2147483646 h 10652"/>
                  <a:gd name="T74" fmla="*/ 2147483646 w 10944"/>
                  <a:gd name="T75" fmla="*/ 2147483646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23" name="Freeform 296">
                <a:extLst>
                  <a:ext uri="{FF2B5EF4-FFF2-40B4-BE49-F238E27FC236}">
                    <a16:creationId xmlns:a16="http://schemas.microsoft.com/office/drawing/2014/main" id="{344E6B7E-3ACD-4445-89D6-A0F84208F1EE}"/>
                  </a:ext>
                </a:extLst>
              </p:cNvPr>
              <p:cNvSpPr>
                <a:spLocks/>
              </p:cNvSpPr>
              <p:nvPr/>
            </p:nvSpPr>
            <p:spPr bwMode="auto">
              <a:xfrm>
                <a:off x="6264133" y="3657697"/>
                <a:ext cx="729993" cy="890328"/>
              </a:xfrm>
              <a:custGeom>
                <a:avLst/>
                <a:gdLst>
                  <a:gd name="T0" fmla="*/ 43475790 w 10736"/>
                  <a:gd name="T1" fmla="*/ 36857519 h 10000"/>
                  <a:gd name="T2" fmla="*/ 44151285 w 10736"/>
                  <a:gd name="T3" fmla="*/ 41259517 h 10000"/>
                  <a:gd name="T4" fmla="*/ 49670740 w 10736"/>
                  <a:gd name="T5" fmla="*/ 32122440 h 10000"/>
                  <a:gd name="T6" fmla="*/ 49009121 w 10736"/>
                  <a:gd name="T7" fmla="*/ 26808391 h 10000"/>
                  <a:gd name="T8" fmla="*/ 46520040 w 10736"/>
                  <a:gd name="T9" fmla="*/ 22128796 h 10000"/>
                  <a:gd name="T10" fmla="*/ 41986042 w 10736"/>
                  <a:gd name="T11" fmla="*/ 20145902 h 10000"/>
                  <a:gd name="T12" fmla="*/ 40681305 w 10736"/>
                  <a:gd name="T13" fmla="*/ 25642433 h 10000"/>
                  <a:gd name="T14" fmla="*/ 39034298 w 10736"/>
                  <a:gd name="T15" fmla="*/ 27434920 h 10000"/>
                  <a:gd name="T16" fmla="*/ 38224602 w 10736"/>
                  <a:gd name="T17" fmla="*/ 24976184 h 10000"/>
                  <a:gd name="T18" fmla="*/ 33561028 w 10736"/>
                  <a:gd name="T19" fmla="*/ 24999963 h 10000"/>
                  <a:gd name="T20" fmla="*/ 31497609 w 10736"/>
                  <a:gd name="T21" fmla="*/ 27506345 h 10000"/>
                  <a:gd name="T22" fmla="*/ 28397787 w 10736"/>
                  <a:gd name="T23" fmla="*/ 26673556 h 10000"/>
                  <a:gd name="T24" fmla="*/ 19616626 w 10736"/>
                  <a:gd name="T25" fmla="*/ 21668808 h 10000"/>
                  <a:gd name="T26" fmla="*/ 18584917 w 10736"/>
                  <a:gd name="T27" fmla="*/ 14998393 h 10000"/>
                  <a:gd name="T28" fmla="*/ 18584917 w 10736"/>
                  <a:gd name="T29" fmla="*/ 9168782 h 10000"/>
                  <a:gd name="T30" fmla="*/ 19584249 w 10736"/>
                  <a:gd name="T31" fmla="*/ 4766783 h 10000"/>
                  <a:gd name="T32" fmla="*/ 16521430 w 10736"/>
                  <a:gd name="T33" fmla="*/ 0 h 10000"/>
                  <a:gd name="T34" fmla="*/ 14971553 w 10736"/>
                  <a:gd name="T35" fmla="*/ 832789 h 10000"/>
                  <a:gd name="T36" fmla="*/ 9808313 w 10736"/>
                  <a:gd name="T37" fmla="*/ 3331244 h 10000"/>
                  <a:gd name="T38" fmla="*/ 11358190 w 10736"/>
                  <a:gd name="T39" fmla="*/ 9168782 h 10000"/>
                  <a:gd name="T40" fmla="*/ 9294771 w 10736"/>
                  <a:gd name="T41" fmla="*/ 16671985 h 10000"/>
                  <a:gd name="T42" fmla="*/ 4131531 w 10736"/>
                  <a:gd name="T43" fmla="*/ 24167174 h 10000"/>
                  <a:gd name="T44" fmla="*/ 3613364 w 10736"/>
                  <a:gd name="T45" fmla="*/ 30004711 h 10000"/>
                  <a:gd name="T46" fmla="*/ 3099821 w 10736"/>
                  <a:gd name="T47" fmla="*/ 35001533 h 10000"/>
                  <a:gd name="T48" fmla="*/ 0 w 10736"/>
                  <a:gd name="T49" fmla="*/ 36667200 h 10000"/>
                  <a:gd name="T50" fmla="*/ 3613364 w 10736"/>
                  <a:gd name="T51" fmla="*/ 44170315 h 10000"/>
                  <a:gd name="T52" fmla="*/ 7740201 w 10736"/>
                  <a:gd name="T53" fmla="*/ 56670341 h 10000"/>
                  <a:gd name="T54" fmla="*/ 11871732 w 10736"/>
                  <a:gd name="T55" fmla="*/ 70978706 h 10000"/>
                  <a:gd name="T56" fmla="*/ 14971553 w 10736"/>
                  <a:gd name="T57" fmla="*/ 79314699 h 10000"/>
                  <a:gd name="T58" fmla="*/ 18584917 w 10736"/>
                  <a:gd name="T59" fmla="*/ 72644373 h 10000"/>
                  <a:gd name="T60" fmla="*/ 19616626 w 10736"/>
                  <a:gd name="T61" fmla="*/ 63483517 h 10000"/>
                  <a:gd name="T62" fmla="*/ 23748157 w 10736"/>
                  <a:gd name="T63" fmla="*/ 53339096 h 10000"/>
                  <a:gd name="T64" fmla="*/ 30715733 w 10736"/>
                  <a:gd name="T65" fmla="*/ 46597345 h 10000"/>
                  <a:gd name="T66" fmla="*/ 37299342 w 10736"/>
                  <a:gd name="T67" fmla="*/ 42084380 h 10000"/>
                  <a:gd name="T68" fmla="*/ 36799675 w 10736"/>
                  <a:gd name="T69" fmla="*/ 34842920 h 10000"/>
                  <a:gd name="T70" fmla="*/ 38913972 w 10736"/>
                  <a:gd name="T71" fmla="*/ 33534290 h 1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24" name="Freeform 297">
                <a:extLst>
                  <a:ext uri="{FF2B5EF4-FFF2-40B4-BE49-F238E27FC236}">
                    <a16:creationId xmlns:a16="http://schemas.microsoft.com/office/drawing/2014/main" id="{372BCA6B-73AC-484B-B16B-4013B4748881}"/>
                  </a:ext>
                </a:extLst>
              </p:cNvPr>
              <p:cNvSpPr>
                <a:spLocks/>
              </p:cNvSpPr>
              <p:nvPr/>
            </p:nvSpPr>
            <p:spPr bwMode="auto">
              <a:xfrm>
                <a:off x="6001739" y="3625645"/>
                <a:ext cx="354904" cy="274221"/>
              </a:xfrm>
              <a:custGeom>
                <a:avLst/>
                <a:gdLst>
                  <a:gd name="T0" fmla="*/ 2147483646 w 10348"/>
                  <a:gd name="T1" fmla="*/ 127370832 h 11017"/>
                  <a:gd name="T2" fmla="*/ 2147483646 w 10348"/>
                  <a:gd name="T3" fmla="*/ 455278234 h 11017"/>
                  <a:gd name="T4" fmla="*/ 2147483646 w 10348"/>
                  <a:gd name="T5" fmla="*/ 455278234 h 11017"/>
                  <a:gd name="T6" fmla="*/ 2147483646 w 10348"/>
                  <a:gd name="T7" fmla="*/ 113815526 h 11017"/>
                  <a:gd name="T8" fmla="*/ 2147483646 w 10348"/>
                  <a:gd name="T9" fmla="*/ 0 h 11017"/>
                  <a:gd name="T10" fmla="*/ 2147483646 w 10348"/>
                  <a:gd name="T11" fmla="*/ 341462085 h 11017"/>
                  <a:gd name="T12" fmla="*/ 2147483646 w 10348"/>
                  <a:gd name="T13" fmla="*/ 569480901 h 11017"/>
                  <a:gd name="T14" fmla="*/ 2147483646 w 10348"/>
                  <a:gd name="T15" fmla="*/ 449081292 h 11017"/>
                  <a:gd name="T16" fmla="*/ 2147483646 w 10348"/>
                  <a:gd name="T17" fmla="*/ 455278234 h 11017"/>
                  <a:gd name="T18" fmla="*/ 2147483646 w 10348"/>
                  <a:gd name="T19" fmla="*/ 455278234 h 11017"/>
                  <a:gd name="T20" fmla="*/ 2147483646 w 10348"/>
                  <a:gd name="T21" fmla="*/ 341462085 h 11017"/>
                  <a:gd name="T22" fmla="*/ 2147483646 w 10348"/>
                  <a:gd name="T23" fmla="*/ 910942986 h 11017"/>
                  <a:gd name="T24" fmla="*/ 2147483646 w 10348"/>
                  <a:gd name="T25" fmla="*/ 1138590192 h 11017"/>
                  <a:gd name="T26" fmla="*/ 2147483646 w 10348"/>
                  <a:gd name="T27" fmla="*/ 1366221220 h 11017"/>
                  <a:gd name="T28" fmla="*/ 1666989379 w 10348"/>
                  <a:gd name="T29" fmla="*/ 1252405693 h 11017"/>
                  <a:gd name="T30" fmla="*/ 785608426 w 10348"/>
                  <a:gd name="T31" fmla="*/ 1101813130 h 11017"/>
                  <a:gd name="T32" fmla="*/ 487236657 w 10348"/>
                  <a:gd name="T33" fmla="*/ 1821886594 h 11017"/>
                  <a:gd name="T34" fmla="*/ 476265638 w 10348"/>
                  <a:gd name="T35" fmla="*/ 2147483646 h 11017"/>
                  <a:gd name="T36" fmla="*/ 0 w 10348"/>
                  <a:gd name="T37" fmla="*/ 2147483646 h 11017"/>
                  <a:gd name="T38" fmla="*/ 1094910263 w 10348"/>
                  <a:gd name="T39" fmla="*/ 2147483646 h 11017"/>
                  <a:gd name="T40" fmla="*/ 1071648001 w 10348"/>
                  <a:gd name="T41" fmla="*/ 2147483646 h 11017"/>
                  <a:gd name="T42" fmla="*/ 645991505 w 10348"/>
                  <a:gd name="T43" fmla="*/ 2147483646 h 11017"/>
                  <a:gd name="T44" fmla="*/ 1868186495 w 10348"/>
                  <a:gd name="T45" fmla="*/ 2147483646 h 11017"/>
                  <a:gd name="T46" fmla="*/ 2147483646 w 10348"/>
                  <a:gd name="T47" fmla="*/ 2147483646 h 11017"/>
                  <a:gd name="T48" fmla="*/ 2147483646 w 10348"/>
                  <a:gd name="T49" fmla="*/ 2147483646 h 11017"/>
                  <a:gd name="T50" fmla="*/ 2147483646 w 10348"/>
                  <a:gd name="T51" fmla="*/ 2147483646 h 11017"/>
                  <a:gd name="T52" fmla="*/ 2147483646 w 10348"/>
                  <a:gd name="T53" fmla="*/ 2147483646 h 11017"/>
                  <a:gd name="T54" fmla="*/ 2147483646 w 10348"/>
                  <a:gd name="T55" fmla="*/ 2147483646 h 11017"/>
                  <a:gd name="T56" fmla="*/ 2147483646 w 10348"/>
                  <a:gd name="T57" fmla="*/ 2147483646 h 11017"/>
                  <a:gd name="T58" fmla="*/ 2147483646 w 10348"/>
                  <a:gd name="T59" fmla="*/ 2147483646 h 11017"/>
                  <a:gd name="T60" fmla="*/ 2147483646 w 10348"/>
                  <a:gd name="T61" fmla="*/ 2147483646 h 11017"/>
                  <a:gd name="T62" fmla="*/ 2147483646 w 10348"/>
                  <a:gd name="T63" fmla="*/ 2147483646 h 11017"/>
                  <a:gd name="T64" fmla="*/ 2147483646 w 10348"/>
                  <a:gd name="T65" fmla="*/ 1910544014 h 11017"/>
                  <a:gd name="T66" fmla="*/ 2147483646 w 10348"/>
                  <a:gd name="T67" fmla="*/ 1644586688 h 11017"/>
                  <a:gd name="T68" fmla="*/ 2147483646 w 10348"/>
                  <a:gd name="T69" fmla="*/ 1240012457 h 11017"/>
                  <a:gd name="T70" fmla="*/ 2147483646 w 10348"/>
                  <a:gd name="T71" fmla="*/ 797127484 h 11017"/>
                  <a:gd name="T72" fmla="*/ 2147483646 w 10348"/>
                  <a:gd name="T73" fmla="*/ 683311958 h 11017"/>
                  <a:gd name="T74" fmla="*/ 2147483646 w 10348"/>
                  <a:gd name="T75" fmla="*/ 341462085 h 11017"/>
                  <a:gd name="T76" fmla="*/ 2147483646 w 10348"/>
                  <a:gd name="T77" fmla="*/ 12737083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25" name="Freeform 298">
                <a:extLst>
                  <a:ext uri="{FF2B5EF4-FFF2-40B4-BE49-F238E27FC236}">
                    <a16:creationId xmlns:a16="http://schemas.microsoft.com/office/drawing/2014/main" id="{AE9DD8AE-BB01-48FA-92F6-CBD5529E53C8}"/>
                  </a:ext>
                </a:extLst>
              </p:cNvPr>
              <p:cNvSpPr>
                <a:spLocks/>
              </p:cNvSpPr>
              <p:nvPr/>
            </p:nvSpPr>
            <p:spPr bwMode="auto">
              <a:xfrm>
                <a:off x="6797330" y="4035196"/>
                <a:ext cx="112695" cy="138891"/>
              </a:xfrm>
              <a:custGeom>
                <a:avLst/>
                <a:gdLst>
                  <a:gd name="T0" fmla="*/ 2147483646 w 90"/>
                  <a:gd name="T1" fmla="*/ 2147483646 h 78"/>
                  <a:gd name="T2" fmla="*/ 2147483646 w 90"/>
                  <a:gd name="T3" fmla="*/ 2147483646 h 78"/>
                  <a:gd name="T4" fmla="*/ 2147483646 w 90"/>
                  <a:gd name="T5" fmla="*/ 2147483646 h 78"/>
                  <a:gd name="T6" fmla="*/ 2147483646 w 90"/>
                  <a:gd name="T7" fmla="*/ 2147483646 h 78"/>
                  <a:gd name="T8" fmla="*/ 2147483646 w 90"/>
                  <a:gd name="T9" fmla="*/ 0 h 78"/>
                  <a:gd name="T10" fmla="*/ 2147483646 w 90"/>
                  <a:gd name="T11" fmla="*/ 0 h 78"/>
                  <a:gd name="T12" fmla="*/ 2147483646 w 90"/>
                  <a:gd name="T13" fmla="*/ 2147483646 h 78"/>
                  <a:gd name="T14" fmla="*/ 0 w 90"/>
                  <a:gd name="T15" fmla="*/ 2147483646 h 78"/>
                  <a:gd name="T16" fmla="*/ 2147483646 w 90"/>
                  <a:gd name="T17" fmla="*/ 2147483646 h 78"/>
                  <a:gd name="T18" fmla="*/ 2147483646 w 90"/>
                  <a:gd name="T19" fmla="*/ 2147483646 h 78"/>
                  <a:gd name="T20" fmla="*/ 2147483646 w 90"/>
                  <a:gd name="T21" fmla="*/ 2147483646 h 78"/>
                  <a:gd name="T22" fmla="*/ 2147483646 w 90"/>
                  <a:gd name="T23" fmla="*/ 2147483646 h 78"/>
                  <a:gd name="T24" fmla="*/ 2147483646 w 90"/>
                  <a:gd name="T25" fmla="*/ 2147483646 h 78"/>
                  <a:gd name="T26" fmla="*/ 2147483646 w 90"/>
                  <a:gd name="T27" fmla="*/ 2147483646 h 78"/>
                  <a:gd name="T28" fmla="*/ 2147483646 w 90"/>
                  <a:gd name="T29" fmla="*/ 2147483646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226" name="Freeform 331">
                <a:extLst>
                  <a:ext uri="{FF2B5EF4-FFF2-40B4-BE49-F238E27FC236}">
                    <a16:creationId xmlns:a16="http://schemas.microsoft.com/office/drawing/2014/main" id="{578D45FA-D92D-454D-8058-80C167855FE2}"/>
                  </a:ext>
                </a:extLst>
              </p:cNvPr>
              <p:cNvSpPr>
                <a:spLocks/>
              </p:cNvSpPr>
              <p:nvPr/>
            </p:nvSpPr>
            <p:spPr bwMode="auto">
              <a:xfrm>
                <a:off x="6555120" y="3853569"/>
                <a:ext cx="213616" cy="119305"/>
              </a:xfrm>
              <a:custGeom>
                <a:avLst/>
                <a:gdLst>
                  <a:gd name="T0" fmla="*/ 2147483646 w 10000"/>
                  <a:gd name="T1" fmla="*/ 2147483646 h 11631"/>
                  <a:gd name="T2" fmla="*/ 2147483646 w 10000"/>
                  <a:gd name="T3" fmla="*/ 2094439447 h 11631"/>
                  <a:gd name="T4" fmla="*/ 2147483646 w 10000"/>
                  <a:gd name="T5" fmla="*/ 545154810 h 11631"/>
                  <a:gd name="T6" fmla="*/ 2147483646 w 10000"/>
                  <a:gd name="T7" fmla="*/ 0 h 11631"/>
                  <a:gd name="T8" fmla="*/ 0 w 10000"/>
                  <a:gd name="T9" fmla="*/ 2147483646 h 11631"/>
                  <a:gd name="T10" fmla="*/ 2147483646 w 10000"/>
                  <a:gd name="T11" fmla="*/ 2147483646 h 11631"/>
                  <a:gd name="T12" fmla="*/ 2147483646 w 10000"/>
                  <a:gd name="T13" fmla="*/ 2147483646 h 11631"/>
                  <a:gd name="T14" fmla="*/ 2147483646 w 10000"/>
                  <a:gd name="T15" fmla="*/ 2147483646 h 11631"/>
                  <a:gd name="T16" fmla="*/ 2147483646 w 10000"/>
                  <a:gd name="T17" fmla="*/ 2147483646 h 11631"/>
                  <a:gd name="T18" fmla="*/ 2147483646 w 10000"/>
                  <a:gd name="T19" fmla="*/ 2147483646 h 11631"/>
                  <a:gd name="T20" fmla="*/ 2147483646 w 10000"/>
                  <a:gd name="T21" fmla="*/ 2147483646 h 11631"/>
                  <a:gd name="T22" fmla="*/ 2147483646 w 10000"/>
                  <a:gd name="T23" fmla="*/ 2147483646 h 11631"/>
                  <a:gd name="T24" fmla="*/ 2147483646 w 10000"/>
                  <a:gd name="T25" fmla="*/ 2147483646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58" name="Freeform 447">
                <a:extLst>
                  <a:ext uri="{FF2B5EF4-FFF2-40B4-BE49-F238E27FC236}">
                    <a16:creationId xmlns:a16="http://schemas.microsoft.com/office/drawing/2014/main" id="{D64BCCA1-38C2-4A81-A75C-D27202CC574B}"/>
                  </a:ext>
                </a:extLst>
              </p:cNvPr>
              <p:cNvSpPr>
                <a:spLocks/>
              </p:cNvSpPr>
              <p:nvPr/>
            </p:nvSpPr>
            <p:spPr bwMode="auto">
              <a:xfrm>
                <a:off x="6902450" y="3989388"/>
                <a:ext cx="269875" cy="488950"/>
              </a:xfrm>
              <a:custGeom>
                <a:avLst/>
                <a:gdLst>
                  <a:gd name="T0" fmla="*/ 2147483647 w 12864"/>
                  <a:gd name="T1" fmla="*/ 0 h 10000"/>
                  <a:gd name="T2" fmla="*/ 2147483647 w 12864"/>
                  <a:gd name="T3" fmla="*/ 2147483647 h 10000"/>
                  <a:gd name="T4" fmla="*/ 2147483647 w 12864"/>
                  <a:gd name="T5" fmla="*/ 2147483647 h 10000"/>
                  <a:gd name="T6" fmla="*/ 2147483647 w 12864"/>
                  <a:gd name="T7" fmla="*/ 2147483647 h 10000"/>
                  <a:gd name="T8" fmla="*/ 2147483647 w 12864"/>
                  <a:gd name="T9" fmla="*/ 2147483647 h 10000"/>
                  <a:gd name="T10" fmla="*/ 1469074108 w 12864"/>
                  <a:gd name="T11" fmla="*/ 2147483647 h 10000"/>
                  <a:gd name="T12" fmla="*/ 0 w 12864"/>
                  <a:gd name="T13" fmla="*/ 2147483647 h 10000"/>
                  <a:gd name="T14" fmla="*/ 2147483647 w 12864"/>
                  <a:gd name="T15" fmla="*/ 2147483647 h 10000"/>
                  <a:gd name="T16" fmla="*/ 2147483647 w 12864"/>
                  <a:gd name="T17" fmla="*/ 2147483647 h 10000"/>
                  <a:gd name="T18" fmla="*/ 2147483647 w 12864"/>
                  <a:gd name="T19" fmla="*/ 2147483647 h 10000"/>
                  <a:gd name="T20" fmla="*/ 2147483647 w 12864"/>
                  <a:gd name="T21" fmla="*/ 2147483647 h 10000"/>
                  <a:gd name="T22" fmla="*/ 2147483647 w 12864"/>
                  <a:gd name="T23" fmla="*/ 2147483647 h 10000"/>
                  <a:gd name="T24" fmla="*/ 2147483647 w 12864"/>
                  <a:gd name="T25" fmla="*/ 2147483647 h 10000"/>
                  <a:gd name="T26" fmla="*/ 2147483647 w 12864"/>
                  <a:gd name="T27" fmla="*/ 2147483647 h 10000"/>
                  <a:gd name="T28" fmla="*/ 2147483647 w 12864"/>
                  <a:gd name="T29" fmla="*/ 2147483647 h 10000"/>
                  <a:gd name="T30" fmla="*/ 2147483647 w 12864"/>
                  <a:gd name="T31" fmla="*/ 2147483647 h 10000"/>
                  <a:gd name="T32" fmla="*/ 2147483647 w 12864"/>
                  <a:gd name="T33" fmla="*/ 2147483647 h 10000"/>
                  <a:gd name="T34" fmla="*/ 2147483647 w 12864"/>
                  <a:gd name="T35" fmla="*/ 2147483647 h 10000"/>
                  <a:gd name="T36" fmla="*/ 2147483647 w 12864"/>
                  <a:gd name="T37" fmla="*/ 2147483647 h 10000"/>
                  <a:gd name="T38" fmla="*/ 2147483647 w 12864"/>
                  <a:gd name="T39" fmla="*/ 2147483647 h 10000"/>
                  <a:gd name="T40" fmla="*/ 2147483647 w 12864"/>
                  <a:gd name="T41" fmla="*/ 2147483647 h 10000"/>
                  <a:gd name="T42" fmla="*/ 2147483647 w 12864"/>
                  <a:gd name="T43" fmla="*/ 2147483647 h 10000"/>
                  <a:gd name="T44" fmla="*/ 2147483647 w 12864"/>
                  <a:gd name="T45" fmla="*/ 2147483647 h 10000"/>
                  <a:gd name="T46" fmla="*/ 2147483647 w 12864"/>
                  <a:gd name="T47" fmla="*/ 2147483647 h 10000"/>
                  <a:gd name="T48" fmla="*/ 2147483647 w 12864"/>
                  <a:gd name="T49" fmla="*/ 2147483647 h 10000"/>
                  <a:gd name="T50" fmla="*/ 2147483647 w 12864"/>
                  <a:gd name="T51" fmla="*/ 2147483647 h 10000"/>
                  <a:gd name="T52" fmla="*/ 2147483647 w 12864"/>
                  <a:gd name="T53" fmla="*/ 2147483647 h 10000"/>
                  <a:gd name="T54" fmla="*/ 2147483647 w 12864"/>
                  <a:gd name="T55" fmla="*/ 2147483647 h 10000"/>
                  <a:gd name="T56" fmla="*/ 2147483647 w 12864"/>
                  <a:gd name="T57" fmla="*/ 2147483647 h 10000"/>
                  <a:gd name="T58" fmla="*/ 2147483647 w 12864"/>
                  <a:gd name="T59" fmla="*/ 2147483647 h 10000"/>
                  <a:gd name="T60" fmla="*/ 2147483647 w 12864"/>
                  <a:gd name="T61" fmla="*/ 2147483647 h 10000"/>
                  <a:gd name="T62" fmla="*/ 2147483647 w 12864"/>
                  <a:gd name="T63" fmla="*/ 2147483647 h 10000"/>
                  <a:gd name="T64" fmla="*/ 2147483647 w 12864"/>
                  <a:gd name="T65" fmla="*/ 2147483647 h 10000"/>
                  <a:gd name="T66" fmla="*/ 2147483647 w 12864"/>
                  <a:gd name="T67" fmla="*/ 2147483647 h 10000"/>
                  <a:gd name="T68" fmla="*/ 2147483647 w 12864"/>
                  <a:gd name="T69" fmla="*/ 2147483647 h 10000"/>
                  <a:gd name="T70" fmla="*/ 2147483647 w 12864"/>
                  <a:gd name="T71" fmla="*/ 2147483647 h 10000"/>
                  <a:gd name="T72" fmla="*/ 2147483647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solidFill>
                <a:srgbClr val="FF0000"/>
              </a:solidFill>
              <a:ln w="9525">
                <a:solidFill>
                  <a:schemeClr val="bg1"/>
                </a:solidFill>
                <a:round/>
                <a:headEnd/>
                <a:tailEnd/>
              </a:ln>
            </p:spPr>
            <p:txBody>
              <a:bodyPr/>
              <a:lstStyle/>
              <a:p>
                <a:endParaRPr lang="el-GR"/>
              </a:p>
            </p:txBody>
          </p:sp>
          <p:sp>
            <p:nvSpPr>
              <p:cNvPr id="228" name="Freeform 241">
                <a:extLst>
                  <a:ext uri="{FF2B5EF4-FFF2-40B4-BE49-F238E27FC236}">
                    <a16:creationId xmlns:a16="http://schemas.microsoft.com/office/drawing/2014/main" id="{770ECEFB-78EE-4BB2-AEDA-4994AA810BC0}"/>
                  </a:ext>
                </a:extLst>
              </p:cNvPr>
              <p:cNvSpPr>
                <a:spLocks/>
              </p:cNvSpPr>
              <p:nvPr/>
            </p:nvSpPr>
            <p:spPr bwMode="auto">
              <a:xfrm>
                <a:off x="6788920" y="3923015"/>
                <a:ext cx="89146" cy="48077"/>
              </a:xfrm>
              <a:custGeom>
                <a:avLst/>
                <a:gdLst>
                  <a:gd name="T0" fmla="*/ 0 w 348468"/>
                  <a:gd name="T1" fmla="*/ 595 h 191264"/>
                  <a:gd name="T2" fmla="*/ 432 w 348468"/>
                  <a:gd name="T3" fmla="*/ 836 h 191264"/>
                  <a:gd name="T4" fmla="*/ 687 w 348468"/>
                  <a:gd name="T5" fmla="*/ 710 h 191264"/>
                  <a:gd name="T6" fmla="*/ 920 w 348468"/>
                  <a:gd name="T7" fmla="*/ 824 h 191264"/>
                  <a:gd name="T8" fmla="*/ 1375 w 348468"/>
                  <a:gd name="T9" fmla="*/ 733 h 191264"/>
                  <a:gd name="T10" fmla="*/ 1475 w 348468"/>
                  <a:gd name="T11" fmla="*/ 458 h 191264"/>
                  <a:gd name="T12" fmla="*/ 1075 w 348468"/>
                  <a:gd name="T13" fmla="*/ 23 h 191264"/>
                  <a:gd name="T14" fmla="*/ 709 w 348468"/>
                  <a:gd name="T15" fmla="*/ 92 h 191264"/>
                  <a:gd name="T16" fmla="*/ 488 w 348468"/>
                  <a:gd name="T17" fmla="*/ 0 h 191264"/>
                  <a:gd name="T18" fmla="*/ 122 w 348468"/>
                  <a:gd name="T19" fmla="*/ 321 h 191264"/>
                  <a:gd name="T20" fmla="*/ 0 w 348468"/>
                  <a:gd name="T21" fmla="*/ 595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solidFill>
                <a:srgbClr val="FFFF00"/>
              </a:solidFill>
              <a:ln w="9525">
                <a:solidFill>
                  <a:schemeClr val="bg1">
                    <a:lumMod val="75000"/>
                  </a:schemeClr>
                </a:solidFill>
                <a:round/>
                <a:headEnd/>
                <a:tailEnd/>
              </a:ln>
            </p:spPr>
            <p:txBody>
              <a:bodyPr/>
              <a:lstStyle/>
              <a:p>
                <a:pPr>
                  <a:defRPr/>
                </a:pPr>
                <a:endParaRPr lang="en-GB" dirty="0">
                  <a:solidFill>
                    <a:prstClr val="black"/>
                  </a:solidFill>
                </a:endParaRPr>
              </a:p>
            </p:txBody>
          </p:sp>
          <p:sp>
            <p:nvSpPr>
              <p:cNvPr id="83160" name="Freeform 448">
                <a:extLst>
                  <a:ext uri="{FF2B5EF4-FFF2-40B4-BE49-F238E27FC236}">
                    <a16:creationId xmlns:a16="http://schemas.microsoft.com/office/drawing/2014/main" id="{2071EE61-4E54-41E5-8D6A-A3DD6039E106}"/>
                  </a:ext>
                </a:extLst>
              </p:cNvPr>
              <p:cNvSpPr>
                <a:spLocks/>
              </p:cNvSpPr>
              <p:nvPr/>
            </p:nvSpPr>
            <p:spPr bwMode="auto">
              <a:xfrm>
                <a:off x="7129463" y="4565650"/>
                <a:ext cx="128587" cy="147638"/>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rgbClr val="FF0000"/>
              </a:solidFill>
              <a:ln w="9525">
                <a:solidFill>
                  <a:schemeClr val="bg1"/>
                </a:solidFill>
                <a:round/>
                <a:headEnd/>
                <a:tailEnd/>
              </a:ln>
            </p:spPr>
            <p:txBody>
              <a:bodyPr/>
              <a:lstStyle/>
              <a:p>
                <a:endParaRPr lang="el-GR"/>
              </a:p>
            </p:txBody>
          </p:sp>
          <p:sp>
            <p:nvSpPr>
              <p:cNvPr id="83161" name="Freeform 330">
                <a:extLst>
                  <a:ext uri="{FF2B5EF4-FFF2-40B4-BE49-F238E27FC236}">
                    <a16:creationId xmlns:a16="http://schemas.microsoft.com/office/drawing/2014/main" id="{8CBC7DD0-3327-4830-BEF5-AFAC311DA264}"/>
                  </a:ext>
                </a:extLst>
              </p:cNvPr>
              <p:cNvSpPr>
                <a:spLocks/>
              </p:cNvSpPr>
              <p:nvPr/>
            </p:nvSpPr>
            <p:spPr bwMode="auto">
              <a:xfrm>
                <a:off x="7164388" y="4108450"/>
                <a:ext cx="200025" cy="392113"/>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rgbClr val="FF0000"/>
              </a:solidFill>
              <a:ln w="9525">
                <a:solidFill>
                  <a:schemeClr val="bg1"/>
                </a:solidFill>
                <a:round/>
                <a:headEnd/>
                <a:tailEnd/>
              </a:ln>
            </p:spPr>
            <p:txBody>
              <a:bodyPr/>
              <a:lstStyle/>
              <a:p>
                <a:endParaRPr lang="el-GR"/>
              </a:p>
            </p:txBody>
          </p:sp>
          <p:sp>
            <p:nvSpPr>
              <p:cNvPr id="83162" name="Freeform 446">
                <a:extLst>
                  <a:ext uri="{FF2B5EF4-FFF2-40B4-BE49-F238E27FC236}">
                    <a16:creationId xmlns:a16="http://schemas.microsoft.com/office/drawing/2014/main" id="{C26FF6F7-A622-41A5-8F2B-E72BFE776259}"/>
                  </a:ext>
                </a:extLst>
              </p:cNvPr>
              <p:cNvSpPr>
                <a:spLocks/>
              </p:cNvSpPr>
              <p:nvPr/>
            </p:nvSpPr>
            <p:spPr bwMode="auto">
              <a:xfrm>
                <a:off x="7035800" y="4173538"/>
                <a:ext cx="222250" cy="400050"/>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rgbClr val="FF0000"/>
              </a:solidFill>
              <a:ln w="9525">
                <a:solidFill>
                  <a:schemeClr val="bg1"/>
                </a:solidFill>
                <a:round/>
                <a:headEnd/>
                <a:tailEnd/>
              </a:ln>
            </p:spPr>
            <p:txBody>
              <a:bodyPr/>
              <a:lstStyle/>
              <a:p>
                <a:endParaRPr lang="el-GR"/>
              </a:p>
            </p:txBody>
          </p:sp>
          <p:sp>
            <p:nvSpPr>
              <p:cNvPr id="83163" name="Freeform 329">
                <a:extLst>
                  <a:ext uri="{FF2B5EF4-FFF2-40B4-BE49-F238E27FC236}">
                    <a16:creationId xmlns:a16="http://schemas.microsoft.com/office/drawing/2014/main" id="{6CC7CD63-5738-4CF9-B3ED-6B0A9365B673}"/>
                  </a:ext>
                </a:extLst>
              </p:cNvPr>
              <p:cNvSpPr>
                <a:spLocks/>
              </p:cNvSpPr>
              <p:nvPr/>
            </p:nvSpPr>
            <p:spPr bwMode="auto">
              <a:xfrm>
                <a:off x="7102475" y="4133850"/>
                <a:ext cx="211138" cy="23018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0 h 10000"/>
                  <a:gd name="T20" fmla="*/ 2147483647 w 10000"/>
                  <a:gd name="T21" fmla="*/ 0 h 10000"/>
                  <a:gd name="T22" fmla="*/ 2147483647 w 10000"/>
                  <a:gd name="T23" fmla="*/ 2147483647 h 10000"/>
                  <a:gd name="T24" fmla="*/ 0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solidFill>
                <a:srgbClr val="FF0000"/>
              </a:solidFill>
              <a:ln w="9525">
                <a:solidFill>
                  <a:schemeClr val="bg1"/>
                </a:solidFill>
                <a:round/>
                <a:headEnd/>
                <a:tailEnd/>
              </a:ln>
            </p:spPr>
            <p:txBody>
              <a:bodyPr/>
              <a:lstStyle/>
              <a:p>
                <a:endParaRPr lang="el-GR"/>
              </a:p>
            </p:txBody>
          </p:sp>
          <p:sp>
            <p:nvSpPr>
              <p:cNvPr id="83164" name="Freeform 329">
                <a:extLst>
                  <a:ext uri="{FF2B5EF4-FFF2-40B4-BE49-F238E27FC236}">
                    <a16:creationId xmlns:a16="http://schemas.microsoft.com/office/drawing/2014/main" id="{2BE56F88-B1C4-4B50-A035-88826971EFBF}"/>
                  </a:ext>
                </a:extLst>
              </p:cNvPr>
              <p:cNvSpPr>
                <a:spLocks/>
              </p:cNvSpPr>
              <p:nvPr/>
            </p:nvSpPr>
            <p:spPr bwMode="auto">
              <a:xfrm>
                <a:off x="7165975" y="4348163"/>
                <a:ext cx="147638" cy="117475"/>
              </a:xfrm>
              <a:custGeom>
                <a:avLst/>
                <a:gdLst>
                  <a:gd name="T0" fmla="*/ 2147483647 w 10000"/>
                  <a:gd name="T1" fmla="*/ 2147483647 h 6448"/>
                  <a:gd name="T2" fmla="*/ 2147483647 w 10000"/>
                  <a:gd name="T3" fmla="*/ 2147483647 h 6448"/>
                  <a:gd name="T4" fmla="*/ 2147483647 w 10000"/>
                  <a:gd name="T5" fmla="*/ 0 h 6448"/>
                  <a:gd name="T6" fmla="*/ 2147483647 w 10000"/>
                  <a:gd name="T7" fmla="*/ 2147483647 h 6448"/>
                  <a:gd name="T8" fmla="*/ 0 w 10000"/>
                  <a:gd name="T9" fmla="*/ 2147483647 h 6448"/>
                  <a:gd name="T10" fmla="*/ 0 w 10000"/>
                  <a:gd name="T11" fmla="*/ 2147483647 h 6448"/>
                  <a:gd name="T12" fmla="*/ 2147483647 w 10000"/>
                  <a:gd name="T13" fmla="*/ 2147483647 h 6448"/>
                  <a:gd name="T14" fmla="*/ 2147483647 w 10000"/>
                  <a:gd name="T15" fmla="*/ 2147483647 h 6448"/>
                  <a:gd name="T16" fmla="*/ 2147483647 w 10000"/>
                  <a:gd name="T17" fmla="*/ 2147483647 h 6448"/>
                  <a:gd name="T18" fmla="*/ 2147483647 w 10000"/>
                  <a:gd name="T19" fmla="*/ 2147483647 h 6448"/>
                  <a:gd name="T20" fmla="*/ 2147483647 w 10000"/>
                  <a:gd name="T21" fmla="*/ 2147483647 h 6448"/>
                  <a:gd name="T22" fmla="*/ 2147483647 w 10000"/>
                  <a:gd name="T23" fmla="*/ 2147483647 h 6448"/>
                  <a:gd name="T24" fmla="*/ 2147483647 w 10000"/>
                  <a:gd name="T25" fmla="*/ 2147483647 h 6448"/>
                  <a:gd name="T26" fmla="*/ 2147483647 w 10000"/>
                  <a:gd name="T27" fmla="*/ 2147483647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solidFill>
                <a:srgbClr val="FF0000"/>
              </a:solidFill>
              <a:ln w="9525">
                <a:solidFill>
                  <a:schemeClr val="bg1"/>
                </a:solidFill>
                <a:round/>
                <a:headEnd/>
                <a:tailEnd/>
              </a:ln>
            </p:spPr>
            <p:txBody>
              <a:bodyPr/>
              <a:lstStyle/>
              <a:p>
                <a:endParaRPr lang="el-GR"/>
              </a:p>
            </p:txBody>
          </p:sp>
          <p:sp>
            <p:nvSpPr>
              <p:cNvPr id="83165" name="Freeform 398">
                <a:extLst>
                  <a:ext uri="{FF2B5EF4-FFF2-40B4-BE49-F238E27FC236}">
                    <a16:creationId xmlns:a16="http://schemas.microsoft.com/office/drawing/2014/main" id="{A84260B3-66DC-4055-AEE0-BB92FC14DBDF}"/>
                  </a:ext>
                </a:extLst>
              </p:cNvPr>
              <p:cNvSpPr>
                <a:spLocks/>
              </p:cNvSpPr>
              <p:nvPr/>
            </p:nvSpPr>
            <p:spPr bwMode="auto">
              <a:xfrm>
                <a:off x="974218" y="2562559"/>
                <a:ext cx="2047790" cy="960104"/>
              </a:xfrm>
              <a:custGeom>
                <a:avLst/>
                <a:gdLst>
                  <a:gd name="T0" fmla="*/ 1144909 w 10830"/>
                  <a:gd name="T1" fmla="*/ 733791 h 11272"/>
                  <a:gd name="T2" fmla="*/ 1199933 w 10830"/>
                  <a:gd name="T3" fmla="*/ 749379 h 11272"/>
                  <a:gd name="T4" fmla="*/ 1333238 w 10830"/>
                  <a:gd name="T5" fmla="*/ 811813 h 11272"/>
                  <a:gd name="T6" fmla="*/ 1380131 w 10830"/>
                  <a:gd name="T7" fmla="*/ 913342 h 11272"/>
                  <a:gd name="T8" fmla="*/ 1380131 w 10830"/>
                  <a:gd name="T9" fmla="*/ 960104 h 11272"/>
                  <a:gd name="T10" fmla="*/ 1483371 w 10830"/>
                  <a:gd name="T11" fmla="*/ 929015 h 11272"/>
                  <a:gd name="T12" fmla="*/ 1538206 w 10830"/>
                  <a:gd name="T13" fmla="*/ 882083 h 11272"/>
                  <a:gd name="T14" fmla="*/ 1577536 w 10830"/>
                  <a:gd name="T15" fmla="*/ 874161 h 11272"/>
                  <a:gd name="T16" fmla="*/ 1655817 w 10830"/>
                  <a:gd name="T17" fmla="*/ 858659 h 11272"/>
                  <a:gd name="T18" fmla="*/ 1718404 w 10830"/>
                  <a:gd name="T19" fmla="*/ 780808 h 11272"/>
                  <a:gd name="T20" fmla="*/ 1749792 w 10830"/>
                  <a:gd name="T21" fmla="*/ 788474 h 11272"/>
                  <a:gd name="T22" fmla="*/ 1765486 w 10830"/>
                  <a:gd name="T23" fmla="*/ 866325 h 11272"/>
                  <a:gd name="T24" fmla="*/ 1796874 w 10830"/>
                  <a:gd name="T25" fmla="*/ 843072 h 11272"/>
                  <a:gd name="T26" fmla="*/ 1820321 w 10830"/>
                  <a:gd name="T27" fmla="*/ 850823 h 11272"/>
                  <a:gd name="T28" fmla="*/ 1804627 w 10830"/>
                  <a:gd name="T29" fmla="*/ 874161 h 11272"/>
                  <a:gd name="T30" fmla="*/ 1820321 w 10830"/>
                  <a:gd name="T31" fmla="*/ 905506 h 11272"/>
                  <a:gd name="T32" fmla="*/ 1891039 w 10830"/>
                  <a:gd name="T33" fmla="*/ 850823 h 11272"/>
                  <a:gd name="T34" fmla="*/ 1914485 w 10830"/>
                  <a:gd name="T35" fmla="*/ 819564 h 11272"/>
                  <a:gd name="T36" fmla="*/ 1843767 w 10830"/>
                  <a:gd name="T37" fmla="*/ 811813 h 11272"/>
                  <a:gd name="T38" fmla="*/ 1812568 w 10830"/>
                  <a:gd name="T39" fmla="*/ 765136 h 11272"/>
                  <a:gd name="T40" fmla="*/ 1836015 w 10830"/>
                  <a:gd name="T41" fmla="*/ 741628 h 11272"/>
                  <a:gd name="T42" fmla="*/ 1843767 w 10830"/>
                  <a:gd name="T43" fmla="*/ 710368 h 11272"/>
                  <a:gd name="T44" fmla="*/ 1734098 w 10830"/>
                  <a:gd name="T45" fmla="*/ 733791 h 11272"/>
                  <a:gd name="T46" fmla="*/ 1679263 w 10830"/>
                  <a:gd name="T47" fmla="*/ 780808 h 11272"/>
                  <a:gd name="T48" fmla="*/ 1702710 w 10830"/>
                  <a:gd name="T49" fmla="*/ 726125 h 11272"/>
                  <a:gd name="T50" fmla="*/ 1757734 w 10830"/>
                  <a:gd name="T51" fmla="*/ 694866 h 11272"/>
                  <a:gd name="T52" fmla="*/ 1788744 w 10830"/>
                  <a:gd name="T53" fmla="*/ 663606 h 11272"/>
                  <a:gd name="T54" fmla="*/ 1883286 w 10830"/>
                  <a:gd name="T55" fmla="*/ 671442 h 11272"/>
                  <a:gd name="T56" fmla="*/ 1953815 w 10830"/>
                  <a:gd name="T57" fmla="*/ 663606 h 11272"/>
                  <a:gd name="T58" fmla="*/ 2008649 w 10830"/>
                  <a:gd name="T59" fmla="*/ 624681 h 11272"/>
                  <a:gd name="T60" fmla="*/ 2047790 w 10830"/>
                  <a:gd name="T61" fmla="*/ 593251 h 11272"/>
                  <a:gd name="T62" fmla="*/ 2016402 w 10830"/>
                  <a:gd name="T63" fmla="*/ 515230 h 11272"/>
                  <a:gd name="T64" fmla="*/ 2008649 w 10830"/>
                  <a:gd name="T65" fmla="*/ 476304 h 11272"/>
                  <a:gd name="T66" fmla="*/ 1906733 w 10830"/>
                  <a:gd name="T67" fmla="*/ 421792 h 11272"/>
                  <a:gd name="T68" fmla="*/ 1906733 w 10830"/>
                  <a:gd name="T69" fmla="*/ 390532 h 11272"/>
                  <a:gd name="T70" fmla="*/ 1796874 w 10830"/>
                  <a:gd name="T71" fmla="*/ 344707 h 11272"/>
                  <a:gd name="T72" fmla="*/ 1742040 w 10830"/>
                  <a:gd name="T73" fmla="*/ 312511 h 11272"/>
                  <a:gd name="T74" fmla="*/ 1726346 w 10830"/>
                  <a:gd name="T75" fmla="*/ 296924 h 11272"/>
                  <a:gd name="T76" fmla="*/ 1702710 w 10830"/>
                  <a:gd name="T77" fmla="*/ 296924 h 11272"/>
                  <a:gd name="T78" fmla="*/ 1702710 w 10830"/>
                  <a:gd name="T79" fmla="*/ 186365 h 11272"/>
                  <a:gd name="T80" fmla="*/ 1655817 w 10830"/>
                  <a:gd name="T81" fmla="*/ 178699 h 11272"/>
                  <a:gd name="T82" fmla="*/ 1598713 w 10830"/>
                  <a:gd name="T83" fmla="*/ 441297 h 11272"/>
                  <a:gd name="T84" fmla="*/ 1523268 w 10830"/>
                  <a:gd name="T85" fmla="*/ 562758 h 11272"/>
                  <a:gd name="T86" fmla="*/ 1484128 w 10830"/>
                  <a:gd name="T87" fmla="*/ 713434 h 11272"/>
                  <a:gd name="T88" fmla="*/ 1346852 w 10830"/>
                  <a:gd name="T89" fmla="*/ 680130 h 11272"/>
                  <a:gd name="T90" fmla="*/ 1242477 w 10830"/>
                  <a:gd name="T91" fmla="*/ 559095 h 11272"/>
                  <a:gd name="T92" fmla="*/ 1044127 w 10830"/>
                  <a:gd name="T93" fmla="*/ 482096 h 11272"/>
                  <a:gd name="T94" fmla="*/ 994587 w 10830"/>
                  <a:gd name="T95" fmla="*/ 161068 h 11272"/>
                  <a:gd name="T96" fmla="*/ 807015 w 10830"/>
                  <a:gd name="T97" fmla="*/ 153146 h 11272"/>
                  <a:gd name="T98" fmla="*/ 633435 w 10830"/>
                  <a:gd name="T99" fmla="*/ 28193 h 11272"/>
                  <a:gd name="T100" fmla="*/ 460800 w 10830"/>
                  <a:gd name="T101" fmla="*/ 78021 h 11272"/>
                  <a:gd name="T102" fmla="*/ 267555 w 10830"/>
                  <a:gd name="T103" fmla="*/ 0 h 11272"/>
                  <a:gd name="T104" fmla="*/ 0 w 10830"/>
                  <a:gd name="T105" fmla="*/ 131256 h 11272"/>
                  <a:gd name="T106" fmla="*/ 157508 w 10830"/>
                  <a:gd name="T107" fmla="*/ 211066 h 11272"/>
                  <a:gd name="T108" fmla="*/ 265664 w 10830"/>
                  <a:gd name="T109" fmla="*/ 403223 h 11272"/>
                  <a:gd name="T110" fmla="*/ 227469 w 10830"/>
                  <a:gd name="T111" fmla="*/ 538738 h 11272"/>
                  <a:gd name="T112" fmla="*/ 290624 w 10830"/>
                  <a:gd name="T113" fmla="*/ 624681 h 11272"/>
                  <a:gd name="T114" fmla="*/ 376846 w 10830"/>
                  <a:gd name="T115" fmla="*/ 679194 h 11272"/>
                  <a:gd name="T116" fmla="*/ 384410 w 10830"/>
                  <a:gd name="T117" fmla="*/ 718289 h 11272"/>
                  <a:gd name="T118" fmla="*/ 1066439 w 10830"/>
                  <a:gd name="T119" fmla="*/ 718289 h 11272"/>
                  <a:gd name="T120" fmla="*/ 1144909 w 10830"/>
                  <a:gd name="T121" fmla="*/ 733791 h 11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830" h="11272">
                    <a:moveTo>
                      <a:pt x="6055" y="8615"/>
                    </a:moveTo>
                    <a:lnTo>
                      <a:pt x="6346" y="8798"/>
                    </a:lnTo>
                    <a:lnTo>
                      <a:pt x="7051" y="9531"/>
                    </a:lnTo>
                    <a:cubicBezTo>
                      <a:pt x="7133" y="9929"/>
                      <a:pt x="7217" y="10326"/>
                      <a:pt x="7299" y="10723"/>
                    </a:cubicBezTo>
                    <a:lnTo>
                      <a:pt x="7299" y="11272"/>
                    </a:lnTo>
                    <a:lnTo>
                      <a:pt x="7845" y="10907"/>
                    </a:lnTo>
                    <a:lnTo>
                      <a:pt x="8135" y="10356"/>
                    </a:lnTo>
                    <a:lnTo>
                      <a:pt x="8343" y="10263"/>
                    </a:lnTo>
                    <a:lnTo>
                      <a:pt x="8757" y="10081"/>
                    </a:lnTo>
                    <a:cubicBezTo>
                      <a:pt x="8867" y="9776"/>
                      <a:pt x="8978" y="9472"/>
                      <a:pt x="9088" y="9167"/>
                    </a:cubicBezTo>
                    <a:lnTo>
                      <a:pt x="9254" y="9257"/>
                    </a:lnTo>
                    <a:cubicBezTo>
                      <a:pt x="9282" y="9562"/>
                      <a:pt x="9309" y="9866"/>
                      <a:pt x="9337" y="10171"/>
                    </a:cubicBezTo>
                    <a:cubicBezTo>
                      <a:pt x="9391" y="10080"/>
                      <a:pt x="9448" y="9989"/>
                      <a:pt x="9503" y="9898"/>
                    </a:cubicBezTo>
                    <a:lnTo>
                      <a:pt x="9627" y="9989"/>
                    </a:lnTo>
                    <a:cubicBezTo>
                      <a:pt x="9598" y="10081"/>
                      <a:pt x="9572" y="10171"/>
                      <a:pt x="9544" y="10263"/>
                    </a:cubicBezTo>
                    <a:cubicBezTo>
                      <a:pt x="9572" y="10386"/>
                      <a:pt x="9598" y="10510"/>
                      <a:pt x="9627" y="10631"/>
                    </a:cubicBezTo>
                    <a:lnTo>
                      <a:pt x="10001" y="9989"/>
                    </a:lnTo>
                    <a:cubicBezTo>
                      <a:pt x="10042" y="9866"/>
                      <a:pt x="10084" y="9746"/>
                      <a:pt x="10125" y="9622"/>
                    </a:cubicBezTo>
                    <a:lnTo>
                      <a:pt x="9751" y="9531"/>
                    </a:lnTo>
                    <a:lnTo>
                      <a:pt x="9586" y="8983"/>
                    </a:lnTo>
                    <a:cubicBezTo>
                      <a:pt x="9627" y="8890"/>
                      <a:pt x="9668" y="8798"/>
                      <a:pt x="9710" y="8707"/>
                    </a:cubicBezTo>
                    <a:cubicBezTo>
                      <a:pt x="9723" y="8585"/>
                      <a:pt x="9737" y="8463"/>
                      <a:pt x="9751" y="8340"/>
                    </a:cubicBezTo>
                    <a:lnTo>
                      <a:pt x="9171" y="8615"/>
                    </a:lnTo>
                    <a:lnTo>
                      <a:pt x="8881" y="9167"/>
                    </a:lnTo>
                    <a:cubicBezTo>
                      <a:pt x="8922" y="8953"/>
                      <a:pt x="8964" y="8738"/>
                      <a:pt x="9005" y="8525"/>
                    </a:cubicBezTo>
                    <a:lnTo>
                      <a:pt x="9296" y="8158"/>
                    </a:lnTo>
                    <a:cubicBezTo>
                      <a:pt x="9350" y="8034"/>
                      <a:pt x="9406" y="7914"/>
                      <a:pt x="9460" y="7791"/>
                    </a:cubicBezTo>
                    <a:lnTo>
                      <a:pt x="9960" y="7883"/>
                    </a:lnTo>
                    <a:lnTo>
                      <a:pt x="10333" y="7791"/>
                    </a:lnTo>
                    <a:lnTo>
                      <a:pt x="10623" y="7334"/>
                    </a:lnTo>
                    <a:lnTo>
                      <a:pt x="10830" y="6965"/>
                    </a:lnTo>
                    <a:cubicBezTo>
                      <a:pt x="10775" y="6660"/>
                      <a:pt x="10719" y="6355"/>
                      <a:pt x="10664" y="6049"/>
                    </a:cubicBezTo>
                    <a:cubicBezTo>
                      <a:pt x="10651" y="5899"/>
                      <a:pt x="10636" y="5746"/>
                      <a:pt x="10623" y="5592"/>
                    </a:cubicBezTo>
                    <a:lnTo>
                      <a:pt x="10084" y="4952"/>
                    </a:lnTo>
                    <a:lnTo>
                      <a:pt x="10084" y="4585"/>
                    </a:lnTo>
                    <a:lnTo>
                      <a:pt x="9503" y="4047"/>
                    </a:lnTo>
                    <a:lnTo>
                      <a:pt x="9213" y="3669"/>
                    </a:lnTo>
                    <a:cubicBezTo>
                      <a:pt x="9185" y="3608"/>
                      <a:pt x="9158" y="3547"/>
                      <a:pt x="9130" y="3486"/>
                    </a:cubicBezTo>
                    <a:lnTo>
                      <a:pt x="9005" y="3486"/>
                    </a:lnTo>
                    <a:lnTo>
                      <a:pt x="9005" y="2188"/>
                    </a:lnTo>
                    <a:lnTo>
                      <a:pt x="8757" y="2098"/>
                    </a:lnTo>
                    <a:cubicBezTo>
                      <a:pt x="8605" y="2543"/>
                      <a:pt x="8621" y="4354"/>
                      <a:pt x="8455" y="5181"/>
                    </a:cubicBezTo>
                    <a:cubicBezTo>
                      <a:pt x="8350" y="6013"/>
                      <a:pt x="8157" y="6075"/>
                      <a:pt x="8056" y="6607"/>
                    </a:cubicBezTo>
                    <a:cubicBezTo>
                      <a:pt x="7955" y="7139"/>
                      <a:pt x="8016" y="8227"/>
                      <a:pt x="7849" y="8376"/>
                    </a:cubicBezTo>
                    <a:cubicBezTo>
                      <a:pt x="7779" y="8115"/>
                      <a:pt x="7235" y="8305"/>
                      <a:pt x="7123" y="7985"/>
                    </a:cubicBezTo>
                    <a:cubicBezTo>
                      <a:pt x="6826" y="7337"/>
                      <a:pt x="6784" y="7299"/>
                      <a:pt x="6571" y="6564"/>
                    </a:cubicBezTo>
                    <a:lnTo>
                      <a:pt x="5522" y="5660"/>
                    </a:lnTo>
                    <a:cubicBezTo>
                      <a:pt x="5301" y="4376"/>
                      <a:pt x="5337" y="3093"/>
                      <a:pt x="5260" y="1891"/>
                    </a:cubicBezTo>
                    <a:lnTo>
                      <a:pt x="4268" y="1798"/>
                    </a:lnTo>
                    <a:cubicBezTo>
                      <a:pt x="3962" y="1338"/>
                      <a:pt x="3685" y="665"/>
                      <a:pt x="3350" y="331"/>
                    </a:cubicBezTo>
                    <a:cubicBezTo>
                      <a:pt x="2914" y="499"/>
                      <a:pt x="2909" y="667"/>
                      <a:pt x="2437" y="916"/>
                    </a:cubicBezTo>
                    <a:lnTo>
                      <a:pt x="1415" y="0"/>
                    </a:lnTo>
                    <a:lnTo>
                      <a:pt x="0" y="1541"/>
                    </a:lnTo>
                    <a:lnTo>
                      <a:pt x="833" y="2478"/>
                    </a:lnTo>
                    <a:cubicBezTo>
                      <a:pt x="818" y="2722"/>
                      <a:pt x="1418" y="4489"/>
                      <a:pt x="1405" y="4734"/>
                    </a:cubicBezTo>
                    <a:cubicBezTo>
                      <a:pt x="1338" y="5264"/>
                      <a:pt x="1270" y="5795"/>
                      <a:pt x="1203" y="6325"/>
                    </a:cubicBezTo>
                    <a:lnTo>
                      <a:pt x="1537" y="7334"/>
                    </a:lnTo>
                    <a:lnTo>
                      <a:pt x="1993" y="7974"/>
                    </a:lnTo>
                    <a:cubicBezTo>
                      <a:pt x="2005" y="8126"/>
                      <a:pt x="2021" y="8278"/>
                      <a:pt x="2033" y="8433"/>
                    </a:cubicBezTo>
                    <a:lnTo>
                      <a:pt x="5640" y="8433"/>
                    </a:lnTo>
                    <a:lnTo>
                      <a:pt x="6055" y="8615"/>
                    </a:lnTo>
                    <a:close/>
                  </a:path>
                </a:pathLst>
              </a:custGeom>
              <a:solidFill>
                <a:srgbClr val="92D050"/>
              </a:solidFill>
              <a:ln w="9525">
                <a:solidFill>
                  <a:schemeClr val="bg1"/>
                </a:solidFill>
                <a:round/>
                <a:headEnd/>
                <a:tailEnd/>
              </a:ln>
            </p:spPr>
            <p:txBody>
              <a:bodyPr/>
              <a:lstStyle/>
              <a:p>
                <a:endParaRPr lang="el-GR"/>
              </a:p>
            </p:txBody>
          </p:sp>
          <p:sp>
            <p:nvSpPr>
              <p:cNvPr id="83166" name="Freeform 234">
                <a:extLst>
                  <a:ext uri="{FF2B5EF4-FFF2-40B4-BE49-F238E27FC236}">
                    <a16:creationId xmlns:a16="http://schemas.microsoft.com/office/drawing/2014/main" id="{1D77B625-3D26-4346-B1D4-D049922F1029}"/>
                  </a:ext>
                </a:extLst>
              </p:cNvPr>
              <p:cNvSpPr>
                <a:spLocks/>
              </p:cNvSpPr>
              <p:nvPr/>
            </p:nvSpPr>
            <p:spPr bwMode="auto">
              <a:xfrm>
                <a:off x="2528545" y="4550156"/>
                <a:ext cx="767661" cy="472544"/>
              </a:xfrm>
              <a:custGeom>
                <a:avLst/>
                <a:gdLst/>
                <a:ahLst/>
                <a:cxnLst/>
                <a:rect l="0" t="0" r="r" b="b"/>
                <a:pathLst>
                  <a:path w="767661" h="472544">
                    <a:moveTo>
                      <a:pt x="149650" y="463876"/>
                    </a:moveTo>
                    <a:lnTo>
                      <a:pt x="279660" y="459543"/>
                    </a:lnTo>
                    <a:cubicBezTo>
                      <a:pt x="293352" y="458841"/>
                      <a:pt x="324211" y="455272"/>
                      <a:pt x="340331" y="450875"/>
                    </a:cubicBezTo>
                    <a:cubicBezTo>
                      <a:pt x="349145" y="448471"/>
                      <a:pt x="357666" y="445097"/>
                      <a:pt x="366333" y="442208"/>
                    </a:cubicBezTo>
                    <a:lnTo>
                      <a:pt x="431337" y="420540"/>
                    </a:lnTo>
                    <a:lnTo>
                      <a:pt x="457339" y="411872"/>
                    </a:lnTo>
                    <a:lnTo>
                      <a:pt x="470340" y="407539"/>
                    </a:lnTo>
                    <a:cubicBezTo>
                      <a:pt x="485641" y="392238"/>
                      <a:pt x="472433" y="402240"/>
                      <a:pt x="500676" y="394538"/>
                    </a:cubicBezTo>
                    <a:cubicBezTo>
                      <a:pt x="509490" y="392134"/>
                      <a:pt x="518011" y="388760"/>
                      <a:pt x="526678" y="385871"/>
                    </a:cubicBezTo>
                    <a:cubicBezTo>
                      <a:pt x="531012" y="384426"/>
                      <a:pt x="535878" y="384071"/>
                      <a:pt x="539679" y="381537"/>
                    </a:cubicBezTo>
                    <a:cubicBezTo>
                      <a:pt x="544013" y="378648"/>
                      <a:pt x="547893" y="374922"/>
                      <a:pt x="552680" y="372870"/>
                    </a:cubicBezTo>
                    <a:cubicBezTo>
                      <a:pt x="558154" y="370524"/>
                      <a:pt x="564287" y="370172"/>
                      <a:pt x="570014" y="368536"/>
                    </a:cubicBezTo>
                    <a:cubicBezTo>
                      <a:pt x="599881" y="360002"/>
                      <a:pt x="562101" y="367687"/>
                      <a:pt x="609017" y="359869"/>
                    </a:cubicBezTo>
                    <a:lnTo>
                      <a:pt x="635019" y="351201"/>
                    </a:lnTo>
                    <a:lnTo>
                      <a:pt x="648020" y="346868"/>
                    </a:lnTo>
                    <a:cubicBezTo>
                      <a:pt x="669981" y="324905"/>
                      <a:pt x="641560" y="350744"/>
                      <a:pt x="669688" y="333867"/>
                    </a:cubicBezTo>
                    <a:cubicBezTo>
                      <a:pt x="673192" y="331765"/>
                      <a:pt x="674700" y="327026"/>
                      <a:pt x="678355" y="325199"/>
                    </a:cubicBezTo>
                    <a:cubicBezTo>
                      <a:pt x="686527" y="321113"/>
                      <a:pt x="704357" y="316532"/>
                      <a:pt x="704357" y="316532"/>
                    </a:cubicBezTo>
                    <a:cubicBezTo>
                      <a:pt x="725295" y="295596"/>
                      <a:pt x="698679" y="321076"/>
                      <a:pt x="726026" y="299198"/>
                    </a:cubicBezTo>
                    <a:cubicBezTo>
                      <a:pt x="729217" y="296646"/>
                      <a:pt x="731804" y="293419"/>
                      <a:pt x="734693" y="290530"/>
                    </a:cubicBezTo>
                    <a:lnTo>
                      <a:pt x="743360" y="264528"/>
                    </a:lnTo>
                    <a:cubicBezTo>
                      <a:pt x="744805" y="260194"/>
                      <a:pt x="746943" y="256033"/>
                      <a:pt x="747694" y="251527"/>
                    </a:cubicBezTo>
                    <a:cubicBezTo>
                      <a:pt x="749139" y="242860"/>
                      <a:pt x="749897" y="234050"/>
                      <a:pt x="752028" y="225526"/>
                    </a:cubicBezTo>
                    <a:cubicBezTo>
                      <a:pt x="754244" y="216663"/>
                      <a:pt x="757806" y="208191"/>
                      <a:pt x="760695" y="199524"/>
                    </a:cubicBezTo>
                    <a:cubicBezTo>
                      <a:pt x="762139" y="195190"/>
                      <a:pt x="772387" y="191129"/>
                      <a:pt x="765028" y="186523"/>
                    </a:cubicBezTo>
                    <a:cubicBezTo>
                      <a:pt x="757669" y="181917"/>
                      <a:pt x="730312" y="176477"/>
                      <a:pt x="716540" y="171886"/>
                    </a:cubicBezTo>
                    <a:cubicBezTo>
                      <a:pt x="704485" y="167868"/>
                      <a:pt x="712166" y="159526"/>
                      <a:pt x="708691" y="156187"/>
                    </a:cubicBezTo>
                    <a:cubicBezTo>
                      <a:pt x="705216" y="152848"/>
                      <a:pt x="703226" y="155171"/>
                      <a:pt x="695690" y="151853"/>
                    </a:cubicBezTo>
                    <a:cubicBezTo>
                      <a:pt x="688154" y="148535"/>
                      <a:pt x="674875" y="141176"/>
                      <a:pt x="663475" y="136277"/>
                    </a:cubicBezTo>
                    <a:cubicBezTo>
                      <a:pt x="652075" y="131378"/>
                      <a:pt x="636524" y="126792"/>
                      <a:pt x="627291" y="122458"/>
                    </a:cubicBezTo>
                    <a:cubicBezTo>
                      <a:pt x="618058" y="118124"/>
                      <a:pt x="615456" y="117654"/>
                      <a:pt x="608077" y="110275"/>
                    </a:cubicBezTo>
                    <a:cubicBezTo>
                      <a:pt x="598117" y="80397"/>
                      <a:pt x="598142" y="93310"/>
                      <a:pt x="583015" y="78181"/>
                    </a:cubicBezTo>
                    <a:cubicBezTo>
                      <a:pt x="581571" y="72403"/>
                      <a:pt x="580393" y="66552"/>
                      <a:pt x="578682" y="60847"/>
                    </a:cubicBezTo>
                    <a:cubicBezTo>
                      <a:pt x="576057" y="52096"/>
                      <a:pt x="570014" y="34845"/>
                      <a:pt x="570014" y="34845"/>
                    </a:cubicBezTo>
                    <a:cubicBezTo>
                      <a:pt x="546902" y="69514"/>
                      <a:pt x="577237" y="27622"/>
                      <a:pt x="548346" y="56513"/>
                    </a:cubicBezTo>
                    <a:cubicBezTo>
                      <a:pt x="544663" y="60196"/>
                      <a:pt x="545160" y="67560"/>
                      <a:pt x="539679" y="69514"/>
                    </a:cubicBezTo>
                    <a:cubicBezTo>
                      <a:pt x="534198" y="71468"/>
                      <a:pt x="526545" y="67359"/>
                      <a:pt x="515458" y="68238"/>
                    </a:cubicBezTo>
                    <a:cubicBezTo>
                      <a:pt x="504372" y="69117"/>
                      <a:pt x="504332" y="64396"/>
                      <a:pt x="473160" y="74787"/>
                    </a:cubicBezTo>
                    <a:cubicBezTo>
                      <a:pt x="451996" y="75918"/>
                      <a:pt x="428196" y="78337"/>
                      <a:pt x="409669" y="78181"/>
                    </a:cubicBezTo>
                    <a:cubicBezTo>
                      <a:pt x="391142" y="78025"/>
                      <a:pt x="377546" y="77436"/>
                      <a:pt x="361999" y="73848"/>
                    </a:cubicBezTo>
                    <a:cubicBezTo>
                      <a:pt x="358018" y="72929"/>
                      <a:pt x="356221" y="68069"/>
                      <a:pt x="353332" y="65180"/>
                    </a:cubicBezTo>
                    <a:cubicBezTo>
                      <a:pt x="364224" y="32502"/>
                      <a:pt x="354682" y="80512"/>
                      <a:pt x="371485" y="46906"/>
                    </a:cubicBezTo>
                    <a:cubicBezTo>
                      <a:pt x="373528" y="42820"/>
                      <a:pt x="369222" y="30512"/>
                      <a:pt x="370666" y="26178"/>
                    </a:cubicBezTo>
                    <a:cubicBezTo>
                      <a:pt x="368239" y="14043"/>
                      <a:pt x="371583" y="-1852"/>
                      <a:pt x="353332" y="176"/>
                    </a:cubicBezTo>
                    <a:cubicBezTo>
                      <a:pt x="344252" y="1185"/>
                      <a:pt x="337135" y="5661"/>
                      <a:pt x="327330" y="8843"/>
                    </a:cubicBezTo>
                    <a:cubicBezTo>
                      <a:pt x="317525" y="12025"/>
                      <a:pt x="299812" y="17101"/>
                      <a:pt x="294504" y="19268"/>
                    </a:cubicBezTo>
                    <a:cubicBezTo>
                      <a:pt x="289196" y="21435"/>
                      <a:pt x="301369" y="20400"/>
                      <a:pt x="295481" y="21844"/>
                    </a:cubicBezTo>
                    <a:cubicBezTo>
                      <a:pt x="289593" y="23288"/>
                      <a:pt x="292149" y="26491"/>
                      <a:pt x="259176" y="27935"/>
                    </a:cubicBezTo>
                    <a:cubicBezTo>
                      <a:pt x="226204" y="29380"/>
                      <a:pt x="126734" y="29359"/>
                      <a:pt x="97646" y="30511"/>
                    </a:cubicBezTo>
                    <a:cubicBezTo>
                      <a:pt x="68558" y="31663"/>
                      <a:pt x="88979" y="33400"/>
                      <a:pt x="84646" y="34845"/>
                    </a:cubicBezTo>
                    <a:cubicBezTo>
                      <a:pt x="64081" y="55410"/>
                      <a:pt x="75064" y="49596"/>
                      <a:pt x="54310" y="56513"/>
                    </a:cubicBezTo>
                    <a:cubicBezTo>
                      <a:pt x="41110" y="76313"/>
                      <a:pt x="49326" y="65831"/>
                      <a:pt x="28308" y="86849"/>
                    </a:cubicBezTo>
                    <a:cubicBezTo>
                      <a:pt x="24625" y="90532"/>
                      <a:pt x="22895" y="95783"/>
                      <a:pt x="19641" y="99850"/>
                    </a:cubicBezTo>
                    <a:cubicBezTo>
                      <a:pt x="17089" y="103041"/>
                      <a:pt x="13862" y="105628"/>
                      <a:pt x="10973" y="108517"/>
                    </a:cubicBezTo>
                    <a:cubicBezTo>
                      <a:pt x="8084" y="117184"/>
                      <a:pt x="-5296" y="129451"/>
                      <a:pt x="2306" y="134519"/>
                    </a:cubicBezTo>
                    <a:cubicBezTo>
                      <a:pt x="10973" y="140297"/>
                      <a:pt x="18426" y="148559"/>
                      <a:pt x="28308" y="151853"/>
                    </a:cubicBezTo>
                    <a:cubicBezTo>
                      <a:pt x="32642" y="153298"/>
                      <a:pt x="37223" y="154144"/>
                      <a:pt x="41309" y="156187"/>
                    </a:cubicBezTo>
                    <a:cubicBezTo>
                      <a:pt x="93362" y="182213"/>
                      <a:pt x="22659" y="149331"/>
                      <a:pt x="62977" y="173522"/>
                    </a:cubicBezTo>
                    <a:cubicBezTo>
                      <a:pt x="74524" y="180450"/>
                      <a:pt x="111138" y="181762"/>
                      <a:pt x="114981" y="182189"/>
                    </a:cubicBezTo>
                    <a:cubicBezTo>
                      <a:pt x="111802" y="207617"/>
                      <a:pt x="107996" y="202984"/>
                      <a:pt x="91677" y="215223"/>
                    </a:cubicBezTo>
                    <a:cubicBezTo>
                      <a:pt x="83344" y="221473"/>
                      <a:pt x="82886" y="233623"/>
                      <a:pt x="75978" y="242860"/>
                    </a:cubicBezTo>
                    <a:cubicBezTo>
                      <a:pt x="69070" y="252097"/>
                      <a:pt x="60544" y="239700"/>
                      <a:pt x="50229" y="270644"/>
                    </a:cubicBezTo>
                    <a:cubicBezTo>
                      <a:pt x="51589" y="278717"/>
                      <a:pt x="54352" y="288661"/>
                      <a:pt x="54310" y="294864"/>
                    </a:cubicBezTo>
                    <a:cubicBezTo>
                      <a:pt x="54268" y="301068"/>
                      <a:pt x="51421" y="303531"/>
                      <a:pt x="49976" y="307865"/>
                    </a:cubicBezTo>
                    <a:cubicBezTo>
                      <a:pt x="52337" y="314948"/>
                      <a:pt x="55903" y="329446"/>
                      <a:pt x="62977" y="333867"/>
                    </a:cubicBezTo>
                    <a:cubicBezTo>
                      <a:pt x="81649" y="345537"/>
                      <a:pt x="119117" y="345274"/>
                      <a:pt x="136649" y="346868"/>
                    </a:cubicBezTo>
                    <a:lnTo>
                      <a:pt x="145317" y="372870"/>
                    </a:lnTo>
                    <a:cubicBezTo>
                      <a:pt x="148611" y="382752"/>
                      <a:pt x="160655" y="389269"/>
                      <a:pt x="162651" y="398871"/>
                    </a:cubicBezTo>
                    <a:cubicBezTo>
                      <a:pt x="164647" y="408473"/>
                      <a:pt x="158739" y="418204"/>
                      <a:pt x="157295" y="430483"/>
                    </a:cubicBezTo>
                    <a:cubicBezTo>
                      <a:pt x="155851" y="442762"/>
                      <a:pt x="157595" y="466044"/>
                      <a:pt x="153984" y="472544"/>
                    </a:cubicBezTo>
                    <a:lnTo>
                      <a:pt x="149650" y="463876"/>
                    </a:lnTo>
                    <a:close/>
                  </a:path>
                </a:pathLst>
              </a:custGeom>
              <a:solidFill>
                <a:srgbClr val="FF0000"/>
              </a:solidFill>
              <a:ln w="9525">
                <a:solidFill>
                  <a:schemeClr val="bg1"/>
                </a:solidFill>
                <a:round/>
                <a:headEnd/>
                <a:tailEnd/>
              </a:ln>
            </p:spPr>
            <p:txBody>
              <a:bodyPr/>
              <a:lstStyle/>
              <a:p>
                <a:endParaRPr lang="el-GR"/>
              </a:p>
            </p:txBody>
          </p:sp>
        </p:grpSp>
        <p:grpSp>
          <p:nvGrpSpPr>
            <p:cNvPr id="82965" name="Group 8">
              <a:extLst>
                <a:ext uri="{FF2B5EF4-FFF2-40B4-BE49-F238E27FC236}">
                  <a16:creationId xmlns:a16="http://schemas.microsoft.com/office/drawing/2014/main" id="{C79075E0-4EDD-48E3-B58A-B9A6216651FD}"/>
                </a:ext>
              </a:extLst>
            </p:cNvPr>
            <p:cNvGrpSpPr>
              <a:grpSpLocks/>
            </p:cNvGrpSpPr>
            <p:nvPr/>
          </p:nvGrpSpPr>
          <p:grpSpPr bwMode="auto">
            <a:xfrm rot="218802">
              <a:off x="5563183" y="3062278"/>
              <a:ext cx="984153" cy="689970"/>
              <a:chOff x="5644745" y="3064549"/>
              <a:chExt cx="881711" cy="641116"/>
            </a:xfrm>
          </p:grpSpPr>
          <p:sp>
            <p:nvSpPr>
              <p:cNvPr id="82971" name="Freeform 30">
                <a:extLst>
                  <a:ext uri="{FF2B5EF4-FFF2-40B4-BE49-F238E27FC236}">
                    <a16:creationId xmlns:a16="http://schemas.microsoft.com/office/drawing/2014/main" id="{58099A95-32BE-4EAE-BAEA-51C9BB59AD5E}"/>
                  </a:ext>
                </a:extLst>
              </p:cNvPr>
              <p:cNvSpPr>
                <a:spLocks/>
              </p:cNvSpPr>
              <p:nvPr>
                <p:custDataLst>
                  <p:tags r:id="rId1"/>
                </p:custDataLst>
              </p:nvPr>
            </p:nvSpPr>
            <p:spPr bwMode="auto">
              <a:xfrm>
                <a:off x="5644745" y="3064549"/>
                <a:ext cx="881711" cy="471349"/>
              </a:xfrm>
              <a:custGeom>
                <a:avLst/>
                <a:gdLst/>
                <a:ahLst/>
                <a:cxnLst/>
                <a:rect l="0" t="0" r="r" b="b"/>
                <a:pathLst>
                  <a:path w="10080" h="10418">
                    <a:moveTo>
                      <a:pt x="2846" y="9989"/>
                    </a:moveTo>
                    <a:lnTo>
                      <a:pt x="2682" y="9989"/>
                    </a:lnTo>
                    <a:cubicBezTo>
                      <a:pt x="2639" y="9846"/>
                      <a:pt x="2595" y="9704"/>
                      <a:pt x="2552" y="9561"/>
                    </a:cubicBezTo>
                    <a:lnTo>
                      <a:pt x="2183" y="9271"/>
                    </a:lnTo>
                    <a:cubicBezTo>
                      <a:pt x="2175" y="9275"/>
                      <a:pt x="2167" y="9278"/>
                      <a:pt x="2159" y="9282"/>
                    </a:cubicBezTo>
                    <a:lnTo>
                      <a:pt x="2129" y="9294"/>
                    </a:lnTo>
                    <a:lnTo>
                      <a:pt x="2114" y="9306"/>
                    </a:lnTo>
                    <a:lnTo>
                      <a:pt x="2099" y="9306"/>
                    </a:lnTo>
                    <a:cubicBezTo>
                      <a:pt x="2091" y="9302"/>
                      <a:pt x="2082" y="9298"/>
                      <a:pt x="2074" y="9294"/>
                    </a:cubicBezTo>
                    <a:lnTo>
                      <a:pt x="2054" y="9271"/>
                    </a:lnTo>
                    <a:cubicBezTo>
                      <a:pt x="2042" y="9302"/>
                      <a:pt x="2031" y="9333"/>
                      <a:pt x="2019" y="9364"/>
                    </a:cubicBezTo>
                    <a:cubicBezTo>
                      <a:pt x="2006" y="9387"/>
                      <a:pt x="1992" y="9410"/>
                      <a:pt x="1979" y="9433"/>
                    </a:cubicBezTo>
                    <a:cubicBezTo>
                      <a:pt x="1972" y="9448"/>
                      <a:pt x="1966" y="9464"/>
                      <a:pt x="1959" y="9479"/>
                    </a:cubicBezTo>
                    <a:cubicBezTo>
                      <a:pt x="1956" y="9495"/>
                      <a:pt x="1952" y="9510"/>
                      <a:pt x="1949" y="9526"/>
                    </a:cubicBezTo>
                    <a:cubicBezTo>
                      <a:pt x="1947" y="9557"/>
                      <a:pt x="1946" y="9587"/>
                      <a:pt x="1944" y="9618"/>
                    </a:cubicBezTo>
                    <a:cubicBezTo>
                      <a:pt x="1947" y="9649"/>
                      <a:pt x="1951" y="9680"/>
                      <a:pt x="1954" y="9711"/>
                    </a:cubicBezTo>
                    <a:cubicBezTo>
                      <a:pt x="1944" y="9703"/>
                      <a:pt x="1934" y="9696"/>
                      <a:pt x="1924" y="9688"/>
                    </a:cubicBezTo>
                    <a:cubicBezTo>
                      <a:pt x="1916" y="9680"/>
                      <a:pt x="1907" y="9673"/>
                      <a:pt x="1899" y="9665"/>
                    </a:cubicBezTo>
                    <a:cubicBezTo>
                      <a:pt x="1894" y="9653"/>
                      <a:pt x="1889" y="9642"/>
                      <a:pt x="1884" y="9630"/>
                    </a:cubicBezTo>
                    <a:cubicBezTo>
                      <a:pt x="1879" y="9618"/>
                      <a:pt x="1874" y="9607"/>
                      <a:pt x="1869" y="9595"/>
                    </a:cubicBezTo>
                    <a:cubicBezTo>
                      <a:pt x="1864" y="9576"/>
                      <a:pt x="1859" y="9556"/>
                      <a:pt x="1854" y="9537"/>
                    </a:cubicBezTo>
                    <a:cubicBezTo>
                      <a:pt x="1852" y="9522"/>
                      <a:pt x="1851" y="9506"/>
                      <a:pt x="1849" y="9491"/>
                    </a:cubicBezTo>
                    <a:cubicBezTo>
                      <a:pt x="1847" y="9472"/>
                      <a:pt x="1846" y="9452"/>
                      <a:pt x="1844" y="9433"/>
                    </a:cubicBezTo>
                    <a:cubicBezTo>
                      <a:pt x="1842" y="9414"/>
                      <a:pt x="1841" y="9394"/>
                      <a:pt x="1839" y="9375"/>
                    </a:cubicBezTo>
                    <a:cubicBezTo>
                      <a:pt x="1841" y="9290"/>
                      <a:pt x="1842" y="9205"/>
                      <a:pt x="1844" y="9120"/>
                    </a:cubicBezTo>
                    <a:cubicBezTo>
                      <a:pt x="1847" y="9027"/>
                      <a:pt x="1851" y="8935"/>
                      <a:pt x="1854" y="8842"/>
                    </a:cubicBezTo>
                    <a:lnTo>
                      <a:pt x="1755" y="8842"/>
                    </a:lnTo>
                    <a:cubicBezTo>
                      <a:pt x="1722" y="8838"/>
                      <a:pt x="1688" y="8835"/>
                      <a:pt x="1655" y="8831"/>
                    </a:cubicBezTo>
                    <a:cubicBezTo>
                      <a:pt x="1647" y="8827"/>
                      <a:pt x="1638" y="8823"/>
                      <a:pt x="1630" y="8819"/>
                    </a:cubicBezTo>
                    <a:lnTo>
                      <a:pt x="1615" y="8807"/>
                    </a:lnTo>
                    <a:cubicBezTo>
                      <a:pt x="1610" y="8799"/>
                      <a:pt x="1605" y="8792"/>
                      <a:pt x="1600" y="8784"/>
                    </a:cubicBezTo>
                    <a:cubicBezTo>
                      <a:pt x="1595" y="8772"/>
                      <a:pt x="1590" y="8761"/>
                      <a:pt x="1585" y="8749"/>
                    </a:cubicBezTo>
                    <a:cubicBezTo>
                      <a:pt x="1580" y="8738"/>
                      <a:pt x="1575" y="8726"/>
                      <a:pt x="1570" y="8715"/>
                    </a:cubicBezTo>
                    <a:cubicBezTo>
                      <a:pt x="1567" y="8699"/>
                      <a:pt x="1563" y="8684"/>
                      <a:pt x="1560" y="8668"/>
                    </a:cubicBezTo>
                    <a:cubicBezTo>
                      <a:pt x="1558" y="8653"/>
                      <a:pt x="1557" y="8637"/>
                      <a:pt x="1555" y="8622"/>
                    </a:cubicBezTo>
                    <a:lnTo>
                      <a:pt x="1555" y="8564"/>
                    </a:lnTo>
                    <a:lnTo>
                      <a:pt x="1520" y="8552"/>
                    </a:lnTo>
                    <a:lnTo>
                      <a:pt x="1491" y="8529"/>
                    </a:lnTo>
                    <a:cubicBezTo>
                      <a:pt x="1481" y="8517"/>
                      <a:pt x="1471" y="8506"/>
                      <a:pt x="1461" y="8494"/>
                    </a:cubicBezTo>
                    <a:cubicBezTo>
                      <a:pt x="1453" y="8475"/>
                      <a:pt x="1444" y="8456"/>
                      <a:pt x="1436" y="8437"/>
                    </a:cubicBezTo>
                    <a:cubicBezTo>
                      <a:pt x="1423" y="8398"/>
                      <a:pt x="1409" y="8360"/>
                      <a:pt x="1396" y="8321"/>
                    </a:cubicBezTo>
                    <a:cubicBezTo>
                      <a:pt x="1384" y="8267"/>
                      <a:pt x="1373" y="8212"/>
                      <a:pt x="1361" y="8158"/>
                    </a:cubicBezTo>
                    <a:cubicBezTo>
                      <a:pt x="1348" y="8112"/>
                      <a:pt x="1334" y="8065"/>
                      <a:pt x="1321" y="8019"/>
                    </a:cubicBezTo>
                    <a:cubicBezTo>
                      <a:pt x="1306" y="7981"/>
                      <a:pt x="1291" y="7942"/>
                      <a:pt x="1276" y="7904"/>
                    </a:cubicBezTo>
                    <a:cubicBezTo>
                      <a:pt x="1268" y="7885"/>
                      <a:pt x="1259" y="7865"/>
                      <a:pt x="1251" y="7846"/>
                    </a:cubicBezTo>
                    <a:cubicBezTo>
                      <a:pt x="1241" y="7834"/>
                      <a:pt x="1231" y="7823"/>
                      <a:pt x="1221" y="7811"/>
                    </a:cubicBezTo>
                    <a:cubicBezTo>
                      <a:pt x="1213" y="7803"/>
                      <a:pt x="1204" y="7796"/>
                      <a:pt x="1196" y="7788"/>
                    </a:cubicBezTo>
                    <a:lnTo>
                      <a:pt x="1157" y="7776"/>
                    </a:lnTo>
                    <a:lnTo>
                      <a:pt x="1157" y="7637"/>
                    </a:lnTo>
                    <a:lnTo>
                      <a:pt x="1157" y="7486"/>
                    </a:lnTo>
                    <a:cubicBezTo>
                      <a:pt x="1168" y="7478"/>
                      <a:pt x="1180" y="7471"/>
                      <a:pt x="1191" y="7463"/>
                    </a:cubicBezTo>
                    <a:cubicBezTo>
                      <a:pt x="1201" y="7448"/>
                      <a:pt x="1211" y="7432"/>
                      <a:pt x="1221" y="7417"/>
                    </a:cubicBezTo>
                    <a:cubicBezTo>
                      <a:pt x="1231" y="7401"/>
                      <a:pt x="1241" y="7386"/>
                      <a:pt x="1251" y="7370"/>
                    </a:cubicBezTo>
                    <a:cubicBezTo>
                      <a:pt x="1254" y="7362"/>
                      <a:pt x="1258" y="7355"/>
                      <a:pt x="1261" y="7347"/>
                    </a:cubicBezTo>
                    <a:lnTo>
                      <a:pt x="1261" y="7301"/>
                    </a:lnTo>
                    <a:cubicBezTo>
                      <a:pt x="1263" y="7289"/>
                      <a:pt x="1264" y="7278"/>
                      <a:pt x="1266" y="7266"/>
                    </a:cubicBezTo>
                    <a:cubicBezTo>
                      <a:pt x="1269" y="7254"/>
                      <a:pt x="1273" y="7243"/>
                      <a:pt x="1276" y="7231"/>
                    </a:cubicBezTo>
                    <a:cubicBezTo>
                      <a:pt x="1281" y="7220"/>
                      <a:pt x="1286" y="7208"/>
                      <a:pt x="1291" y="7197"/>
                    </a:cubicBezTo>
                    <a:lnTo>
                      <a:pt x="1336" y="7116"/>
                    </a:lnTo>
                    <a:lnTo>
                      <a:pt x="1391" y="7058"/>
                    </a:lnTo>
                    <a:cubicBezTo>
                      <a:pt x="1413" y="7039"/>
                      <a:pt x="1434" y="7019"/>
                      <a:pt x="1456" y="7000"/>
                    </a:cubicBezTo>
                    <a:cubicBezTo>
                      <a:pt x="1484" y="6984"/>
                      <a:pt x="1512" y="6969"/>
                      <a:pt x="1540" y="6953"/>
                    </a:cubicBezTo>
                    <a:lnTo>
                      <a:pt x="1625" y="6919"/>
                    </a:lnTo>
                    <a:lnTo>
                      <a:pt x="1720" y="6919"/>
                    </a:lnTo>
                    <a:cubicBezTo>
                      <a:pt x="1708" y="6853"/>
                      <a:pt x="1697" y="6788"/>
                      <a:pt x="1685" y="6722"/>
                    </a:cubicBezTo>
                    <a:cubicBezTo>
                      <a:pt x="1672" y="6664"/>
                      <a:pt x="1658" y="6606"/>
                      <a:pt x="1645" y="6548"/>
                    </a:cubicBezTo>
                    <a:cubicBezTo>
                      <a:pt x="1637" y="6513"/>
                      <a:pt x="1628" y="6478"/>
                      <a:pt x="1620" y="6443"/>
                    </a:cubicBezTo>
                    <a:cubicBezTo>
                      <a:pt x="1615" y="6408"/>
                      <a:pt x="1610" y="6374"/>
                      <a:pt x="1605" y="6339"/>
                    </a:cubicBezTo>
                    <a:cubicBezTo>
                      <a:pt x="1602" y="6293"/>
                      <a:pt x="1598" y="6246"/>
                      <a:pt x="1595" y="6200"/>
                    </a:cubicBezTo>
                    <a:cubicBezTo>
                      <a:pt x="1593" y="6154"/>
                      <a:pt x="1592" y="6107"/>
                      <a:pt x="1590" y="6061"/>
                    </a:cubicBezTo>
                    <a:cubicBezTo>
                      <a:pt x="1570" y="6057"/>
                      <a:pt x="1550" y="6054"/>
                      <a:pt x="1530" y="6050"/>
                    </a:cubicBezTo>
                    <a:lnTo>
                      <a:pt x="1461" y="6026"/>
                    </a:lnTo>
                    <a:cubicBezTo>
                      <a:pt x="1441" y="6015"/>
                      <a:pt x="1421" y="6003"/>
                      <a:pt x="1401" y="5992"/>
                    </a:cubicBezTo>
                    <a:cubicBezTo>
                      <a:pt x="1381" y="5980"/>
                      <a:pt x="1361" y="5969"/>
                      <a:pt x="1341" y="5957"/>
                    </a:cubicBezTo>
                    <a:cubicBezTo>
                      <a:pt x="1323" y="5945"/>
                      <a:pt x="1304" y="5934"/>
                      <a:pt x="1286" y="5922"/>
                    </a:cubicBezTo>
                    <a:cubicBezTo>
                      <a:pt x="1268" y="5910"/>
                      <a:pt x="1249" y="5899"/>
                      <a:pt x="1231" y="5887"/>
                    </a:cubicBezTo>
                    <a:cubicBezTo>
                      <a:pt x="1213" y="5879"/>
                      <a:pt x="1194" y="5872"/>
                      <a:pt x="1176" y="5864"/>
                    </a:cubicBezTo>
                    <a:cubicBezTo>
                      <a:pt x="1158" y="5860"/>
                      <a:pt x="1140" y="5857"/>
                      <a:pt x="1122" y="5853"/>
                    </a:cubicBezTo>
                    <a:lnTo>
                      <a:pt x="1087" y="5853"/>
                    </a:lnTo>
                    <a:cubicBezTo>
                      <a:pt x="1072" y="5857"/>
                      <a:pt x="1057" y="5860"/>
                      <a:pt x="1042" y="5864"/>
                    </a:cubicBezTo>
                    <a:cubicBezTo>
                      <a:pt x="1029" y="5872"/>
                      <a:pt x="1015" y="5879"/>
                      <a:pt x="1002" y="5887"/>
                    </a:cubicBezTo>
                    <a:cubicBezTo>
                      <a:pt x="992" y="5895"/>
                      <a:pt x="982" y="5902"/>
                      <a:pt x="972" y="5910"/>
                    </a:cubicBezTo>
                    <a:cubicBezTo>
                      <a:pt x="947" y="5933"/>
                      <a:pt x="922" y="5957"/>
                      <a:pt x="897" y="5980"/>
                    </a:cubicBezTo>
                    <a:lnTo>
                      <a:pt x="837" y="6061"/>
                    </a:lnTo>
                    <a:lnTo>
                      <a:pt x="783" y="6154"/>
                    </a:lnTo>
                    <a:cubicBezTo>
                      <a:pt x="765" y="6193"/>
                      <a:pt x="746" y="6231"/>
                      <a:pt x="728" y="6270"/>
                    </a:cubicBezTo>
                    <a:cubicBezTo>
                      <a:pt x="711" y="6309"/>
                      <a:pt x="695" y="6347"/>
                      <a:pt x="678" y="6386"/>
                    </a:cubicBezTo>
                    <a:cubicBezTo>
                      <a:pt x="663" y="6421"/>
                      <a:pt x="648" y="6455"/>
                      <a:pt x="633" y="6490"/>
                    </a:cubicBezTo>
                    <a:cubicBezTo>
                      <a:pt x="643" y="6444"/>
                      <a:pt x="653" y="6397"/>
                      <a:pt x="663" y="6351"/>
                    </a:cubicBezTo>
                    <a:lnTo>
                      <a:pt x="528" y="6270"/>
                    </a:lnTo>
                    <a:lnTo>
                      <a:pt x="663" y="6061"/>
                    </a:lnTo>
                    <a:lnTo>
                      <a:pt x="528" y="5783"/>
                    </a:lnTo>
                    <a:lnTo>
                      <a:pt x="394" y="5493"/>
                    </a:lnTo>
                    <a:lnTo>
                      <a:pt x="199" y="5493"/>
                    </a:lnTo>
                    <a:cubicBezTo>
                      <a:pt x="178" y="5397"/>
                      <a:pt x="156" y="5300"/>
                      <a:pt x="135" y="5204"/>
                    </a:cubicBezTo>
                    <a:lnTo>
                      <a:pt x="35" y="5065"/>
                    </a:lnTo>
                    <a:cubicBezTo>
                      <a:pt x="23" y="4945"/>
                      <a:pt x="12" y="4825"/>
                      <a:pt x="0" y="4705"/>
                    </a:cubicBezTo>
                    <a:lnTo>
                      <a:pt x="0" y="4277"/>
                    </a:lnTo>
                    <a:cubicBezTo>
                      <a:pt x="22" y="4180"/>
                      <a:pt x="43" y="4084"/>
                      <a:pt x="65" y="3987"/>
                    </a:cubicBezTo>
                    <a:cubicBezTo>
                      <a:pt x="77" y="3890"/>
                      <a:pt x="88" y="3794"/>
                      <a:pt x="100" y="3697"/>
                    </a:cubicBezTo>
                    <a:cubicBezTo>
                      <a:pt x="155" y="3770"/>
                      <a:pt x="209" y="3844"/>
                      <a:pt x="264" y="3917"/>
                    </a:cubicBezTo>
                    <a:lnTo>
                      <a:pt x="429" y="4056"/>
                    </a:lnTo>
                    <a:lnTo>
                      <a:pt x="528" y="3987"/>
                    </a:lnTo>
                    <a:cubicBezTo>
                      <a:pt x="483" y="3867"/>
                      <a:pt x="439" y="3748"/>
                      <a:pt x="394" y="3628"/>
                    </a:cubicBezTo>
                    <a:cubicBezTo>
                      <a:pt x="450" y="3558"/>
                      <a:pt x="507" y="3489"/>
                      <a:pt x="563" y="3419"/>
                    </a:cubicBezTo>
                    <a:lnTo>
                      <a:pt x="728" y="3060"/>
                    </a:lnTo>
                    <a:lnTo>
                      <a:pt x="892" y="2990"/>
                    </a:lnTo>
                    <a:lnTo>
                      <a:pt x="1092" y="2990"/>
                    </a:lnTo>
                    <a:cubicBezTo>
                      <a:pt x="1137" y="2944"/>
                      <a:pt x="1181" y="2897"/>
                      <a:pt x="1226" y="2851"/>
                    </a:cubicBezTo>
                    <a:lnTo>
                      <a:pt x="1456" y="2990"/>
                    </a:lnTo>
                    <a:lnTo>
                      <a:pt x="1685" y="3211"/>
                    </a:lnTo>
                    <a:lnTo>
                      <a:pt x="1889" y="3628"/>
                    </a:lnTo>
                    <a:lnTo>
                      <a:pt x="2119" y="3558"/>
                    </a:lnTo>
                    <a:lnTo>
                      <a:pt x="2318" y="3350"/>
                    </a:lnTo>
                    <a:lnTo>
                      <a:pt x="2483" y="3350"/>
                    </a:lnTo>
                    <a:lnTo>
                      <a:pt x="2682" y="3280"/>
                    </a:lnTo>
                    <a:cubicBezTo>
                      <a:pt x="2748" y="3350"/>
                      <a:pt x="2815" y="3419"/>
                      <a:pt x="2881" y="3489"/>
                    </a:cubicBezTo>
                    <a:lnTo>
                      <a:pt x="3111" y="3628"/>
                    </a:lnTo>
                    <a:lnTo>
                      <a:pt x="3345" y="3558"/>
                    </a:lnTo>
                    <a:lnTo>
                      <a:pt x="3574" y="3350"/>
                    </a:lnTo>
                    <a:lnTo>
                      <a:pt x="3574" y="3060"/>
                    </a:lnTo>
                    <a:lnTo>
                      <a:pt x="3410" y="2990"/>
                    </a:lnTo>
                    <a:lnTo>
                      <a:pt x="3215" y="2851"/>
                    </a:lnTo>
                    <a:lnTo>
                      <a:pt x="3076" y="2712"/>
                    </a:lnTo>
                    <a:lnTo>
                      <a:pt x="3280" y="2562"/>
                    </a:lnTo>
                    <a:cubicBezTo>
                      <a:pt x="3268" y="2419"/>
                      <a:pt x="3257" y="2276"/>
                      <a:pt x="3245" y="2133"/>
                    </a:cubicBezTo>
                    <a:lnTo>
                      <a:pt x="3509" y="2063"/>
                    </a:lnTo>
                    <a:lnTo>
                      <a:pt x="3180" y="1496"/>
                    </a:lnTo>
                    <a:lnTo>
                      <a:pt x="3709" y="1287"/>
                    </a:lnTo>
                    <a:lnTo>
                      <a:pt x="4138" y="1206"/>
                    </a:lnTo>
                    <a:cubicBezTo>
                      <a:pt x="4161" y="1109"/>
                      <a:pt x="4184" y="1013"/>
                      <a:pt x="4207" y="916"/>
                    </a:cubicBezTo>
                    <a:lnTo>
                      <a:pt x="4506" y="847"/>
                    </a:lnTo>
                    <a:lnTo>
                      <a:pt x="4801" y="708"/>
                    </a:lnTo>
                    <a:cubicBezTo>
                      <a:pt x="4834" y="611"/>
                      <a:pt x="4867" y="515"/>
                      <a:pt x="4900" y="418"/>
                    </a:cubicBezTo>
                    <a:lnTo>
                      <a:pt x="5176" y="282"/>
                    </a:lnTo>
                    <a:lnTo>
                      <a:pt x="5417" y="98"/>
                    </a:lnTo>
                    <a:lnTo>
                      <a:pt x="5736" y="0"/>
                    </a:lnTo>
                    <a:cubicBezTo>
                      <a:pt x="5825" y="133"/>
                      <a:pt x="5968" y="365"/>
                      <a:pt x="6038" y="591"/>
                    </a:cubicBezTo>
                    <a:cubicBezTo>
                      <a:pt x="6078" y="846"/>
                      <a:pt x="6194" y="455"/>
                      <a:pt x="6234" y="710"/>
                    </a:cubicBezTo>
                    <a:cubicBezTo>
                      <a:pt x="6237" y="796"/>
                      <a:pt x="6241" y="881"/>
                      <a:pt x="6244" y="967"/>
                    </a:cubicBezTo>
                    <a:lnTo>
                      <a:pt x="6468" y="1164"/>
                    </a:lnTo>
                    <a:cubicBezTo>
                      <a:pt x="6533" y="1095"/>
                      <a:pt x="6578" y="1175"/>
                      <a:pt x="6643" y="1106"/>
                    </a:cubicBezTo>
                    <a:cubicBezTo>
                      <a:pt x="6709" y="982"/>
                      <a:pt x="6788" y="1249"/>
                      <a:pt x="6854" y="1125"/>
                    </a:cubicBezTo>
                    <a:lnTo>
                      <a:pt x="7512" y="674"/>
                    </a:lnTo>
                    <a:cubicBezTo>
                      <a:pt x="7481" y="1041"/>
                      <a:pt x="7741" y="1370"/>
                      <a:pt x="7710" y="1737"/>
                    </a:cubicBezTo>
                    <a:cubicBezTo>
                      <a:pt x="7776" y="1903"/>
                      <a:pt x="7874" y="2261"/>
                      <a:pt x="7940" y="2427"/>
                    </a:cubicBezTo>
                    <a:cubicBezTo>
                      <a:pt x="7920" y="2545"/>
                      <a:pt x="8173" y="2776"/>
                      <a:pt x="8153" y="2894"/>
                    </a:cubicBezTo>
                    <a:cubicBezTo>
                      <a:pt x="8139" y="3000"/>
                      <a:pt x="8125" y="3105"/>
                      <a:pt x="8111" y="3211"/>
                    </a:cubicBezTo>
                    <a:cubicBezTo>
                      <a:pt x="8131" y="3264"/>
                      <a:pt x="8224" y="3223"/>
                      <a:pt x="8275" y="3211"/>
                    </a:cubicBezTo>
                    <a:cubicBezTo>
                      <a:pt x="8322" y="3188"/>
                      <a:pt x="8368" y="3164"/>
                      <a:pt x="8415" y="3141"/>
                    </a:cubicBezTo>
                    <a:cubicBezTo>
                      <a:pt x="8448" y="3234"/>
                      <a:pt x="8481" y="3326"/>
                      <a:pt x="8514" y="3419"/>
                    </a:cubicBezTo>
                    <a:lnTo>
                      <a:pt x="8789" y="3009"/>
                    </a:lnTo>
                    <a:cubicBezTo>
                      <a:pt x="8839" y="3169"/>
                      <a:pt x="8888" y="3329"/>
                      <a:pt x="8938" y="3489"/>
                    </a:cubicBezTo>
                    <a:cubicBezTo>
                      <a:pt x="8985" y="3443"/>
                      <a:pt x="9031" y="3396"/>
                      <a:pt x="9078" y="3350"/>
                    </a:cubicBezTo>
                    <a:lnTo>
                      <a:pt x="9261" y="3355"/>
                    </a:lnTo>
                    <a:lnTo>
                      <a:pt x="9557" y="3441"/>
                    </a:lnTo>
                    <a:cubicBezTo>
                      <a:pt x="9625" y="3538"/>
                      <a:pt x="9744" y="3676"/>
                      <a:pt x="9812" y="3773"/>
                    </a:cubicBezTo>
                    <a:cubicBezTo>
                      <a:pt x="9908" y="3755"/>
                      <a:pt x="10050" y="3746"/>
                      <a:pt x="10080" y="3878"/>
                    </a:cubicBezTo>
                    <a:cubicBezTo>
                      <a:pt x="10078" y="3924"/>
                      <a:pt x="9997" y="4520"/>
                      <a:pt x="9995" y="4566"/>
                    </a:cubicBezTo>
                    <a:cubicBezTo>
                      <a:pt x="9993" y="4624"/>
                      <a:pt x="9992" y="4682"/>
                      <a:pt x="9990" y="4740"/>
                    </a:cubicBezTo>
                    <a:lnTo>
                      <a:pt x="9990" y="4786"/>
                    </a:lnTo>
                    <a:cubicBezTo>
                      <a:pt x="9987" y="4802"/>
                      <a:pt x="9983" y="4817"/>
                      <a:pt x="9980" y="4833"/>
                    </a:cubicBezTo>
                    <a:cubicBezTo>
                      <a:pt x="9977" y="4848"/>
                      <a:pt x="9973" y="4864"/>
                      <a:pt x="9970" y="4879"/>
                    </a:cubicBezTo>
                    <a:cubicBezTo>
                      <a:pt x="9963" y="4891"/>
                      <a:pt x="9957" y="4902"/>
                      <a:pt x="9950" y="4914"/>
                    </a:cubicBezTo>
                    <a:cubicBezTo>
                      <a:pt x="9945" y="4929"/>
                      <a:pt x="9940" y="4945"/>
                      <a:pt x="9935" y="4960"/>
                    </a:cubicBezTo>
                    <a:cubicBezTo>
                      <a:pt x="9927" y="4972"/>
                      <a:pt x="9918" y="4983"/>
                      <a:pt x="9910" y="4995"/>
                    </a:cubicBezTo>
                    <a:cubicBezTo>
                      <a:pt x="9898" y="5010"/>
                      <a:pt x="9887" y="5026"/>
                      <a:pt x="9875" y="5041"/>
                    </a:cubicBezTo>
                    <a:cubicBezTo>
                      <a:pt x="9862" y="5049"/>
                      <a:pt x="9848" y="5057"/>
                      <a:pt x="9835" y="5065"/>
                    </a:cubicBezTo>
                    <a:lnTo>
                      <a:pt x="9816" y="5065"/>
                    </a:lnTo>
                    <a:cubicBezTo>
                      <a:pt x="9809" y="5069"/>
                      <a:pt x="9803" y="5072"/>
                      <a:pt x="9796" y="5076"/>
                    </a:cubicBezTo>
                    <a:lnTo>
                      <a:pt x="9781" y="5088"/>
                    </a:lnTo>
                    <a:cubicBezTo>
                      <a:pt x="9778" y="5092"/>
                      <a:pt x="9774" y="5095"/>
                      <a:pt x="9771" y="5099"/>
                    </a:cubicBezTo>
                    <a:cubicBezTo>
                      <a:pt x="9769" y="5107"/>
                      <a:pt x="9768" y="5115"/>
                      <a:pt x="9766" y="5123"/>
                    </a:cubicBezTo>
                    <a:cubicBezTo>
                      <a:pt x="9764" y="5131"/>
                      <a:pt x="9763" y="5138"/>
                      <a:pt x="9761" y="5146"/>
                    </a:cubicBezTo>
                    <a:lnTo>
                      <a:pt x="9761" y="5169"/>
                    </a:lnTo>
                    <a:lnTo>
                      <a:pt x="9761" y="5204"/>
                    </a:lnTo>
                    <a:cubicBezTo>
                      <a:pt x="9769" y="5250"/>
                      <a:pt x="9778" y="5297"/>
                      <a:pt x="9786" y="5343"/>
                    </a:cubicBezTo>
                    <a:lnTo>
                      <a:pt x="9831" y="5493"/>
                    </a:lnTo>
                    <a:lnTo>
                      <a:pt x="9855" y="5574"/>
                    </a:lnTo>
                    <a:cubicBezTo>
                      <a:pt x="9862" y="5601"/>
                      <a:pt x="9868" y="5629"/>
                      <a:pt x="9875" y="5656"/>
                    </a:cubicBezTo>
                    <a:cubicBezTo>
                      <a:pt x="9878" y="5687"/>
                      <a:pt x="9882" y="5717"/>
                      <a:pt x="9885" y="5748"/>
                    </a:cubicBezTo>
                    <a:cubicBezTo>
                      <a:pt x="9888" y="5771"/>
                      <a:pt x="9892" y="5795"/>
                      <a:pt x="9895" y="5818"/>
                    </a:cubicBezTo>
                    <a:lnTo>
                      <a:pt x="9895" y="5853"/>
                    </a:lnTo>
                    <a:cubicBezTo>
                      <a:pt x="9893" y="5861"/>
                      <a:pt x="9892" y="5868"/>
                      <a:pt x="9890" y="5876"/>
                    </a:cubicBezTo>
                    <a:cubicBezTo>
                      <a:pt x="9888" y="5887"/>
                      <a:pt x="9887" y="5899"/>
                      <a:pt x="9885" y="5910"/>
                    </a:cubicBezTo>
                    <a:cubicBezTo>
                      <a:pt x="9883" y="5918"/>
                      <a:pt x="9882" y="5926"/>
                      <a:pt x="9880" y="5934"/>
                    </a:cubicBezTo>
                    <a:cubicBezTo>
                      <a:pt x="9875" y="5942"/>
                      <a:pt x="9870" y="5949"/>
                      <a:pt x="9865" y="5957"/>
                    </a:cubicBezTo>
                    <a:cubicBezTo>
                      <a:pt x="9860" y="5961"/>
                      <a:pt x="9855" y="5964"/>
                      <a:pt x="9850" y="5968"/>
                    </a:cubicBezTo>
                    <a:lnTo>
                      <a:pt x="9826" y="5980"/>
                    </a:lnTo>
                    <a:cubicBezTo>
                      <a:pt x="9819" y="5984"/>
                      <a:pt x="9813" y="5988"/>
                      <a:pt x="9806" y="5992"/>
                    </a:cubicBezTo>
                    <a:lnTo>
                      <a:pt x="9741" y="5992"/>
                    </a:lnTo>
                    <a:lnTo>
                      <a:pt x="9666" y="5992"/>
                    </a:lnTo>
                    <a:lnTo>
                      <a:pt x="9631" y="5992"/>
                    </a:lnTo>
                    <a:lnTo>
                      <a:pt x="9586" y="5980"/>
                    </a:lnTo>
                    <a:cubicBezTo>
                      <a:pt x="9569" y="5972"/>
                      <a:pt x="9553" y="5965"/>
                      <a:pt x="9536" y="5957"/>
                    </a:cubicBezTo>
                    <a:cubicBezTo>
                      <a:pt x="9520" y="5949"/>
                      <a:pt x="9503" y="5942"/>
                      <a:pt x="9487" y="5934"/>
                    </a:cubicBezTo>
                    <a:lnTo>
                      <a:pt x="9437" y="5910"/>
                    </a:lnTo>
                    <a:cubicBezTo>
                      <a:pt x="9420" y="5899"/>
                      <a:pt x="9404" y="5887"/>
                      <a:pt x="9387" y="5876"/>
                    </a:cubicBezTo>
                    <a:cubicBezTo>
                      <a:pt x="9374" y="5860"/>
                      <a:pt x="9360" y="5845"/>
                      <a:pt x="9347" y="5829"/>
                    </a:cubicBezTo>
                    <a:lnTo>
                      <a:pt x="9307" y="5783"/>
                    </a:lnTo>
                    <a:cubicBezTo>
                      <a:pt x="9304" y="5802"/>
                      <a:pt x="9300" y="5822"/>
                      <a:pt x="9297" y="5841"/>
                    </a:cubicBezTo>
                    <a:cubicBezTo>
                      <a:pt x="9295" y="5864"/>
                      <a:pt x="9294" y="5887"/>
                      <a:pt x="9292" y="5910"/>
                    </a:cubicBezTo>
                    <a:cubicBezTo>
                      <a:pt x="9294" y="5941"/>
                      <a:pt x="9295" y="5972"/>
                      <a:pt x="9297" y="6003"/>
                    </a:cubicBezTo>
                    <a:lnTo>
                      <a:pt x="9297" y="6096"/>
                    </a:lnTo>
                    <a:cubicBezTo>
                      <a:pt x="9304" y="6165"/>
                      <a:pt x="9310" y="6235"/>
                      <a:pt x="9317" y="6304"/>
                    </a:cubicBezTo>
                    <a:cubicBezTo>
                      <a:pt x="9324" y="6385"/>
                      <a:pt x="9330" y="6467"/>
                      <a:pt x="9337" y="6548"/>
                    </a:cubicBezTo>
                    <a:cubicBezTo>
                      <a:pt x="9345" y="6621"/>
                      <a:pt x="9354" y="6695"/>
                      <a:pt x="9362" y="6768"/>
                    </a:cubicBezTo>
                    <a:cubicBezTo>
                      <a:pt x="9369" y="6830"/>
                      <a:pt x="9375" y="6891"/>
                      <a:pt x="9382" y="6953"/>
                    </a:cubicBezTo>
                    <a:lnTo>
                      <a:pt x="9382" y="7046"/>
                    </a:lnTo>
                    <a:lnTo>
                      <a:pt x="9382" y="7116"/>
                    </a:lnTo>
                    <a:lnTo>
                      <a:pt x="9382" y="7174"/>
                    </a:lnTo>
                    <a:cubicBezTo>
                      <a:pt x="9379" y="7185"/>
                      <a:pt x="9375" y="7197"/>
                      <a:pt x="9372" y="7208"/>
                    </a:cubicBezTo>
                    <a:lnTo>
                      <a:pt x="9242" y="7185"/>
                    </a:lnTo>
                    <a:lnTo>
                      <a:pt x="9053" y="7185"/>
                    </a:lnTo>
                    <a:lnTo>
                      <a:pt x="9003" y="7197"/>
                    </a:lnTo>
                    <a:cubicBezTo>
                      <a:pt x="8990" y="7201"/>
                      <a:pt x="8976" y="7204"/>
                      <a:pt x="8963" y="7208"/>
                    </a:cubicBezTo>
                    <a:cubicBezTo>
                      <a:pt x="8948" y="7216"/>
                      <a:pt x="8933" y="7223"/>
                      <a:pt x="8918" y="7231"/>
                    </a:cubicBezTo>
                    <a:lnTo>
                      <a:pt x="8883" y="7266"/>
                    </a:lnTo>
                    <a:cubicBezTo>
                      <a:pt x="8873" y="7278"/>
                      <a:pt x="8863" y="7289"/>
                      <a:pt x="8853" y="7301"/>
                    </a:cubicBezTo>
                    <a:cubicBezTo>
                      <a:pt x="8845" y="7316"/>
                      <a:pt x="8837" y="7332"/>
                      <a:pt x="8829" y="7347"/>
                    </a:cubicBezTo>
                    <a:cubicBezTo>
                      <a:pt x="8826" y="7359"/>
                      <a:pt x="8822" y="7370"/>
                      <a:pt x="8819" y="7382"/>
                    </a:cubicBezTo>
                    <a:cubicBezTo>
                      <a:pt x="8817" y="7394"/>
                      <a:pt x="8816" y="7405"/>
                      <a:pt x="8814" y="7417"/>
                    </a:cubicBezTo>
                    <a:cubicBezTo>
                      <a:pt x="8812" y="7429"/>
                      <a:pt x="8811" y="7440"/>
                      <a:pt x="8809" y="7452"/>
                    </a:cubicBezTo>
                    <a:lnTo>
                      <a:pt x="8809" y="7486"/>
                    </a:lnTo>
                    <a:lnTo>
                      <a:pt x="8863" y="7510"/>
                    </a:lnTo>
                    <a:cubicBezTo>
                      <a:pt x="8880" y="7521"/>
                      <a:pt x="8896" y="7533"/>
                      <a:pt x="8913" y="7544"/>
                    </a:cubicBezTo>
                    <a:lnTo>
                      <a:pt x="8948" y="7591"/>
                    </a:lnTo>
                    <a:lnTo>
                      <a:pt x="8978" y="7660"/>
                    </a:lnTo>
                    <a:cubicBezTo>
                      <a:pt x="8985" y="7683"/>
                      <a:pt x="8991" y="7707"/>
                      <a:pt x="8998" y="7730"/>
                    </a:cubicBezTo>
                    <a:cubicBezTo>
                      <a:pt x="9005" y="7753"/>
                      <a:pt x="9011" y="7776"/>
                      <a:pt x="9018" y="7799"/>
                    </a:cubicBezTo>
                    <a:lnTo>
                      <a:pt x="9033" y="7880"/>
                    </a:lnTo>
                    <a:cubicBezTo>
                      <a:pt x="9036" y="7903"/>
                      <a:pt x="9040" y="7927"/>
                      <a:pt x="9043" y="7950"/>
                    </a:cubicBezTo>
                    <a:lnTo>
                      <a:pt x="9058" y="8112"/>
                    </a:lnTo>
                    <a:cubicBezTo>
                      <a:pt x="9066" y="8158"/>
                      <a:pt x="9075" y="8205"/>
                      <a:pt x="9083" y="8251"/>
                    </a:cubicBezTo>
                    <a:cubicBezTo>
                      <a:pt x="9086" y="8274"/>
                      <a:pt x="9090" y="8298"/>
                      <a:pt x="9093" y="8321"/>
                    </a:cubicBezTo>
                    <a:cubicBezTo>
                      <a:pt x="9100" y="8336"/>
                      <a:pt x="9106" y="8352"/>
                      <a:pt x="9113" y="8367"/>
                    </a:cubicBezTo>
                    <a:cubicBezTo>
                      <a:pt x="9123" y="8379"/>
                      <a:pt x="9133" y="8390"/>
                      <a:pt x="9143" y="8402"/>
                    </a:cubicBezTo>
                    <a:lnTo>
                      <a:pt x="9172" y="8425"/>
                    </a:lnTo>
                    <a:cubicBezTo>
                      <a:pt x="9169" y="8440"/>
                      <a:pt x="9166" y="8456"/>
                      <a:pt x="9163" y="8471"/>
                    </a:cubicBezTo>
                    <a:cubicBezTo>
                      <a:pt x="9161" y="8487"/>
                      <a:pt x="9160" y="8502"/>
                      <a:pt x="9158" y="8518"/>
                    </a:cubicBezTo>
                    <a:lnTo>
                      <a:pt x="9158" y="8552"/>
                    </a:lnTo>
                    <a:lnTo>
                      <a:pt x="9158" y="8599"/>
                    </a:lnTo>
                    <a:lnTo>
                      <a:pt x="9167" y="8680"/>
                    </a:lnTo>
                    <a:cubicBezTo>
                      <a:pt x="9169" y="8711"/>
                      <a:pt x="9170" y="8742"/>
                      <a:pt x="9172" y="8773"/>
                    </a:cubicBezTo>
                    <a:lnTo>
                      <a:pt x="9172" y="8935"/>
                    </a:lnTo>
                    <a:lnTo>
                      <a:pt x="9163" y="9085"/>
                    </a:lnTo>
                    <a:cubicBezTo>
                      <a:pt x="9161" y="9108"/>
                      <a:pt x="9160" y="9132"/>
                      <a:pt x="9158" y="9155"/>
                    </a:cubicBezTo>
                    <a:cubicBezTo>
                      <a:pt x="9155" y="9178"/>
                      <a:pt x="9151" y="9201"/>
                      <a:pt x="9148" y="9224"/>
                    </a:cubicBezTo>
                    <a:cubicBezTo>
                      <a:pt x="9143" y="9243"/>
                      <a:pt x="9138" y="9263"/>
                      <a:pt x="9133" y="9282"/>
                    </a:cubicBezTo>
                    <a:cubicBezTo>
                      <a:pt x="9125" y="9301"/>
                      <a:pt x="9116" y="9321"/>
                      <a:pt x="9108" y="9340"/>
                    </a:cubicBezTo>
                    <a:cubicBezTo>
                      <a:pt x="9086" y="9317"/>
                      <a:pt x="9065" y="9294"/>
                      <a:pt x="9043" y="9271"/>
                    </a:cubicBezTo>
                    <a:lnTo>
                      <a:pt x="8679" y="8993"/>
                    </a:lnTo>
                    <a:lnTo>
                      <a:pt x="8345" y="8993"/>
                    </a:lnTo>
                    <a:lnTo>
                      <a:pt x="8046" y="8923"/>
                    </a:lnTo>
                    <a:lnTo>
                      <a:pt x="7647" y="8842"/>
                    </a:lnTo>
                    <a:lnTo>
                      <a:pt x="7418" y="8703"/>
                    </a:lnTo>
                    <a:cubicBezTo>
                      <a:pt x="7396" y="8892"/>
                      <a:pt x="7375" y="9082"/>
                      <a:pt x="7353" y="9271"/>
                    </a:cubicBezTo>
                    <a:lnTo>
                      <a:pt x="7049" y="8993"/>
                    </a:lnTo>
                    <a:lnTo>
                      <a:pt x="6820" y="8923"/>
                    </a:lnTo>
                    <a:cubicBezTo>
                      <a:pt x="6777" y="9016"/>
                      <a:pt x="6733" y="9108"/>
                      <a:pt x="6690" y="9201"/>
                    </a:cubicBezTo>
                    <a:lnTo>
                      <a:pt x="6690" y="9340"/>
                    </a:lnTo>
                    <a:cubicBezTo>
                      <a:pt x="6647" y="9437"/>
                      <a:pt x="6603" y="9533"/>
                      <a:pt x="6560" y="9630"/>
                    </a:cubicBezTo>
                    <a:lnTo>
                      <a:pt x="6391" y="9781"/>
                    </a:lnTo>
                    <a:lnTo>
                      <a:pt x="6256" y="10128"/>
                    </a:lnTo>
                    <a:cubicBezTo>
                      <a:pt x="6223" y="10225"/>
                      <a:pt x="6190" y="10321"/>
                      <a:pt x="6157" y="10418"/>
                    </a:cubicBezTo>
                    <a:lnTo>
                      <a:pt x="5962" y="10059"/>
                    </a:lnTo>
                    <a:lnTo>
                      <a:pt x="5693" y="10128"/>
                    </a:lnTo>
                    <a:cubicBezTo>
                      <a:pt x="5660" y="10012"/>
                      <a:pt x="5626" y="9897"/>
                      <a:pt x="5593" y="9781"/>
                    </a:cubicBezTo>
                    <a:cubicBezTo>
                      <a:pt x="5528" y="9541"/>
                      <a:pt x="5464" y="9302"/>
                      <a:pt x="5399" y="9062"/>
                    </a:cubicBezTo>
                    <a:lnTo>
                      <a:pt x="5234" y="8703"/>
                    </a:lnTo>
                    <a:lnTo>
                      <a:pt x="5000" y="8355"/>
                    </a:lnTo>
                    <a:lnTo>
                      <a:pt x="4801" y="8494"/>
                    </a:lnTo>
                    <a:lnTo>
                      <a:pt x="4571" y="8425"/>
                    </a:lnTo>
                    <a:lnTo>
                      <a:pt x="4272" y="8494"/>
                    </a:lnTo>
                    <a:lnTo>
                      <a:pt x="3639" y="7556"/>
                    </a:lnTo>
                    <a:lnTo>
                      <a:pt x="3400" y="7313"/>
                    </a:lnTo>
                    <a:cubicBezTo>
                      <a:pt x="3403" y="7278"/>
                      <a:pt x="3407" y="7243"/>
                      <a:pt x="3410" y="7208"/>
                    </a:cubicBezTo>
                    <a:lnTo>
                      <a:pt x="3180" y="6768"/>
                    </a:lnTo>
                    <a:cubicBezTo>
                      <a:pt x="3134" y="6892"/>
                      <a:pt x="3087" y="7015"/>
                      <a:pt x="3041" y="7139"/>
                    </a:cubicBezTo>
                    <a:lnTo>
                      <a:pt x="2617" y="7417"/>
                    </a:lnTo>
                    <a:cubicBezTo>
                      <a:pt x="2684" y="8274"/>
                      <a:pt x="2750" y="9132"/>
                      <a:pt x="2817" y="9989"/>
                    </a:cubicBezTo>
                    <a:lnTo>
                      <a:pt x="2911" y="10059"/>
                    </a:lnTo>
                    <a:cubicBezTo>
                      <a:pt x="2889" y="10036"/>
                      <a:pt x="2868" y="10012"/>
                      <a:pt x="2846" y="9989"/>
                    </a:cubicBezTo>
                  </a:path>
                </a:pathLst>
              </a:custGeom>
              <a:solidFill>
                <a:srgbClr val="FF0000"/>
              </a:solidFill>
              <a:ln w="9525">
                <a:solidFill>
                  <a:schemeClr val="bg1"/>
                </a:solidFill>
                <a:round/>
                <a:headEnd/>
                <a:tailEnd/>
              </a:ln>
            </p:spPr>
            <p:txBody>
              <a:bodyPr/>
              <a:lstStyle/>
              <a:p>
                <a:endParaRPr lang="el-GR"/>
              </a:p>
            </p:txBody>
          </p:sp>
          <p:sp>
            <p:nvSpPr>
              <p:cNvPr id="82972" name="Freeform 31">
                <a:extLst>
                  <a:ext uri="{FF2B5EF4-FFF2-40B4-BE49-F238E27FC236}">
                    <a16:creationId xmlns:a16="http://schemas.microsoft.com/office/drawing/2014/main" id="{6A2C1441-8B6F-420E-A90F-C000029C689B}"/>
                  </a:ext>
                </a:extLst>
              </p:cNvPr>
              <p:cNvSpPr>
                <a:spLocks/>
              </p:cNvSpPr>
              <p:nvPr>
                <p:custDataLst>
                  <p:tags r:id="rId2"/>
                </p:custDataLst>
              </p:nvPr>
            </p:nvSpPr>
            <p:spPr bwMode="auto">
              <a:xfrm>
                <a:off x="5874933" y="3386672"/>
                <a:ext cx="409575" cy="249238"/>
              </a:xfrm>
              <a:custGeom>
                <a:avLst/>
                <a:gdLst>
                  <a:gd name="T0" fmla="*/ 118587914 w 950"/>
                  <a:gd name="T1" fmla="*/ 125643645 h 468"/>
                  <a:gd name="T2" fmla="*/ 103717755 w 950"/>
                  <a:gd name="T3" fmla="*/ 118553144 h 468"/>
                  <a:gd name="T4" fmla="*/ 87546872 w 950"/>
                  <a:gd name="T5" fmla="*/ 106640845 h 468"/>
                  <a:gd name="T6" fmla="*/ 72862961 w 950"/>
                  <a:gd name="T7" fmla="*/ 87071402 h 468"/>
                  <a:gd name="T8" fmla="*/ 56691647 w 950"/>
                  <a:gd name="T9" fmla="*/ 73173721 h 468"/>
                  <a:gd name="T10" fmla="*/ 47026108 w 950"/>
                  <a:gd name="T11" fmla="*/ 59276572 h 468"/>
                  <a:gd name="T12" fmla="*/ 34572441 w 950"/>
                  <a:gd name="T13" fmla="*/ 48782480 h 468"/>
                  <a:gd name="T14" fmla="*/ 24721516 w 950"/>
                  <a:gd name="T15" fmla="*/ 53887599 h 468"/>
                  <a:gd name="T16" fmla="*/ 18401558 w 950"/>
                  <a:gd name="T17" fmla="*/ 68068602 h 468"/>
                  <a:gd name="T18" fmla="*/ 7434864 w 950"/>
                  <a:gd name="T19" fmla="*/ 69770663 h 468"/>
                  <a:gd name="T20" fmla="*/ 0 w 950"/>
                  <a:gd name="T21" fmla="*/ 6806647 h 468"/>
                  <a:gd name="T22" fmla="*/ 14683910 w 950"/>
                  <a:gd name="T23" fmla="*/ 1701529 h 468"/>
                  <a:gd name="T24" fmla="*/ 24721516 w 950"/>
                  <a:gd name="T25" fmla="*/ 15599210 h 468"/>
                  <a:gd name="T26" fmla="*/ 29182434 w 950"/>
                  <a:gd name="T27" fmla="*/ 4254088 h 468"/>
                  <a:gd name="T28" fmla="*/ 61710450 w 950"/>
                  <a:gd name="T29" fmla="*/ 33183803 h 468"/>
                  <a:gd name="T30" fmla="*/ 81413163 w 950"/>
                  <a:gd name="T31" fmla="*/ 33183803 h 468"/>
                  <a:gd name="T32" fmla="*/ 97584046 w 950"/>
                  <a:gd name="T33" fmla="*/ 38288921 h 468"/>
                  <a:gd name="T34" fmla="*/ 110967233 w 950"/>
                  <a:gd name="T35" fmla="*/ 64665545 h 468"/>
                  <a:gd name="T36" fmla="*/ 124721623 w 950"/>
                  <a:gd name="T37" fmla="*/ 71472192 h 468"/>
                  <a:gd name="T38" fmla="*/ 135688317 w 950"/>
                  <a:gd name="T39" fmla="*/ 73173721 h 468"/>
                  <a:gd name="T40" fmla="*/ 147026647 w 950"/>
                  <a:gd name="T41" fmla="*/ 60978100 h 468"/>
                  <a:gd name="T42" fmla="*/ 156692186 w 950"/>
                  <a:gd name="T43" fmla="*/ 55589660 h 468"/>
                  <a:gd name="T44" fmla="*/ 153160356 w 950"/>
                  <a:gd name="T45" fmla="*/ 71472192 h 468"/>
                  <a:gd name="T46" fmla="*/ 161710557 w 950"/>
                  <a:gd name="T47" fmla="*/ 68068602 h 468"/>
                  <a:gd name="T48" fmla="*/ 176580716 w 950"/>
                  <a:gd name="T49" fmla="*/ 80264222 h 468"/>
                  <a:gd name="T50" fmla="*/ 164127050 w 950"/>
                  <a:gd name="T51" fmla="*/ 90758314 h 468"/>
                  <a:gd name="T52" fmla="*/ 153160356 w 950"/>
                  <a:gd name="T53" fmla="*/ 80264222 h 468"/>
                  <a:gd name="T54" fmla="*/ 142008275 w 950"/>
                  <a:gd name="T55" fmla="*/ 78562693 h 468"/>
                  <a:gd name="T56" fmla="*/ 136989472 w 950"/>
                  <a:gd name="T57" fmla="*/ 90758314 h 468"/>
                  <a:gd name="T58" fmla="*/ 127138116 w 950"/>
                  <a:gd name="T59" fmla="*/ 101252405 h 468"/>
                  <a:gd name="T60" fmla="*/ 131970670 w 950"/>
                  <a:gd name="T61" fmla="*/ 110044435 h 468"/>
                  <a:gd name="T62" fmla="*/ 138104810 w 950"/>
                  <a:gd name="T63" fmla="*/ 123942116 h 468"/>
                  <a:gd name="T64" fmla="*/ 133271825 w 950"/>
                  <a:gd name="T65" fmla="*/ 132734147 h 468"/>
                  <a:gd name="T66" fmla="*/ 130669946 w 950"/>
                  <a:gd name="T67" fmla="*/ 131883116 h 468"/>
                  <a:gd name="T68" fmla="*/ 127138116 w 950"/>
                  <a:gd name="T69" fmla="*/ 130748764 h 468"/>
                  <a:gd name="T70" fmla="*/ 122305562 w 950"/>
                  <a:gd name="T71" fmla="*/ 130748764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FF0000"/>
              </a:solidFill>
              <a:ln w="9525">
                <a:solidFill>
                  <a:schemeClr val="bg1"/>
                </a:solidFill>
                <a:round/>
                <a:headEnd/>
                <a:tailEnd/>
              </a:ln>
            </p:spPr>
            <p:txBody>
              <a:bodyPr/>
              <a:lstStyle/>
              <a:p>
                <a:endParaRPr lang="el-GR"/>
              </a:p>
            </p:txBody>
          </p:sp>
          <p:sp>
            <p:nvSpPr>
              <p:cNvPr id="82973" name="Freeform 350">
                <a:extLst>
                  <a:ext uri="{FF2B5EF4-FFF2-40B4-BE49-F238E27FC236}">
                    <a16:creationId xmlns:a16="http://schemas.microsoft.com/office/drawing/2014/main" id="{83BE16BF-97C7-4257-A67C-61AC224F07EF}"/>
                  </a:ext>
                </a:extLst>
              </p:cNvPr>
              <p:cNvSpPr>
                <a:spLocks/>
              </p:cNvSpPr>
              <p:nvPr>
                <p:custDataLst>
                  <p:tags r:id="rId3"/>
                </p:custDataLst>
              </p:nvPr>
            </p:nvSpPr>
            <p:spPr bwMode="auto">
              <a:xfrm>
                <a:off x="6163858" y="3529547"/>
                <a:ext cx="207962" cy="122238"/>
              </a:xfrm>
              <a:custGeom>
                <a:avLst/>
                <a:gdLst>
                  <a:gd name="T0" fmla="*/ 20664623 w 471"/>
                  <a:gd name="T1" fmla="*/ 18283462 h 234"/>
                  <a:gd name="T2" fmla="*/ 32361713 w 471"/>
                  <a:gd name="T3" fmla="*/ 23468129 h 234"/>
                  <a:gd name="T4" fmla="*/ 53026778 w 471"/>
                  <a:gd name="T5" fmla="*/ 28652796 h 234"/>
                  <a:gd name="T6" fmla="*/ 72521780 w 471"/>
                  <a:gd name="T7" fmla="*/ 23468129 h 234"/>
                  <a:gd name="T8" fmla="*/ 74666306 w 471"/>
                  <a:gd name="T9" fmla="*/ 25924381 h 234"/>
                  <a:gd name="T10" fmla="*/ 76225800 w 471"/>
                  <a:gd name="T11" fmla="*/ 31109049 h 234"/>
                  <a:gd name="T12" fmla="*/ 79150072 w 471"/>
                  <a:gd name="T13" fmla="*/ 33837986 h 234"/>
                  <a:gd name="T14" fmla="*/ 82659376 w 471"/>
                  <a:gd name="T15" fmla="*/ 35202454 h 234"/>
                  <a:gd name="T16" fmla="*/ 84414028 w 471"/>
                  <a:gd name="T17" fmla="*/ 36566923 h 234"/>
                  <a:gd name="T18" fmla="*/ 85973522 w 471"/>
                  <a:gd name="T19" fmla="*/ 38476761 h 234"/>
                  <a:gd name="T20" fmla="*/ 87338300 w 471"/>
                  <a:gd name="T21" fmla="*/ 41205698 h 234"/>
                  <a:gd name="T22" fmla="*/ 88702637 w 471"/>
                  <a:gd name="T23" fmla="*/ 46390366 h 234"/>
                  <a:gd name="T24" fmla="*/ 91822067 w 471"/>
                  <a:gd name="T25" fmla="*/ 51848240 h 234"/>
                  <a:gd name="T26" fmla="*/ 68233171 w 471"/>
                  <a:gd name="T27" fmla="*/ 55123069 h 234"/>
                  <a:gd name="T28" fmla="*/ 64333994 w 471"/>
                  <a:gd name="T29" fmla="*/ 61126313 h 234"/>
                  <a:gd name="T30" fmla="*/ 61799595 w 471"/>
                  <a:gd name="T31" fmla="*/ 63582566 h 234"/>
                  <a:gd name="T32" fmla="*/ 59655070 w 471"/>
                  <a:gd name="T33" fmla="*/ 63582566 h 234"/>
                  <a:gd name="T34" fmla="*/ 58095576 w 471"/>
                  <a:gd name="T35" fmla="*/ 62763467 h 234"/>
                  <a:gd name="T36" fmla="*/ 56925955 w 471"/>
                  <a:gd name="T37" fmla="*/ 61126313 h 234"/>
                  <a:gd name="T38" fmla="*/ 56340924 w 471"/>
                  <a:gd name="T39" fmla="*/ 58943268 h 234"/>
                  <a:gd name="T40" fmla="*/ 55366019 w 471"/>
                  <a:gd name="T41" fmla="*/ 54304493 h 234"/>
                  <a:gd name="T42" fmla="*/ 54196398 w 471"/>
                  <a:gd name="T43" fmla="*/ 47482150 h 234"/>
                  <a:gd name="T44" fmla="*/ 52441747 w 471"/>
                  <a:gd name="T45" fmla="*/ 42297482 h 234"/>
                  <a:gd name="T46" fmla="*/ 50297221 w 471"/>
                  <a:gd name="T47" fmla="*/ 40387122 h 234"/>
                  <a:gd name="T48" fmla="*/ 47957980 w 471"/>
                  <a:gd name="T49" fmla="*/ 38476761 h 234"/>
                  <a:gd name="T50" fmla="*/ 46008612 w 471"/>
                  <a:gd name="T51" fmla="*/ 36293716 h 234"/>
                  <a:gd name="T52" fmla="*/ 43668929 w 471"/>
                  <a:gd name="T53" fmla="*/ 38204076 h 234"/>
                  <a:gd name="T54" fmla="*/ 40354783 w 471"/>
                  <a:gd name="T55" fmla="*/ 44207320 h 234"/>
                  <a:gd name="T56" fmla="*/ 38990447 w 471"/>
                  <a:gd name="T57" fmla="*/ 48300726 h 234"/>
                  <a:gd name="T58" fmla="*/ 36650764 w 471"/>
                  <a:gd name="T59" fmla="*/ 51848240 h 234"/>
                  <a:gd name="T60" fmla="*/ 32556871 w 471"/>
                  <a:gd name="T61" fmla="*/ 54849862 h 234"/>
                  <a:gd name="T62" fmla="*/ 28657693 w 471"/>
                  <a:gd name="T63" fmla="*/ 58124691 h 234"/>
                  <a:gd name="T64" fmla="*/ 25343547 w 471"/>
                  <a:gd name="T65" fmla="*/ 59761845 h 234"/>
                  <a:gd name="T66" fmla="*/ 22224559 w 471"/>
                  <a:gd name="T67" fmla="*/ 60580421 h 234"/>
                  <a:gd name="T68" fmla="*/ 18910413 w 471"/>
                  <a:gd name="T69" fmla="*/ 60307737 h 234"/>
                  <a:gd name="T70" fmla="*/ 15986140 w 471"/>
                  <a:gd name="T71" fmla="*/ 59215953 h 234"/>
                  <a:gd name="T72" fmla="*/ 12282121 w 471"/>
                  <a:gd name="T73" fmla="*/ 55941646 h 234"/>
                  <a:gd name="T74" fmla="*/ 11501932 w 471"/>
                  <a:gd name="T75" fmla="*/ 53758601 h 234"/>
                  <a:gd name="T76" fmla="*/ 11501932 w 471"/>
                  <a:gd name="T77" fmla="*/ 36839608 h 234"/>
                  <a:gd name="T78" fmla="*/ 0 w 471"/>
                  <a:gd name="T79" fmla="*/ 26742958 h 234"/>
                  <a:gd name="T80" fmla="*/ 10332312 w 471"/>
                  <a:gd name="T81" fmla="*/ 21830975 h 234"/>
                  <a:gd name="T82" fmla="*/ 16765888 w 471"/>
                  <a:gd name="T83" fmla="*/ 8186812 h 234"/>
                  <a:gd name="T84" fmla="*/ 25928579 w 471"/>
                  <a:gd name="T85" fmla="*/ 0 h 234"/>
                  <a:gd name="T86" fmla="*/ 32361713 w 471"/>
                  <a:gd name="T87" fmla="*/ 11461118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0000"/>
              </a:solidFill>
              <a:ln w="9525">
                <a:solidFill>
                  <a:schemeClr val="bg1"/>
                </a:solidFill>
                <a:round/>
                <a:headEnd/>
                <a:tailEnd/>
              </a:ln>
            </p:spPr>
            <p:txBody>
              <a:bodyPr/>
              <a:lstStyle/>
              <a:p>
                <a:endParaRPr lang="el-GR"/>
              </a:p>
            </p:txBody>
          </p:sp>
          <p:sp>
            <p:nvSpPr>
              <p:cNvPr id="82974" name="Freeform 351">
                <a:extLst>
                  <a:ext uri="{FF2B5EF4-FFF2-40B4-BE49-F238E27FC236}">
                    <a16:creationId xmlns:a16="http://schemas.microsoft.com/office/drawing/2014/main" id="{B5938623-A391-48BB-B1CC-10F098229697}"/>
                  </a:ext>
                </a:extLst>
              </p:cNvPr>
              <p:cNvSpPr>
                <a:spLocks/>
              </p:cNvSpPr>
              <p:nvPr>
                <p:custDataLst>
                  <p:tags r:id="rId4"/>
                </p:custDataLst>
              </p:nvPr>
            </p:nvSpPr>
            <p:spPr bwMode="auto">
              <a:xfrm>
                <a:off x="6213070" y="3458110"/>
                <a:ext cx="225425" cy="125412"/>
              </a:xfrm>
              <a:custGeom>
                <a:avLst/>
                <a:gdLst>
                  <a:gd name="T0" fmla="*/ 19542845 w 525"/>
                  <a:gd name="T1" fmla="*/ 50097671 h 241"/>
                  <a:gd name="T2" fmla="*/ 31895705 w 525"/>
                  <a:gd name="T3" fmla="*/ 40077720 h 241"/>
                  <a:gd name="T4" fmla="*/ 17146040 w 525"/>
                  <a:gd name="T5" fmla="*/ 28433658 h 241"/>
                  <a:gd name="T6" fmla="*/ 8665337 w 525"/>
                  <a:gd name="T7" fmla="*/ 31683442 h 241"/>
                  <a:gd name="T8" fmla="*/ 12168227 w 525"/>
                  <a:gd name="T9" fmla="*/ 16518478 h 241"/>
                  <a:gd name="T10" fmla="*/ 7374618 w 525"/>
                  <a:gd name="T11" fmla="*/ 11644062 h 241"/>
                  <a:gd name="T12" fmla="*/ 20649359 w 525"/>
                  <a:gd name="T13" fmla="*/ 6770166 h 241"/>
                  <a:gd name="T14" fmla="*/ 34292510 w 525"/>
                  <a:gd name="T15" fmla="*/ 0 h 241"/>
                  <a:gd name="T16" fmla="*/ 57522878 w 525"/>
                  <a:gd name="T17" fmla="*/ 5145014 h 241"/>
                  <a:gd name="T18" fmla="*/ 80937451 w 525"/>
                  <a:gd name="T19" fmla="*/ 6770166 h 241"/>
                  <a:gd name="T20" fmla="*/ 96793201 w 525"/>
                  <a:gd name="T21" fmla="*/ 14893846 h 241"/>
                  <a:gd name="T22" fmla="*/ 95687116 w 525"/>
                  <a:gd name="T23" fmla="*/ 18684827 h 241"/>
                  <a:gd name="T24" fmla="*/ 94027558 w 525"/>
                  <a:gd name="T25" fmla="*/ 22205209 h 241"/>
                  <a:gd name="T26" fmla="*/ 91999592 w 525"/>
                  <a:gd name="T27" fmla="*/ 24913276 h 241"/>
                  <a:gd name="T28" fmla="*/ 89418583 w 525"/>
                  <a:gd name="T29" fmla="*/ 26809027 h 241"/>
                  <a:gd name="T30" fmla="*/ 81490493 w 525"/>
                  <a:gd name="T31" fmla="*/ 27891941 h 241"/>
                  <a:gd name="T32" fmla="*/ 77065723 w 525"/>
                  <a:gd name="T33" fmla="*/ 28975376 h 241"/>
                  <a:gd name="T34" fmla="*/ 75037756 w 525"/>
                  <a:gd name="T35" fmla="*/ 30058290 h 241"/>
                  <a:gd name="T36" fmla="*/ 73562833 w 525"/>
                  <a:gd name="T37" fmla="*/ 31683442 h 241"/>
                  <a:gd name="T38" fmla="*/ 71350233 w 525"/>
                  <a:gd name="T39" fmla="*/ 36828457 h 241"/>
                  <a:gd name="T40" fmla="*/ 69691105 w 525"/>
                  <a:gd name="T41" fmla="*/ 39807122 h 241"/>
                  <a:gd name="T42" fmla="*/ 67294300 w 525"/>
                  <a:gd name="T43" fmla="*/ 41702872 h 241"/>
                  <a:gd name="T44" fmla="*/ 56232159 w 525"/>
                  <a:gd name="T45" fmla="*/ 44952136 h 241"/>
                  <a:gd name="T46" fmla="*/ 50332465 w 525"/>
                  <a:gd name="T47" fmla="*/ 46847887 h 241"/>
                  <a:gd name="T48" fmla="*/ 47935660 w 525"/>
                  <a:gd name="T49" fmla="*/ 48201920 h 241"/>
                  <a:gd name="T50" fmla="*/ 48119865 w 525"/>
                  <a:gd name="T51" fmla="*/ 51992901 h 241"/>
                  <a:gd name="T52" fmla="*/ 48488703 w 525"/>
                  <a:gd name="T53" fmla="*/ 54971566 h 241"/>
                  <a:gd name="T54" fmla="*/ 50332465 w 525"/>
                  <a:gd name="T55" fmla="*/ 60117101 h 241"/>
                  <a:gd name="T56" fmla="*/ 40376408 w 525"/>
                  <a:gd name="T57" fmla="*/ 61741733 h 241"/>
                  <a:gd name="T58" fmla="*/ 20649359 w 525"/>
                  <a:gd name="T59" fmla="*/ 63366364 h 241"/>
                  <a:gd name="T60" fmla="*/ 3687524 w 525"/>
                  <a:gd name="T61" fmla="*/ 60117101 h 241"/>
                  <a:gd name="T62" fmla="*/ 9771422 w 525"/>
                  <a:gd name="T63" fmla="*/ 4495213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FF0000"/>
              </a:solidFill>
              <a:ln w="9525">
                <a:solidFill>
                  <a:schemeClr val="bg1"/>
                </a:solidFill>
                <a:round/>
                <a:headEnd/>
                <a:tailEnd/>
              </a:ln>
            </p:spPr>
            <p:txBody>
              <a:bodyPr/>
              <a:lstStyle/>
              <a:p>
                <a:endParaRPr lang="el-GR"/>
              </a:p>
            </p:txBody>
          </p:sp>
          <p:sp>
            <p:nvSpPr>
              <p:cNvPr id="82975" name="Freeform 352">
                <a:extLst>
                  <a:ext uri="{FF2B5EF4-FFF2-40B4-BE49-F238E27FC236}">
                    <a16:creationId xmlns:a16="http://schemas.microsoft.com/office/drawing/2014/main" id="{F71C6E9C-1804-4CB3-A785-2C1D6014DEEF}"/>
                  </a:ext>
                </a:extLst>
              </p:cNvPr>
              <p:cNvSpPr>
                <a:spLocks/>
              </p:cNvSpPr>
              <p:nvPr>
                <p:custDataLst>
                  <p:tags r:id="rId5"/>
                </p:custDataLst>
              </p:nvPr>
            </p:nvSpPr>
            <p:spPr bwMode="auto">
              <a:xfrm>
                <a:off x="5834737" y="3473985"/>
                <a:ext cx="309625" cy="231680"/>
              </a:xfrm>
              <a:custGeom>
                <a:avLst/>
                <a:gdLst/>
                <a:ahLst/>
                <a:cxnLst/>
                <a:rect l="0" t="0" r="r" b="b"/>
                <a:pathLst>
                  <a:path w="12051" h="10000">
                    <a:moveTo>
                      <a:pt x="9923" y="6860"/>
                    </a:moveTo>
                    <a:cubicBezTo>
                      <a:pt x="9898" y="6852"/>
                      <a:pt x="9872" y="6845"/>
                      <a:pt x="9847" y="6837"/>
                    </a:cubicBezTo>
                    <a:cubicBezTo>
                      <a:pt x="9888" y="6896"/>
                      <a:pt x="9848" y="7657"/>
                      <a:pt x="10024" y="7610"/>
                    </a:cubicBezTo>
                    <a:cubicBezTo>
                      <a:pt x="10151" y="7666"/>
                      <a:pt x="10715" y="6554"/>
                      <a:pt x="10905" y="6557"/>
                    </a:cubicBezTo>
                    <a:cubicBezTo>
                      <a:pt x="10892" y="6634"/>
                      <a:pt x="12024" y="6341"/>
                      <a:pt x="12011" y="6418"/>
                    </a:cubicBezTo>
                    <a:cubicBezTo>
                      <a:pt x="12007" y="6496"/>
                      <a:pt x="9574" y="7803"/>
                      <a:pt x="9570" y="7881"/>
                    </a:cubicBezTo>
                    <a:cubicBezTo>
                      <a:pt x="9351" y="8111"/>
                      <a:pt x="9088" y="8341"/>
                      <a:pt x="9069" y="8488"/>
                    </a:cubicBezTo>
                    <a:cubicBezTo>
                      <a:pt x="9056" y="8527"/>
                      <a:pt x="9044" y="8566"/>
                      <a:pt x="9031" y="8605"/>
                    </a:cubicBezTo>
                    <a:cubicBezTo>
                      <a:pt x="9014" y="8651"/>
                      <a:pt x="8997" y="8698"/>
                      <a:pt x="8980" y="8744"/>
                    </a:cubicBezTo>
                    <a:lnTo>
                      <a:pt x="8852" y="8953"/>
                    </a:lnTo>
                    <a:cubicBezTo>
                      <a:pt x="8782" y="9054"/>
                      <a:pt x="8659" y="9229"/>
                      <a:pt x="8559" y="9349"/>
                    </a:cubicBezTo>
                    <a:cubicBezTo>
                      <a:pt x="8459" y="9469"/>
                      <a:pt x="8334" y="9604"/>
                      <a:pt x="8253" y="9674"/>
                    </a:cubicBezTo>
                    <a:lnTo>
                      <a:pt x="8074" y="9767"/>
                    </a:lnTo>
                    <a:lnTo>
                      <a:pt x="7985" y="9814"/>
                    </a:lnTo>
                    <a:cubicBezTo>
                      <a:pt x="7959" y="9829"/>
                      <a:pt x="7934" y="9845"/>
                      <a:pt x="7908" y="9860"/>
                    </a:cubicBezTo>
                    <a:lnTo>
                      <a:pt x="7806" y="9860"/>
                    </a:lnTo>
                    <a:lnTo>
                      <a:pt x="7704" y="9884"/>
                    </a:lnTo>
                    <a:lnTo>
                      <a:pt x="7602" y="9907"/>
                    </a:lnTo>
                    <a:lnTo>
                      <a:pt x="7487" y="9977"/>
                    </a:lnTo>
                    <a:cubicBezTo>
                      <a:pt x="7462" y="9985"/>
                      <a:pt x="7436" y="9992"/>
                      <a:pt x="7411" y="10000"/>
                    </a:cubicBezTo>
                    <a:lnTo>
                      <a:pt x="7334" y="10000"/>
                    </a:lnTo>
                    <a:lnTo>
                      <a:pt x="7232" y="9953"/>
                    </a:lnTo>
                    <a:lnTo>
                      <a:pt x="7117" y="9884"/>
                    </a:lnTo>
                    <a:cubicBezTo>
                      <a:pt x="7096" y="9737"/>
                      <a:pt x="6484" y="9441"/>
                      <a:pt x="6463" y="9294"/>
                    </a:cubicBezTo>
                    <a:lnTo>
                      <a:pt x="6786" y="8023"/>
                    </a:lnTo>
                    <a:lnTo>
                      <a:pt x="6390" y="7953"/>
                    </a:lnTo>
                    <a:lnTo>
                      <a:pt x="6237" y="7884"/>
                    </a:lnTo>
                    <a:lnTo>
                      <a:pt x="6097" y="7767"/>
                    </a:lnTo>
                    <a:lnTo>
                      <a:pt x="5842" y="7512"/>
                    </a:lnTo>
                    <a:cubicBezTo>
                      <a:pt x="5736" y="7376"/>
                      <a:pt x="5281" y="8166"/>
                      <a:pt x="5134" y="7999"/>
                    </a:cubicBezTo>
                    <a:lnTo>
                      <a:pt x="4203" y="7243"/>
                    </a:lnTo>
                    <a:lnTo>
                      <a:pt x="3614" y="6787"/>
                    </a:lnTo>
                    <a:lnTo>
                      <a:pt x="2704" y="6000"/>
                    </a:lnTo>
                    <a:lnTo>
                      <a:pt x="2602" y="6209"/>
                    </a:lnTo>
                    <a:lnTo>
                      <a:pt x="2321" y="6581"/>
                    </a:lnTo>
                    <a:cubicBezTo>
                      <a:pt x="2274" y="6651"/>
                      <a:pt x="2228" y="6721"/>
                      <a:pt x="2181" y="6791"/>
                    </a:cubicBezTo>
                    <a:lnTo>
                      <a:pt x="2041" y="6977"/>
                    </a:lnTo>
                    <a:lnTo>
                      <a:pt x="1926" y="7116"/>
                    </a:lnTo>
                    <a:cubicBezTo>
                      <a:pt x="1905" y="7132"/>
                      <a:pt x="1883" y="7147"/>
                      <a:pt x="1862" y="7163"/>
                    </a:cubicBezTo>
                    <a:lnTo>
                      <a:pt x="1747" y="7163"/>
                    </a:lnTo>
                    <a:lnTo>
                      <a:pt x="1620" y="7163"/>
                    </a:lnTo>
                    <a:lnTo>
                      <a:pt x="1518" y="7163"/>
                    </a:lnTo>
                    <a:lnTo>
                      <a:pt x="1441" y="7163"/>
                    </a:lnTo>
                    <a:lnTo>
                      <a:pt x="842" y="5860"/>
                    </a:lnTo>
                    <a:lnTo>
                      <a:pt x="842" y="5512"/>
                    </a:lnTo>
                    <a:lnTo>
                      <a:pt x="842" y="5186"/>
                    </a:lnTo>
                    <a:lnTo>
                      <a:pt x="842" y="4744"/>
                    </a:lnTo>
                    <a:lnTo>
                      <a:pt x="842" y="4163"/>
                    </a:lnTo>
                    <a:lnTo>
                      <a:pt x="676" y="4163"/>
                    </a:lnTo>
                    <a:lnTo>
                      <a:pt x="510" y="4163"/>
                    </a:lnTo>
                    <a:cubicBezTo>
                      <a:pt x="519" y="4209"/>
                      <a:pt x="527" y="4256"/>
                      <a:pt x="536" y="4302"/>
                    </a:cubicBezTo>
                    <a:lnTo>
                      <a:pt x="536" y="4465"/>
                    </a:lnTo>
                    <a:lnTo>
                      <a:pt x="536" y="4628"/>
                    </a:lnTo>
                    <a:cubicBezTo>
                      <a:pt x="532" y="4674"/>
                      <a:pt x="527" y="4721"/>
                      <a:pt x="523" y="4767"/>
                    </a:cubicBezTo>
                    <a:cubicBezTo>
                      <a:pt x="514" y="4821"/>
                      <a:pt x="506" y="4876"/>
                      <a:pt x="497" y="4930"/>
                    </a:cubicBezTo>
                    <a:cubicBezTo>
                      <a:pt x="484" y="4977"/>
                      <a:pt x="472" y="5023"/>
                      <a:pt x="459" y="5070"/>
                    </a:cubicBezTo>
                    <a:cubicBezTo>
                      <a:pt x="438" y="5109"/>
                      <a:pt x="416" y="5147"/>
                      <a:pt x="395" y="5186"/>
                    </a:cubicBezTo>
                    <a:cubicBezTo>
                      <a:pt x="378" y="5225"/>
                      <a:pt x="361" y="5263"/>
                      <a:pt x="344" y="5302"/>
                    </a:cubicBezTo>
                    <a:lnTo>
                      <a:pt x="383" y="5140"/>
                    </a:lnTo>
                    <a:cubicBezTo>
                      <a:pt x="391" y="5093"/>
                      <a:pt x="400" y="5047"/>
                      <a:pt x="408" y="5000"/>
                    </a:cubicBezTo>
                    <a:lnTo>
                      <a:pt x="408" y="4837"/>
                    </a:lnTo>
                    <a:cubicBezTo>
                      <a:pt x="404" y="4798"/>
                      <a:pt x="399" y="4760"/>
                      <a:pt x="395" y="4721"/>
                    </a:cubicBezTo>
                    <a:cubicBezTo>
                      <a:pt x="387" y="4628"/>
                      <a:pt x="378" y="4535"/>
                      <a:pt x="370" y="4442"/>
                    </a:cubicBezTo>
                    <a:cubicBezTo>
                      <a:pt x="361" y="4349"/>
                      <a:pt x="353" y="4256"/>
                      <a:pt x="344" y="4163"/>
                    </a:cubicBezTo>
                    <a:lnTo>
                      <a:pt x="344" y="4047"/>
                    </a:lnTo>
                    <a:cubicBezTo>
                      <a:pt x="353" y="4016"/>
                      <a:pt x="361" y="3984"/>
                      <a:pt x="370" y="3953"/>
                    </a:cubicBezTo>
                    <a:cubicBezTo>
                      <a:pt x="378" y="3930"/>
                      <a:pt x="387" y="3907"/>
                      <a:pt x="395" y="3884"/>
                    </a:cubicBezTo>
                    <a:cubicBezTo>
                      <a:pt x="404" y="3853"/>
                      <a:pt x="412" y="3822"/>
                      <a:pt x="421" y="3791"/>
                    </a:cubicBezTo>
                    <a:cubicBezTo>
                      <a:pt x="434" y="3768"/>
                      <a:pt x="446" y="3744"/>
                      <a:pt x="459" y="3721"/>
                    </a:cubicBezTo>
                    <a:cubicBezTo>
                      <a:pt x="468" y="3690"/>
                      <a:pt x="476" y="3659"/>
                      <a:pt x="485" y="3628"/>
                    </a:cubicBezTo>
                    <a:cubicBezTo>
                      <a:pt x="493" y="3597"/>
                      <a:pt x="502" y="3566"/>
                      <a:pt x="510" y="3535"/>
                    </a:cubicBezTo>
                    <a:lnTo>
                      <a:pt x="510" y="3419"/>
                    </a:lnTo>
                    <a:cubicBezTo>
                      <a:pt x="472" y="3334"/>
                      <a:pt x="433" y="3248"/>
                      <a:pt x="395" y="3163"/>
                    </a:cubicBezTo>
                    <a:cubicBezTo>
                      <a:pt x="378" y="3109"/>
                      <a:pt x="361" y="3054"/>
                      <a:pt x="344" y="3000"/>
                    </a:cubicBezTo>
                    <a:lnTo>
                      <a:pt x="255" y="3000"/>
                    </a:lnTo>
                    <a:cubicBezTo>
                      <a:pt x="217" y="2992"/>
                      <a:pt x="178" y="2985"/>
                      <a:pt x="140" y="2977"/>
                    </a:cubicBezTo>
                    <a:cubicBezTo>
                      <a:pt x="123" y="2961"/>
                      <a:pt x="106" y="2946"/>
                      <a:pt x="89" y="2930"/>
                    </a:cubicBezTo>
                    <a:cubicBezTo>
                      <a:pt x="76" y="2915"/>
                      <a:pt x="64" y="2899"/>
                      <a:pt x="51" y="2884"/>
                    </a:cubicBezTo>
                    <a:cubicBezTo>
                      <a:pt x="38" y="2861"/>
                      <a:pt x="26" y="2837"/>
                      <a:pt x="13" y="2814"/>
                    </a:cubicBezTo>
                    <a:cubicBezTo>
                      <a:pt x="9" y="2783"/>
                      <a:pt x="4" y="2752"/>
                      <a:pt x="0" y="2721"/>
                    </a:cubicBezTo>
                    <a:lnTo>
                      <a:pt x="0" y="2628"/>
                    </a:lnTo>
                    <a:cubicBezTo>
                      <a:pt x="4" y="2589"/>
                      <a:pt x="9" y="2551"/>
                      <a:pt x="13" y="2512"/>
                    </a:cubicBezTo>
                    <a:cubicBezTo>
                      <a:pt x="21" y="2481"/>
                      <a:pt x="30" y="2450"/>
                      <a:pt x="38" y="2419"/>
                    </a:cubicBezTo>
                    <a:cubicBezTo>
                      <a:pt x="47" y="2388"/>
                      <a:pt x="55" y="2357"/>
                      <a:pt x="64" y="2326"/>
                    </a:cubicBezTo>
                    <a:cubicBezTo>
                      <a:pt x="77" y="2295"/>
                      <a:pt x="89" y="2264"/>
                      <a:pt x="102" y="2233"/>
                    </a:cubicBezTo>
                    <a:lnTo>
                      <a:pt x="140" y="2186"/>
                    </a:lnTo>
                    <a:lnTo>
                      <a:pt x="204" y="2140"/>
                    </a:lnTo>
                    <a:lnTo>
                      <a:pt x="255" y="2140"/>
                    </a:lnTo>
                    <a:lnTo>
                      <a:pt x="344" y="2140"/>
                    </a:lnTo>
                    <a:lnTo>
                      <a:pt x="408" y="2186"/>
                    </a:lnTo>
                    <a:cubicBezTo>
                      <a:pt x="429" y="2202"/>
                      <a:pt x="451" y="2217"/>
                      <a:pt x="472" y="2233"/>
                    </a:cubicBezTo>
                    <a:lnTo>
                      <a:pt x="523" y="2302"/>
                    </a:lnTo>
                    <a:cubicBezTo>
                      <a:pt x="540" y="2318"/>
                      <a:pt x="557" y="2333"/>
                      <a:pt x="574" y="2349"/>
                    </a:cubicBezTo>
                    <a:cubicBezTo>
                      <a:pt x="600" y="2364"/>
                      <a:pt x="625" y="2380"/>
                      <a:pt x="651" y="2395"/>
                    </a:cubicBezTo>
                    <a:lnTo>
                      <a:pt x="727" y="2419"/>
                    </a:lnTo>
                    <a:cubicBezTo>
                      <a:pt x="765" y="2427"/>
                      <a:pt x="804" y="2434"/>
                      <a:pt x="842" y="2442"/>
                    </a:cubicBezTo>
                    <a:cubicBezTo>
                      <a:pt x="846" y="2395"/>
                      <a:pt x="851" y="2349"/>
                      <a:pt x="855" y="2302"/>
                    </a:cubicBezTo>
                    <a:lnTo>
                      <a:pt x="906" y="2140"/>
                    </a:lnTo>
                    <a:lnTo>
                      <a:pt x="957" y="2023"/>
                    </a:lnTo>
                    <a:cubicBezTo>
                      <a:pt x="974" y="1984"/>
                      <a:pt x="991" y="1946"/>
                      <a:pt x="1008" y="1907"/>
                    </a:cubicBezTo>
                    <a:cubicBezTo>
                      <a:pt x="1025" y="1868"/>
                      <a:pt x="1042" y="1830"/>
                      <a:pt x="1059" y="1791"/>
                    </a:cubicBezTo>
                    <a:cubicBezTo>
                      <a:pt x="1072" y="1744"/>
                      <a:pt x="1084" y="1698"/>
                      <a:pt x="1097" y="1651"/>
                    </a:cubicBezTo>
                    <a:cubicBezTo>
                      <a:pt x="1101" y="1620"/>
                      <a:pt x="1106" y="1589"/>
                      <a:pt x="1110" y="1558"/>
                    </a:cubicBezTo>
                    <a:lnTo>
                      <a:pt x="1110" y="1488"/>
                    </a:lnTo>
                    <a:lnTo>
                      <a:pt x="1110" y="1395"/>
                    </a:lnTo>
                    <a:cubicBezTo>
                      <a:pt x="1106" y="1364"/>
                      <a:pt x="1101" y="1333"/>
                      <a:pt x="1097" y="1302"/>
                    </a:cubicBezTo>
                    <a:lnTo>
                      <a:pt x="995" y="1279"/>
                    </a:lnTo>
                    <a:lnTo>
                      <a:pt x="906" y="1256"/>
                    </a:lnTo>
                    <a:lnTo>
                      <a:pt x="804" y="1209"/>
                    </a:lnTo>
                    <a:lnTo>
                      <a:pt x="702" y="1140"/>
                    </a:lnTo>
                    <a:cubicBezTo>
                      <a:pt x="689" y="1124"/>
                      <a:pt x="676" y="1109"/>
                      <a:pt x="663" y="1093"/>
                    </a:cubicBezTo>
                    <a:cubicBezTo>
                      <a:pt x="655" y="1070"/>
                      <a:pt x="646" y="1046"/>
                      <a:pt x="638" y="1023"/>
                    </a:cubicBezTo>
                    <a:lnTo>
                      <a:pt x="599" y="930"/>
                    </a:lnTo>
                    <a:cubicBezTo>
                      <a:pt x="586" y="907"/>
                      <a:pt x="574" y="883"/>
                      <a:pt x="561" y="860"/>
                    </a:cubicBezTo>
                    <a:cubicBezTo>
                      <a:pt x="553" y="829"/>
                      <a:pt x="544" y="798"/>
                      <a:pt x="536" y="767"/>
                    </a:cubicBezTo>
                    <a:cubicBezTo>
                      <a:pt x="532" y="728"/>
                      <a:pt x="527" y="690"/>
                      <a:pt x="523" y="651"/>
                    </a:cubicBezTo>
                    <a:cubicBezTo>
                      <a:pt x="519" y="620"/>
                      <a:pt x="514" y="589"/>
                      <a:pt x="510" y="558"/>
                    </a:cubicBezTo>
                    <a:lnTo>
                      <a:pt x="510" y="419"/>
                    </a:lnTo>
                    <a:lnTo>
                      <a:pt x="1365" y="1000"/>
                    </a:lnTo>
                    <a:cubicBezTo>
                      <a:pt x="1475" y="1287"/>
                      <a:pt x="1586" y="1573"/>
                      <a:pt x="1696" y="1860"/>
                    </a:cubicBezTo>
                    <a:lnTo>
                      <a:pt x="2283" y="2000"/>
                    </a:lnTo>
                    <a:lnTo>
                      <a:pt x="2793" y="1721"/>
                    </a:lnTo>
                    <a:cubicBezTo>
                      <a:pt x="2763" y="1481"/>
                      <a:pt x="2734" y="1240"/>
                      <a:pt x="2704" y="1000"/>
                    </a:cubicBezTo>
                    <a:lnTo>
                      <a:pt x="3227" y="558"/>
                    </a:lnTo>
                    <a:lnTo>
                      <a:pt x="3482" y="0"/>
                    </a:lnTo>
                    <a:lnTo>
                      <a:pt x="3903" y="140"/>
                    </a:lnTo>
                    <a:lnTo>
                      <a:pt x="4380" y="75"/>
                    </a:lnTo>
                    <a:lnTo>
                      <a:pt x="4705" y="47"/>
                    </a:lnTo>
                    <a:lnTo>
                      <a:pt x="5243" y="430"/>
                    </a:lnTo>
                    <a:lnTo>
                      <a:pt x="6033" y="984"/>
                    </a:lnTo>
                    <a:lnTo>
                      <a:pt x="6596" y="1456"/>
                    </a:lnTo>
                    <a:cubicBezTo>
                      <a:pt x="6716" y="891"/>
                      <a:pt x="6772" y="2149"/>
                      <a:pt x="6892" y="1584"/>
                    </a:cubicBezTo>
                    <a:lnTo>
                      <a:pt x="7639" y="2197"/>
                    </a:lnTo>
                    <a:lnTo>
                      <a:pt x="8333" y="2559"/>
                    </a:lnTo>
                    <a:lnTo>
                      <a:pt x="10057" y="4476"/>
                    </a:lnTo>
                    <a:lnTo>
                      <a:pt x="11262" y="5177"/>
                    </a:lnTo>
                    <a:cubicBezTo>
                      <a:pt x="11295" y="5371"/>
                      <a:pt x="11328" y="5566"/>
                      <a:pt x="11361" y="5760"/>
                    </a:cubicBezTo>
                    <a:cubicBezTo>
                      <a:pt x="11335" y="5806"/>
                      <a:pt x="12077" y="6180"/>
                      <a:pt x="12051" y="6226"/>
                    </a:cubicBezTo>
                  </a:path>
                </a:pathLst>
              </a:custGeom>
              <a:solidFill>
                <a:srgbClr val="FF0000"/>
              </a:solidFill>
              <a:ln w="9525">
                <a:solidFill>
                  <a:schemeClr val="bg1"/>
                </a:solidFill>
                <a:round/>
                <a:headEnd/>
                <a:tailEnd/>
              </a:ln>
            </p:spPr>
            <p:txBody>
              <a:bodyPr/>
              <a:lstStyle/>
              <a:p>
                <a:endParaRPr lang="el-GR"/>
              </a:p>
            </p:txBody>
          </p:sp>
        </p:grpSp>
        <p:sp>
          <p:nvSpPr>
            <p:cNvPr id="82966" name="Freeform 439">
              <a:extLst>
                <a:ext uri="{FF2B5EF4-FFF2-40B4-BE49-F238E27FC236}">
                  <a16:creationId xmlns:a16="http://schemas.microsoft.com/office/drawing/2014/main" id="{B56BEA1D-76D4-401B-BB02-6FC5C006C43C}"/>
                </a:ext>
              </a:extLst>
            </p:cNvPr>
            <p:cNvSpPr>
              <a:spLocks/>
            </p:cNvSpPr>
            <p:nvPr/>
          </p:nvSpPr>
          <p:spPr bwMode="auto">
            <a:xfrm rot="1916704" flipV="1">
              <a:off x="4333194" y="1809411"/>
              <a:ext cx="412807" cy="354044"/>
            </a:xfrm>
            <a:custGeom>
              <a:avLst/>
              <a:gdLst/>
              <a:ahLst/>
              <a:cxnLst/>
              <a:rect l="0" t="0" r="r" b="b"/>
              <a:pathLst>
                <a:path w="27719" h="17713">
                  <a:moveTo>
                    <a:pt x="10447" y="9356"/>
                  </a:moveTo>
                  <a:lnTo>
                    <a:pt x="11745" y="8497"/>
                  </a:lnTo>
                  <a:lnTo>
                    <a:pt x="11994" y="8716"/>
                  </a:lnTo>
                  <a:lnTo>
                    <a:pt x="12193" y="8904"/>
                  </a:lnTo>
                  <a:cubicBezTo>
                    <a:pt x="12160" y="8977"/>
                    <a:pt x="12126" y="9051"/>
                    <a:pt x="12093" y="9124"/>
                  </a:cubicBezTo>
                  <a:lnTo>
                    <a:pt x="11745" y="9249"/>
                  </a:lnTo>
                  <a:lnTo>
                    <a:pt x="11447" y="9312"/>
                  </a:lnTo>
                  <a:lnTo>
                    <a:pt x="11248" y="9469"/>
                  </a:lnTo>
                  <a:lnTo>
                    <a:pt x="11347" y="9688"/>
                  </a:lnTo>
                  <a:cubicBezTo>
                    <a:pt x="11380" y="9761"/>
                    <a:pt x="11414" y="9835"/>
                    <a:pt x="11447" y="9908"/>
                  </a:cubicBezTo>
                  <a:cubicBezTo>
                    <a:pt x="11497" y="9939"/>
                    <a:pt x="11546" y="9971"/>
                    <a:pt x="11596" y="10002"/>
                  </a:cubicBezTo>
                  <a:lnTo>
                    <a:pt x="11944" y="10033"/>
                  </a:lnTo>
                  <a:lnTo>
                    <a:pt x="12951" y="11349"/>
                  </a:lnTo>
                  <a:cubicBezTo>
                    <a:pt x="13358" y="11905"/>
                    <a:pt x="13642" y="12997"/>
                    <a:pt x="14388" y="13371"/>
                  </a:cubicBezTo>
                  <a:cubicBezTo>
                    <a:pt x="15045" y="13969"/>
                    <a:pt x="17286" y="14227"/>
                    <a:pt x="17426" y="13592"/>
                  </a:cubicBezTo>
                  <a:lnTo>
                    <a:pt x="19828" y="15454"/>
                  </a:lnTo>
                  <a:lnTo>
                    <a:pt x="20533" y="15342"/>
                  </a:lnTo>
                  <a:lnTo>
                    <a:pt x="21908" y="16248"/>
                  </a:lnTo>
                  <a:cubicBezTo>
                    <a:pt x="21925" y="16206"/>
                    <a:pt x="23532" y="16791"/>
                    <a:pt x="23549" y="16749"/>
                  </a:cubicBezTo>
                  <a:lnTo>
                    <a:pt x="26164" y="17713"/>
                  </a:lnTo>
                  <a:lnTo>
                    <a:pt x="25533" y="15459"/>
                  </a:lnTo>
                  <a:lnTo>
                    <a:pt x="23528" y="13274"/>
                  </a:lnTo>
                  <a:lnTo>
                    <a:pt x="17013" y="9819"/>
                  </a:lnTo>
                  <a:cubicBezTo>
                    <a:pt x="17030" y="9767"/>
                    <a:pt x="20607" y="9793"/>
                    <a:pt x="20624" y="9741"/>
                  </a:cubicBezTo>
                  <a:lnTo>
                    <a:pt x="21195" y="9368"/>
                  </a:lnTo>
                  <a:lnTo>
                    <a:pt x="23927" y="9736"/>
                  </a:lnTo>
                  <a:lnTo>
                    <a:pt x="25525" y="8938"/>
                  </a:lnTo>
                  <a:cubicBezTo>
                    <a:pt x="25558" y="8813"/>
                    <a:pt x="27686" y="9435"/>
                    <a:pt x="27719" y="9310"/>
                  </a:cubicBezTo>
                  <a:lnTo>
                    <a:pt x="25996" y="7569"/>
                  </a:lnTo>
                  <a:lnTo>
                    <a:pt x="22820" y="6368"/>
                  </a:lnTo>
                  <a:lnTo>
                    <a:pt x="20375" y="6940"/>
                  </a:lnTo>
                  <a:cubicBezTo>
                    <a:pt x="20325" y="6888"/>
                    <a:pt x="19367" y="8102"/>
                    <a:pt x="19317" y="8050"/>
                  </a:cubicBezTo>
                  <a:lnTo>
                    <a:pt x="18012" y="7976"/>
                  </a:lnTo>
                  <a:cubicBezTo>
                    <a:pt x="18192" y="6914"/>
                    <a:pt x="17232" y="7574"/>
                    <a:pt x="17412" y="6512"/>
                  </a:cubicBezTo>
                  <a:lnTo>
                    <a:pt x="17904" y="5817"/>
                  </a:lnTo>
                  <a:lnTo>
                    <a:pt x="17068" y="4390"/>
                  </a:lnTo>
                  <a:lnTo>
                    <a:pt x="17068" y="4108"/>
                  </a:lnTo>
                  <a:cubicBezTo>
                    <a:pt x="17018" y="4004"/>
                    <a:pt x="16969" y="3899"/>
                    <a:pt x="16919" y="3795"/>
                  </a:cubicBezTo>
                  <a:cubicBezTo>
                    <a:pt x="16952" y="3680"/>
                    <a:pt x="16986" y="3565"/>
                    <a:pt x="17019" y="3450"/>
                  </a:cubicBezTo>
                  <a:cubicBezTo>
                    <a:pt x="17035" y="3356"/>
                    <a:pt x="17052" y="3262"/>
                    <a:pt x="17068" y="3168"/>
                  </a:cubicBezTo>
                  <a:cubicBezTo>
                    <a:pt x="17085" y="3063"/>
                    <a:pt x="17101" y="2959"/>
                    <a:pt x="17118" y="2854"/>
                  </a:cubicBezTo>
                  <a:cubicBezTo>
                    <a:pt x="17135" y="2718"/>
                    <a:pt x="17151" y="2583"/>
                    <a:pt x="17168" y="2447"/>
                  </a:cubicBezTo>
                  <a:cubicBezTo>
                    <a:pt x="17201" y="2322"/>
                    <a:pt x="17234" y="2196"/>
                    <a:pt x="17267" y="2071"/>
                  </a:cubicBezTo>
                  <a:cubicBezTo>
                    <a:pt x="17300" y="1966"/>
                    <a:pt x="17334" y="1862"/>
                    <a:pt x="17367" y="1757"/>
                  </a:cubicBezTo>
                  <a:lnTo>
                    <a:pt x="17118" y="1663"/>
                  </a:lnTo>
                  <a:lnTo>
                    <a:pt x="16770" y="1726"/>
                  </a:lnTo>
                  <a:lnTo>
                    <a:pt x="16471" y="1726"/>
                  </a:lnTo>
                  <a:lnTo>
                    <a:pt x="16471" y="1632"/>
                  </a:lnTo>
                  <a:lnTo>
                    <a:pt x="16820" y="1287"/>
                  </a:lnTo>
                  <a:lnTo>
                    <a:pt x="17168" y="942"/>
                  </a:lnTo>
                  <a:lnTo>
                    <a:pt x="17267" y="597"/>
                  </a:lnTo>
                  <a:cubicBezTo>
                    <a:pt x="17251" y="513"/>
                    <a:pt x="17234" y="430"/>
                    <a:pt x="17218" y="346"/>
                  </a:cubicBezTo>
                  <a:lnTo>
                    <a:pt x="17019" y="221"/>
                  </a:lnTo>
                  <a:lnTo>
                    <a:pt x="16919" y="190"/>
                  </a:lnTo>
                  <a:lnTo>
                    <a:pt x="16820" y="190"/>
                  </a:lnTo>
                  <a:lnTo>
                    <a:pt x="16770" y="190"/>
                  </a:lnTo>
                  <a:lnTo>
                    <a:pt x="16670" y="190"/>
                  </a:lnTo>
                  <a:lnTo>
                    <a:pt x="16272" y="221"/>
                  </a:lnTo>
                  <a:lnTo>
                    <a:pt x="15974" y="127"/>
                  </a:lnTo>
                  <a:lnTo>
                    <a:pt x="15725" y="64"/>
                  </a:lnTo>
                  <a:lnTo>
                    <a:pt x="15526" y="33"/>
                  </a:lnTo>
                  <a:lnTo>
                    <a:pt x="15476" y="33"/>
                  </a:lnTo>
                  <a:lnTo>
                    <a:pt x="15377" y="33"/>
                  </a:lnTo>
                  <a:cubicBezTo>
                    <a:pt x="15360" y="43"/>
                    <a:pt x="15344" y="54"/>
                    <a:pt x="15327" y="64"/>
                  </a:cubicBezTo>
                  <a:lnTo>
                    <a:pt x="15277" y="96"/>
                  </a:lnTo>
                  <a:cubicBezTo>
                    <a:pt x="15227" y="127"/>
                    <a:pt x="15178" y="159"/>
                    <a:pt x="15128" y="190"/>
                  </a:cubicBezTo>
                  <a:lnTo>
                    <a:pt x="14879" y="221"/>
                  </a:lnTo>
                  <a:lnTo>
                    <a:pt x="14581" y="221"/>
                  </a:lnTo>
                  <a:lnTo>
                    <a:pt x="14282" y="252"/>
                  </a:lnTo>
                  <a:lnTo>
                    <a:pt x="14083" y="284"/>
                  </a:lnTo>
                  <a:lnTo>
                    <a:pt x="13785" y="315"/>
                  </a:lnTo>
                  <a:lnTo>
                    <a:pt x="13636" y="346"/>
                  </a:lnTo>
                  <a:lnTo>
                    <a:pt x="13486" y="472"/>
                  </a:lnTo>
                  <a:cubicBezTo>
                    <a:pt x="13453" y="503"/>
                    <a:pt x="13420" y="535"/>
                    <a:pt x="13387" y="566"/>
                  </a:cubicBezTo>
                  <a:lnTo>
                    <a:pt x="13287" y="597"/>
                  </a:lnTo>
                  <a:lnTo>
                    <a:pt x="13088" y="597"/>
                  </a:lnTo>
                  <a:lnTo>
                    <a:pt x="13079" y="255"/>
                  </a:lnTo>
                  <a:lnTo>
                    <a:pt x="12342" y="754"/>
                  </a:lnTo>
                  <a:lnTo>
                    <a:pt x="11640" y="8"/>
                  </a:lnTo>
                  <a:cubicBezTo>
                    <a:pt x="11295" y="-44"/>
                    <a:pt x="10312" y="158"/>
                    <a:pt x="10272" y="444"/>
                  </a:cubicBezTo>
                  <a:cubicBezTo>
                    <a:pt x="10289" y="517"/>
                    <a:pt x="11380" y="1653"/>
                    <a:pt x="11397" y="1726"/>
                  </a:cubicBezTo>
                  <a:lnTo>
                    <a:pt x="11397" y="1883"/>
                  </a:lnTo>
                  <a:cubicBezTo>
                    <a:pt x="11380" y="1893"/>
                    <a:pt x="11364" y="1904"/>
                    <a:pt x="11347" y="1914"/>
                  </a:cubicBezTo>
                  <a:lnTo>
                    <a:pt x="11049" y="1945"/>
                  </a:lnTo>
                  <a:lnTo>
                    <a:pt x="10700" y="1977"/>
                  </a:lnTo>
                  <a:lnTo>
                    <a:pt x="10352" y="2102"/>
                  </a:lnTo>
                  <a:cubicBezTo>
                    <a:pt x="10335" y="2144"/>
                    <a:pt x="10319" y="2185"/>
                    <a:pt x="10302" y="2227"/>
                  </a:cubicBezTo>
                  <a:lnTo>
                    <a:pt x="10203" y="2353"/>
                  </a:lnTo>
                  <a:lnTo>
                    <a:pt x="9954" y="2447"/>
                  </a:lnTo>
                  <a:lnTo>
                    <a:pt x="9656" y="2572"/>
                  </a:lnTo>
                  <a:lnTo>
                    <a:pt x="9506" y="2666"/>
                  </a:lnTo>
                  <a:cubicBezTo>
                    <a:pt x="9456" y="2718"/>
                    <a:pt x="9407" y="2771"/>
                    <a:pt x="9357" y="2823"/>
                  </a:cubicBezTo>
                  <a:lnTo>
                    <a:pt x="9208" y="2948"/>
                  </a:lnTo>
                  <a:cubicBezTo>
                    <a:pt x="9175" y="3011"/>
                    <a:pt x="9141" y="3073"/>
                    <a:pt x="9108" y="3136"/>
                  </a:cubicBezTo>
                  <a:lnTo>
                    <a:pt x="9258" y="3387"/>
                  </a:lnTo>
                  <a:lnTo>
                    <a:pt x="9556" y="3638"/>
                  </a:lnTo>
                  <a:lnTo>
                    <a:pt x="9705" y="3857"/>
                  </a:lnTo>
                  <a:cubicBezTo>
                    <a:pt x="9738" y="3920"/>
                    <a:pt x="9772" y="3983"/>
                    <a:pt x="9805" y="4046"/>
                  </a:cubicBezTo>
                  <a:cubicBezTo>
                    <a:pt x="9772" y="4088"/>
                    <a:pt x="9738" y="4129"/>
                    <a:pt x="9705" y="4171"/>
                  </a:cubicBezTo>
                  <a:cubicBezTo>
                    <a:pt x="9672" y="4234"/>
                    <a:pt x="9639" y="4296"/>
                    <a:pt x="9606" y="4359"/>
                  </a:cubicBezTo>
                  <a:cubicBezTo>
                    <a:pt x="9473" y="4286"/>
                    <a:pt x="8976" y="4222"/>
                    <a:pt x="8909" y="3732"/>
                  </a:cubicBezTo>
                  <a:cubicBezTo>
                    <a:pt x="8859" y="3680"/>
                    <a:pt x="9255" y="1470"/>
                    <a:pt x="9205" y="1418"/>
                  </a:cubicBezTo>
                  <a:lnTo>
                    <a:pt x="8273" y="1785"/>
                  </a:lnTo>
                  <a:cubicBezTo>
                    <a:pt x="7938" y="1428"/>
                    <a:pt x="6916" y="1333"/>
                    <a:pt x="6746" y="1430"/>
                  </a:cubicBezTo>
                  <a:lnTo>
                    <a:pt x="7255" y="2366"/>
                  </a:lnTo>
                  <a:lnTo>
                    <a:pt x="6168" y="2167"/>
                  </a:lnTo>
                  <a:cubicBezTo>
                    <a:pt x="6135" y="2261"/>
                    <a:pt x="2091" y="1731"/>
                    <a:pt x="2058" y="1825"/>
                  </a:cubicBezTo>
                  <a:cubicBezTo>
                    <a:pt x="2008" y="1950"/>
                    <a:pt x="1512" y="3332"/>
                    <a:pt x="1462" y="3457"/>
                  </a:cubicBezTo>
                  <a:lnTo>
                    <a:pt x="0" y="4291"/>
                  </a:lnTo>
                  <a:lnTo>
                    <a:pt x="2474" y="5078"/>
                  </a:lnTo>
                  <a:cubicBezTo>
                    <a:pt x="2957" y="5308"/>
                    <a:pt x="2035" y="5491"/>
                    <a:pt x="2900" y="5669"/>
                  </a:cubicBezTo>
                  <a:lnTo>
                    <a:pt x="5627" y="6505"/>
                  </a:lnTo>
                  <a:lnTo>
                    <a:pt x="6713" y="7064"/>
                  </a:lnTo>
                  <a:lnTo>
                    <a:pt x="7163" y="7584"/>
                  </a:lnTo>
                  <a:cubicBezTo>
                    <a:pt x="7138" y="7662"/>
                    <a:pt x="8336" y="6887"/>
                    <a:pt x="8561" y="6773"/>
                  </a:cubicBezTo>
                  <a:cubicBezTo>
                    <a:pt x="8544" y="6815"/>
                    <a:pt x="8528" y="6856"/>
                    <a:pt x="8511" y="6898"/>
                  </a:cubicBezTo>
                  <a:cubicBezTo>
                    <a:pt x="8528" y="6950"/>
                    <a:pt x="8544" y="7003"/>
                    <a:pt x="8561" y="7055"/>
                  </a:cubicBezTo>
                  <a:lnTo>
                    <a:pt x="8760" y="7212"/>
                  </a:lnTo>
                  <a:lnTo>
                    <a:pt x="8909" y="7368"/>
                  </a:lnTo>
                  <a:lnTo>
                    <a:pt x="9158" y="7494"/>
                  </a:lnTo>
                  <a:lnTo>
                    <a:pt x="9556" y="7713"/>
                  </a:lnTo>
                  <a:lnTo>
                    <a:pt x="9131" y="8729"/>
                  </a:lnTo>
                  <a:lnTo>
                    <a:pt x="10501" y="7682"/>
                  </a:lnTo>
                  <a:lnTo>
                    <a:pt x="9559" y="8716"/>
                  </a:lnTo>
                  <a:cubicBezTo>
                    <a:pt x="9579" y="8914"/>
                    <a:pt x="9598" y="9113"/>
                    <a:pt x="9618" y="9311"/>
                  </a:cubicBezTo>
                  <a:lnTo>
                    <a:pt x="10447" y="9356"/>
                  </a:lnTo>
                  <a:close/>
                </a:path>
              </a:pathLst>
            </a:custGeom>
            <a:solidFill>
              <a:srgbClr val="92D050"/>
            </a:solidFill>
            <a:ln w="9525">
              <a:solidFill>
                <a:schemeClr val="bg1"/>
              </a:solidFill>
              <a:round/>
              <a:headEnd/>
              <a:tailEnd/>
            </a:ln>
          </p:spPr>
          <p:txBody>
            <a:bodyPr/>
            <a:lstStyle/>
            <a:p>
              <a:endParaRPr lang="el-GR"/>
            </a:p>
          </p:txBody>
        </p:sp>
        <p:sp>
          <p:nvSpPr>
            <p:cNvPr id="82967" name="Freeform 1">
              <a:extLst>
                <a:ext uri="{FF2B5EF4-FFF2-40B4-BE49-F238E27FC236}">
                  <a16:creationId xmlns:a16="http://schemas.microsoft.com/office/drawing/2014/main" id="{5B6F0A34-2D87-42BE-9387-BA53C7F455F1}"/>
                </a:ext>
              </a:extLst>
            </p:cNvPr>
            <p:cNvSpPr>
              <a:spLocks/>
            </p:cNvSpPr>
            <p:nvPr/>
          </p:nvSpPr>
          <p:spPr bwMode="auto">
            <a:xfrm>
              <a:off x="5095875" y="3324226"/>
              <a:ext cx="114300" cy="109537"/>
            </a:xfrm>
            <a:custGeom>
              <a:avLst/>
              <a:gdLst>
                <a:gd name="T0" fmla="*/ 0 w 114300"/>
                <a:gd name="T1" fmla="*/ 2380 h 109537"/>
                <a:gd name="T2" fmla="*/ 57150 w 114300"/>
                <a:gd name="T3" fmla="*/ 0 h 109537"/>
                <a:gd name="T4" fmla="*/ 104775 w 114300"/>
                <a:gd name="T5" fmla="*/ 28575 h 109537"/>
                <a:gd name="T6" fmla="*/ 114300 w 114300"/>
                <a:gd name="T7" fmla="*/ 59530 h 109537"/>
                <a:gd name="T8" fmla="*/ 97631 w 114300"/>
                <a:gd name="T9" fmla="*/ 71437 h 109537"/>
                <a:gd name="T10" fmla="*/ 78581 w 114300"/>
                <a:gd name="T11" fmla="*/ 64294 h 109537"/>
                <a:gd name="T12" fmla="*/ 69057 w 114300"/>
                <a:gd name="T13" fmla="*/ 97630 h 109537"/>
                <a:gd name="T14" fmla="*/ 52388 w 114300"/>
                <a:gd name="T15" fmla="*/ 109537 h 109537"/>
                <a:gd name="T16" fmla="*/ 42863 w 114300"/>
                <a:gd name="T17" fmla="*/ 59530 h 109537"/>
                <a:gd name="T18" fmla="*/ 0 w 114300"/>
                <a:gd name="T19" fmla="*/ 2380 h 1095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4300" h="109537">
                  <a:moveTo>
                    <a:pt x="0" y="2380"/>
                  </a:moveTo>
                  <a:lnTo>
                    <a:pt x="57150" y="0"/>
                  </a:lnTo>
                  <a:lnTo>
                    <a:pt x="104775" y="28575"/>
                  </a:lnTo>
                  <a:lnTo>
                    <a:pt x="114300" y="59530"/>
                  </a:lnTo>
                  <a:lnTo>
                    <a:pt x="97631" y="71437"/>
                  </a:lnTo>
                  <a:lnTo>
                    <a:pt x="78581" y="64294"/>
                  </a:lnTo>
                  <a:lnTo>
                    <a:pt x="69057" y="97630"/>
                  </a:lnTo>
                  <a:lnTo>
                    <a:pt x="52388" y="109537"/>
                  </a:lnTo>
                  <a:lnTo>
                    <a:pt x="42863" y="59530"/>
                  </a:lnTo>
                  <a:lnTo>
                    <a:pt x="0" y="2380"/>
                  </a:lnTo>
                  <a:close/>
                </a:path>
              </a:pathLst>
            </a:custGeom>
            <a:solidFill>
              <a:srgbClr val="FF0000"/>
            </a:solidFill>
            <a:ln w="9525">
              <a:solidFill>
                <a:schemeClr val="bg1"/>
              </a:solidFill>
              <a:round/>
              <a:headEnd/>
              <a:tailEnd/>
            </a:ln>
          </p:spPr>
          <p:txBody>
            <a:bodyPr/>
            <a:lstStyle/>
            <a:p>
              <a:endParaRPr lang="el-GR"/>
            </a:p>
          </p:txBody>
        </p:sp>
        <p:sp>
          <p:nvSpPr>
            <p:cNvPr id="82968" name="Freeform 2">
              <a:extLst>
                <a:ext uri="{FF2B5EF4-FFF2-40B4-BE49-F238E27FC236}">
                  <a16:creationId xmlns:a16="http://schemas.microsoft.com/office/drawing/2014/main" id="{7D94F8BB-CBC3-4925-9086-A4E054D86BF8}"/>
                </a:ext>
              </a:extLst>
            </p:cNvPr>
            <p:cNvSpPr>
              <a:spLocks/>
            </p:cNvSpPr>
            <p:nvPr/>
          </p:nvSpPr>
          <p:spPr bwMode="auto">
            <a:xfrm>
              <a:off x="5445919" y="3481388"/>
              <a:ext cx="157162" cy="80962"/>
            </a:xfrm>
            <a:custGeom>
              <a:avLst/>
              <a:gdLst>
                <a:gd name="T0" fmla="*/ 2381 w 157162"/>
                <a:gd name="T1" fmla="*/ 0 h 80962"/>
                <a:gd name="T2" fmla="*/ 85725 w 157162"/>
                <a:gd name="T3" fmla="*/ 11906 h 80962"/>
                <a:gd name="T4" fmla="*/ 121444 w 157162"/>
                <a:gd name="T5" fmla="*/ 33337 h 80962"/>
                <a:gd name="T6" fmla="*/ 157162 w 157162"/>
                <a:gd name="T7" fmla="*/ 35718 h 80962"/>
                <a:gd name="T8" fmla="*/ 142875 w 157162"/>
                <a:gd name="T9" fmla="*/ 59531 h 80962"/>
                <a:gd name="T10" fmla="*/ 145256 w 157162"/>
                <a:gd name="T11" fmla="*/ 80962 h 80962"/>
                <a:gd name="T12" fmla="*/ 83343 w 157162"/>
                <a:gd name="T13" fmla="*/ 73818 h 80962"/>
                <a:gd name="T14" fmla="*/ 40481 w 157162"/>
                <a:gd name="T15" fmla="*/ 42862 h 80962"/>
                <a:gd name="T16" fmla="*/ 0 w 157162"/>
                <a:gd name="T17" fmla="*/ 30955 h 80962"/>
                <a:gd name="T18" fmla="*/ 2381 w 157162"/>
                <a:gd name="T19" fmla="*/ 0 h 809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7162" h="80962">
                  <a:moveTo>
                    <a:pt x="2381" y="0"/>
                  </a:moveTo>
                  <a:lnTo>
                    <a:pt x="85725" y="11906"/>
                  </a:lnTo>
                  <a:lnTo>
                    <a:pt x="121444" y="33337"/>
                  </a:lnTo>
                  <a:lnTo>
                    <a:pt x="157162" y="35718"/>
                  </a:lnTo>
                  <a:lnTo>
                    <a:pt x="142875" y="59531"/>
                  </a:lnTo>
                  <a:lnTo>
                    <a:pt x="145256" y="80962"/>
                  </a:lnTo>
                  <a:lnTo>
                    <a:pt x="83343" y="73818"/>
                  </a:lnTo>
                  <a:cubicBezTo>
                    <a:pt x="65881" y="67468"/>
                    <a:pt x="47228" y="57150"/>
                    <a:pt x="40481" y="42862"/>
                  </a:cubicBezTo>
                  <a:cubicBezTo>
                    <a:pt x="26591" y="35718"/>
                    <a:pt x="6350" y="38099"/>
                    <a:pt x="0" y="30955"/>
                  </a:cubicBezTo>
                  <a:lnTo>
                    <a:pt x="2381" y="0"/>
                  </a:lnTo>
                  <a:close/>
                </a:path>
              </a:pathLst>
            </a:custGeom>
            <a:solidFill>
              <a:srgbClr val="FF0000"/>
            </a:solidFill>
            <a:ln w="9525">
              <a:solidFill>
                <a:schemeClr val="bg1"/>
              </a:solidFill>
              <a:round/>
              <a:headEnd/>
              <a:tailEnd/>
            </a:ln>
          </p:spPr>
          <p:txBody>
            <a:bodyPr/>
            <a:lstStyle/>
            <a:p>
              <a:endParaRPr lang="el-GR"/>
            </a:p>
          </p:txBody>
        </p:sp>
        <p:sp>
          <p:nvSpPr>
            <p:cNvPr id="82969" name="Freeform 6">
              <a:extLst>
                <a:ext uri="{FF2B5EF4-FFF2-40B4-BE49-F238E27FC236}">
                  <a16:creationId xmlns:a16="http://schemas.microsoft.com/office/drawing/2014/main" id="{281E6E3D-6E91-4284-B57C-BA12B2D35574}"/>
                </a:ext>
              </a:extLst>
            </p:cNvPr>
            <p:cNvSpPr>
              <a:spLocks/>
            </p:cNvSpPr>
            <p:nvPr/>
          </p:nvSpPr>
          <p:spPr bwMode="auto">
            <a:xfrm>
              <a:off x="5554866" y="3493292"/>
              <a:ext cx="100603" cy="159545"/>
            </a:xfrm>
            <a:custGeom>
              <a:avLst/>
              <a:gdLst>
                <a:gd name="T0" fmla="*/ 31277 w 88106"/>
                <a:gd name="T1" fmla="*/ 26194 h 159545"/>
                <a:gd name="T2" fmla="*/ 56422 w 88106"/>
                <a:gd name="T3" fmla="*/ 40482 h 159545"/>
                <a:gd name="T4" fmla="*/ 74426 w 88106"/>
                <a:gd name="T5" fmla="*/ 0 h 159545"/>
                <a:gd name="T6" fmla="*/ 100603 w 88106"/>
                <a:gd name="T7" fmla="*/ 54770 h 159545"/>
                <a:gd name="T8" fmla="*/ 73412 w 88106"/>
                <a:gd name="T9" fmla="*/ 92870 h 159545"/>
                <a:gd name="T10" fmla="*/ 76132 w 88106"/>
                <a:gd name="T11" fmla="*/ 121445 h 159545"/>
                <a:gd name="T12" fmla="*/ 83934 w 88106"/>
                <a:gd name="T13" fmla="*/ 142876 h 159545"/>
                <a:gd name="T14" fmla="*/ 73412 w 88106"/>
                <a:gd name="T15" fmla="*/ 159545 h 159545"/>
                <a:gd name="T16" fmla="*/ 51660 w 88106"/>
                <a:gd name="T17" fmla="*/ 123826 h 159545"/>
                <a:gd name="T18" fmla="*/ 16313 w 88106"/>
                <a:gd name="T19" fmla="*/ 138113 h 159545"/>
                <a:gd name="T20" fmla="*/ 0 w 88106"/>
                <a:gd name="T21" fmla="*/ 102395 h 159545"/>
                <a:gd name="T22" fmla="*/ 27191 w 88106"/>
                <a:gd name="T23" fmla="*/ 78582 h 159545"/>
                <a:gd name="T24" fmla="*/ 31277 w 88106"/>
                <a:gd name="T25" fmla="*/ 26194 h 1595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8106" h="159545">
                  <a:moveTo>
                    <a:pt x="27392" y="26194"/>
                  </a:moveTo>
                  <a:lnTo>
                    <a:pt x="49413" y="40482"/>
                  </a:lnTo>
                  <a:lnTo>
                    <a:pt x="65181" y="0"/>
                  </a:lnTo>
                  <a:lnTo>
                    <a:pt x="88106" y="54770"/>
                  </a:lnTo>
                  <a:lnTo>
                    <a:pt x="64293" y="92870"/>
                  </a:lnTo>
                  <a:lnTo>
                    <a:pt x="66675" y="121445"/>
                  </a:lnTo>
                  <a:lnTo>
                    <a:pt x="73508" y="142876"/>
                  </a:lnTo>
                  <a:lnTo>
                    <a:pt x="64293" y="159545"/>
                  </a:lnTo>
                  <a:lnTo>
                    <a:pt x="45243" y="123826"/>
                  </a:lnTo>
                  <a:lnTo>
                    <a:pt x="14287" y="138113"/>
                  </a:lnTo>
                  <a:lnTo>
                    <a:pt x="0" y="102395"/>
                  </a:lnTo>
                  <a:lnTo>
                    <a:pt x="23813" y="78582"/>
                  </a:lnTo>
                  <a:lnTo>
                    <a:pt x="27392" y="26194"/>
                  </a:lnTo>
                  <a:close/>
                </a:path>
              </a:pathLst>
            </a:custGeom>
            <a:solidFill>
              <a:srgbClr val="FF0000"/>
            </a:solidFill>
            <a:ln w="9525">
              <a:solidFill>
                <a:schemeClr val="bg1"/>
              </a:solidFill>
              <a:round/>
              <a:headEnd/>
              <a:tailEnd/>
            </a:ln>
          </p:spPr>
          <p:txBody>
            <a:bodyPr/>
            <a:lstStyle/>
            <a:p>
              <a:endParaRPr lang="el-GR"/>
            </a:p>
          </p:txBody>
        </p:sp>
        <p:sp>
          <p:nvSpPr>
            <p:cNvPr id="82970" name="Freeform 7">
              <a:extLst>
                <a:ext uri="{FF2B5EF4-FFF2-40B4-BE49-F238E27FC236}">
                  <a16:creationId xmlns:a16="http://schemas.microsoft.com/office/drawing/2014/main" id="{D25E97BD-110C-4D73-917D-A7B909186BDE}"/>
                </a:ext>
              </a:extLst>
            </p:cNvPr>
            <p:cNvSpPr>
              <a:spLocks/>
            </p:cNvSpPr>
            <p:nvPr/>
          </p:nvSpPr>
          <p:spPr bwMode="auto">
            <a:xfrm>
              <a:off x="5517356" y="3550444"/>
              <a:ext cx="73819" cy="69056"/>
            </a:xfrm>
            <a:custGeom>
              <a:avLst/>
              <a:gdLst>
                <a:gd name="T0" fmla="*/ 2382 w 73819"/>
                <a:gd name="T1" fmla="*/ 0 h 69056"/>
                <a:gd name="T2" fmla="*/ 71438 w 73819"/>
                <a:gd name="T3" fmla="*/ 7144 h 69056"/>
                <a:gd name="T4" fmla="*/ 73819 w 73819"/>
                <a:gd name="T5" fmla="*/ 26194 h 69056"/>
                <a:gd name="T6" fmla="*/ 47625 w 73819"/>
                <a:gd name="T7" fmla="*/ 47625 h 69056"/>
                <a:gd name="T8" fmla="*/ 54769 w 73819"/>
                <a:gd name="T9" fmla="*/ 69056 h 69056"/>
                <a:gd name="T10" fmla="*/ 30957 w 73819"/>
                <a:gd name="T11" fmla="*/ 54769 h 69056"/>
                <a:gd name="T12" fmla="*/ 0 w 73819"/>
                <a:gd name="T13" fmla="*/ 26194 h 69056"/>
                <a:gd name="T14" fmla="*/ 2382 w 73819"/>
                <a:gd name="T15" fmla="*/ 0 h 6905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3819" h="69056">
                  <a:moveTo>
                    <a:pt x="2382" y="0"/>
                  </a:moveTo>
                  <a:lnTo>
                    <a:pt x="71438" y="7144"/>
                  </a:lnTo>
                  <a:lnTo>
                    <a:pt x="73819" y="26194"/>
                  </a:lnTo>
                  <a:lnTo>
                    <a:pt x="47625" y="47625"/>
                  </a:lnTo>
                  <a:lnTo>
                    <a:pt x="54769" y="69056"/>
                  </a:lnTo>
                  <a:lnTo>
                    <a:pt x="30957" y="54769"/>
                  </a:lnTo>
                  <a:lnTo>
                    <a:pt x="0" y="26194"/>
                  </a:lnTo>
                  <a:lnTo>
                    <a:pt x="2382" y="0"/>
                  </a:lnTo>
                  <a:close/>
                </a:path>
              </a:pathLst>
            </a:custGeom>
            <a:solidFill>
              <a:srgbClr val="FF0000"/>
            </a:solidFill>
            <a:ln w="9525">
              <a:solidFill>
                <a:schemeClr val="bg1"/>
              </a:solidFill>
              <a:round/>
              <a:headEnd/>
              <a:tailEnd/>
            </a:ln>
          </p:spPr>
          <p:txBody>
            <a:bodyPr/>
            <a:lstStyle/>
            <a:p>
              <a:endParaRPr lang="el-GR"/>
            </a:p>
          </p:txBody>
        </p:sp>
      </p:grpSp>
      <p:grpSp>
        <p:nvGrpSpPr>
          <p:cNvPr id="82948" name="Group 4">
            <a:extLst>
              <a:ext uri="{FF2B5EF4-FFF2-40B4-BE49-F238E27FC236}">
                <a16:creationId xmlns:a16="http://schemas.microsoft.com/office/drawing/2014/main" id="{EB2F449A-45EB-4288-9986-4C47319F5753}"/>
              </a:ext>
            </a:extLst>
          </p:cNvPr>
          <p:cNvGrpSpPr>
            <a:grpSpLocks/>
          </p:cNvGrpSpPr>
          <p:nvPr/>
        </p:nvGrpSpPr>
        <p:grpSpPr bwMode="auto">
          <a:xfrm>
            <a:off x="1042989" y="3802064"/>
            <a:ext cx="669925" cy="407987"/>
            <a:chOff x="471488" y="4084638"/>
            <a:chExt cx="669925" cy="431800"/>
          </a:xfrm>
        </p:grpSpPr>
        <p:sp>
          <p:nvSpPr>
            <p:cNvPr id="82956" name="Freeform 962">
              <a:extLst>
                <a:ext uri="{FF2B5EF4-FFF2-40B4-BE49-F238E27FC236}">
                  <a16:creationId xmlns:a16="http://schemas.microsoft.com/office/drawing/2014/main" id="{3EB8A19A-5740-45B6-96FC-9C6937063A09}"/>
                </a:ext>
              </a:extLst>
            </p:cNvPr>
            <p:cNvSpPr>
              <a:spLocks/>
            </p:cNvSpPr>
            <p:nvPr/>
          </p:nvSpPr>
          <p:spPr bwMode="auto">
            <a:xfrm>
              <a:off x="471488" y="4117975"/>
              <a:ext cx="23812" cy="26988"/>
            </a:xfrm>
            <a:custGeom>
              <a:avLst/>
              <a:gdLst>
                <a:gd name="T0" fmla="*/ 2147483647 w 15"/>
                <a:gd name="T1" fmla="*/ 0 h 17"/>
                <a:gd name="T2" fmla="*/ 0 w 15"/>
                <a:gd name="T3" fmla="*/ 2147483647 h 17"/>
                <a:gd name="T4" fmla="*/ 2147483647 w 15"/>
                <a:gd name="T5" fmla="*/ 2147483647 h 17"/>
                <a:gd name="T6" fmla="*/ 2147483647 w 15"/>
                <a:gd name="T7" fmla="*/ 2147483647 h 17"/>
                <a:gd name="T8" fmla="*/ 2147483647 w 15"/>
                <a:gd name="T9" fmla="*/ 2147483647 h 17"/>
                <a:gd name="T10" fmla="*/ 2147483647 w 15"/>
                <a:gd name="T11" fmla="*/ 2147483647 h 17"/>
                <a:gd name="T12" fmla="*/ 2147483647 w 15"/>
                <a:gd name="T13" fmla="*/ 2147483647 h 17"/>
                <a:gd name="T14" fmla="*/ 2147483647 w 15"/>
                <a:gd name="T15" fmla="*/ 2147483647 h 17"/>
                <a:gd name="T16" fmla="*/ 2147483647 w 15"/>
                <a:gd name="T17" fmla="*/ 2147483647 h 17"/>
                <a:gd name="T18" fmla="*/ 2147483647 w 15"/>
                <a:gd name="T19" fmla="*/ 2147483647 h 17"/>
                <a:gd name="T20" fmla="*/ 2147483647 w 15"/>
                <a:gd name="T21" fmla="*/ 2147483647 h 17"/>
                <a:gd name="T22" fmla="*/ 2147483647 w 15"/>
                <a:gd name="T23" fmla="*/ 2147483647 h 17"/>
                <a:gd name="T24" fmla="*/ 2147483647 w 15"/>
                <a:gd name="T25" fmla="*/ 2147483647 h 17"/>
                <a:gd name="T26" fmla="*/ 2147483647 w 15"/>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7"/>
                <a:gd name="T44" fmla="*/ 15 w 15"/>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7">
                  <a:moveTo>
                    <a:pt x="13" y="0"/>
                  </a:moveTo>
                  <a:lnTo>
                    <a:pt x="0" y="14"/>
                  </a:lnTo>
                  <a:lnTo>
                    <a:pt x="1" y="15"/>
                  </a:lnTo>
                  <a:lnTo>
                    <a:pt x="3" y="16"/>
                  </a:lnTo>
                  <a:lnTo>
                    <a:pt x="6" y="17"/>
                  </a:lnTo>
                  <a:lnTo>
                    <a:pt x="8" y="16"/>
                  </a:lnTo>
                  <a:lnTo>
                    <a:pt x="12" y="14"/>
                  </a:lnTo>
                  <a:lnTo>
                    <a:pt x="13" y="10"/>
                  </a:lnTo>
                  <a:lnTo>
                    <a:pt x="13" y="9"/>
                  </a:lnTo>
                  <a:lnTo>
                    <a:pt x="13" y="7"/>
                  </a:lnTo>
                  <a:lnTo>
                    <a:pt x="14" y="6"/>
                  </a:lnTo>
                  <a:lnTo>
                    <a:pt x="15" y="4"/>
                  </a:lnTo>
                  <a:lnTo>
                    <a:pt x="15" y="1"/>
                  </a:lnTo>
                  <a:lnTo>
                    <a:pt x="13"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57" name="Freeform 964">
              <a:extLst>
                <a:ext uri="{FF2B5EF4-FFF2-40B4-BE49-F238E27FC236}">
                  <a16:creationId xmlns:a16="http://schemas.microsoft.com/office/drawing/2014/main" id="{9E8C4317-B93F-4854-9F73-A2171E8B91D6}"/>
                </a:ext>
              </a:extLst>
            </p:cNvPr>
            <p:cNvSpPr>
              <a:spLocks/>
            </p:cNvSpPr>
            <p:nvPr/>
          </p:nvSpPr>
          <p:spPr bwMode="auto">
            <a:xfrm>
              <a:off x="528638" y="4084638"/>
              <a:ext cx="61912" cy="49212"/>
            </a:xfrm>
            <a:custGeom>
              <a:avLst/>
              <a:gdLst>
                <a:gd name="T0" fmla="*/ 2147483647 w 39"/>
                <a:gd name="T1" fmla="*/ 2147483647 h 31"/>
                <a:gd name="T2" fmla="*/ 2147483647 w 39"/>
                <a:gd name="T3" fmla="*/ 2147483647 h 31"/>
                <a:gd name="T4" fmla="*/ 2147483647 w 39"/>
                <a:gd name="T5" fmla="*/ 2147483647 h 31"/>
                <a:gd name="T6" fmla="*/ 0 w 39"/>
                <a:gd name="T7" fmla="*/ 2147483647 h 31"/>
                <a:gd name="T8" fmla="*/ 0 w 39"/>
                <a:gd name="T9" fmla="*/ 2147483647 h 31"/>
                <a:gd name="T10" fmla="*/ 2147483647 w 39"/>
                <a:gd name="T11" fmla="*/ 2147483647 h 31"/>
                <a:gd name="T12" fmla="*/ 2147483647 w 39"/>
                <a:gd name="T13" fmla="*/ 2147483647 h 31"/>
                <a:gd name="T14" fmla="*/ 2147483647 w 39"/>
                <a:gd name="T15" fmla="*/ 2147483647 h 31"/>
                <a:gd name="T16" fmla="*/ 2147483647 w 39"/>
                <a:gd name="T17" fmla="*/ 2147483647 h 31"/>
                <a:gd name="T18" fmla="*/ 2147483647 w 39"/>
                <a:gd name="T19" fmla="*/ 2147483647 h 31"/>
                <a:gd name="T20" fmla="*/ 2147483647 w 39"/>
                <a:gd name="T21" fmla="*/ 2147483647 h 31"/>
                <a:gd name="T22" fmla="*/ 2147483647 w 39"/>
                <a:gd name="T23" fmla="*/ 2147483647 h 31"/>
                <a:gd name="T24" fmla="*/ 2147483647 w 39"/>
                <a:gd name="T25" fmla="*/ 2147483647 h 31"/>
                <a:gd name="T26" fmla="*/ 2147483647 w 39"/>
                <a:gd name="T27" fmla="*/ 2147483647 h 31"/>
                <a:gd name="T28" fmla="*/ 2147483647 w 39"/>
                <a:gd name="T29" fmla="*/ 2147483647 h 31"/>
                <a:gd name="T30" fmla="*/ 2147483647 w 39"/>
                <a:gd name="T31" fmla="*/ 2147483647 h 31"/>
                <a:gd name="T32" fmla="*/ 2147483647 w 39"/>
                <a:gd name="T33" fmla="*/ 2147483647 h 31"/>
                <a:gd name="T34" fmla="*/ 2147483647 w 39"/>
                <a:gd name="T35" fmla="*/ 2147483647 h 31"/>
                <a:gd name="T36" fmla="*/ 2147483647 w 39"/>
                <a:gd name="T37" fmla="*/ 2147483647 h 31"/>
                <a:gd name="T38" fmla="*/ 2147483647 w 39"/>
                <a:gd name="T39" fmla="*/ 2147483647 h 31"/>
                <a:gd name="T40" fmla="*/ 2147483647 w 39"/>
                <a:gd name="T41" fmla="*/ 2147483647 h 31"/>
                <a:gd name="T42" fmla="*/ 2147483647 w 39"/>
                <a:gd name="T43" fmla="*/ 0 h 31"/>
                <a:gd name="T44" fmla="*/ 2147483647 w 39"/>
                <a:gd name="T45" fmla="*/ 0 h 31"/>
                <a:gd name="T46" fmla="*/ 2147483647 w 39"/>
                <a:gd name="T47" fmla="*/ 0 h 31"/>
                <a:gd name="T48" fmla="*/ 2147483647 w 3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31"/>
                <a:gd name="T77" fmla="*/ 39 w 3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31">
                  <a:moveTo>
                    <a:pt x="12" y="1"/>
                  </a:moveTo>
                  <a:lnTo>
                    <a:pt x="8" y="2"/>
                  </a:lnTo>
                  <a:lnTo>
                    <a:pt x="5" y="7"/>
                  </a:lnTo>
                  <a:lnTo>
                    <a:pt x="0" y="12"/>
                  </a:lnTo>
                  <a:lnTo>
                    <a:pt x="0" y="17"/>
                  </a:lnTo>
                  <a:lnTo>
                    <a:pt x="4" y="19"/>
                  </a:lnTo>
                  <a:lnTo>
                    <a:pt x="6" y="22"/>
                  </a:lnTo>
                  <a:lnTo>
                    <a:pt x="10" y="24"/>
                  </a:lnTo>
                  <a:lnTo>
                    <a:pt x="14" y="27"/>
                  </a:lnTo>
                  <a:lnTo>
                    <a:pt x="19" y="29"/>
                  </a:lnTo>
                  <a:lnTo>
                    <a:pt x="24" y="31"/>
                  </a:lnTo>
                  <a:lnTo>
                    <a:pt x="28" y="31"/>
                  </a:lnTo>
                  <a:lnTo>
                    <a:pt x="32" y="28"/>
                  </a:lnTo>
                  <a:lnTo>
                    <a:pt x="35" y="26"/>
                  </a:lnTo>
                  <a:lnTo>
                    <a:pt x="36" y="22"/>
                  </a:lnTo>
                  <a:lnTo>
                    <a:pt x="36" y="19"/>
                  </a:lnTo>
                  <a:lnTo>
                    <a:pt x="36" y="16"/>
                  </a:lnTo>
                  <a:lnTo>
                    <a:pt x="38" y="12"/>
                  </a:lnTo>
                  <a:lnTo>
                    <a:pt x="39" y="10"/>
                  </a:lnTo>
                  <a:lnTo>
                    <a:pt x="39" y="7"/>
                  </a:lnTo>
                  <a:lnTo>
                    <a:pt x="33" y="2"/>
                  </a:lnTo>
                  <a:lnTo>
                    <a:pt x="24" y="0"/>
                  </a:lnTo>
                  <a:lnTo>
                    <a:pt x="18" y="0"/>
                  </a:lnTo>
                  <a:lnTo>
                    <a:pt x="13" y="0"/>
                  </a:lnTo>
                  <a:lnTo>
                    <a:pt x="12"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58" name="Freeform 966">
              <a:extLst>
                <a:ext uri="{FF2B5EF4-FFF2-40B4-BE49-F238E27FC236}">
                  <a16:creationId xmlns:a16="http://schemas.microsoft.com/office/drawing/2014/main" id="{3E3B0EAF-64E6-4409-81E0-1BC1937B8DF3}"/>
                </a:ext>
              </a:extLst>
            </p:cNvPr>
            <p:cNvSpPr>
              <a:spLocks/>
            </p:cNvSpPr>
            <p:nvPr/>
          </p:nvSpPr>
          <p:spPr bwMode="auto">
            <a:xfrm>
              <a:off x="719138" y="4151313"/>
              <a:ext cx="69850" cy="61912"/>
            </a:xfrm>
            <a:custGeom>
              <a:avLst/>
              <a:gdLst>
                <a:gd name="T0" fmla="*/ 2147483647 w 44"/>
                <a:gd name="T1" fmla="*/ 2147483647 h 39"/>
                <a:gd name="T2" fmla="*/ 2147483647 w 44"/>
                <a:gd name="T3" fmla="*/ 2147483647 h 39"/>
                <a:gd name="T4" fmla="*/ 2147483647 w 44"/>
                <a:gd name="T5" fmla="*/ 2147483647 h 39"/>
                <a:gd name="T6" fmla="*/ 0 w 44"/>
                <a:gd name="T7" fmla="*/ 2147483647 h 39"/>
                <a:gd name="T8" fmla="*/ 2147483647 w 44"/>
                <a:gd name="T9" fmla="*/ 2147483647 h 39"/>
                <a:gd name="T10" fmla="*/ 2147483647 w 44"/>
                <a:gd name="T11" fmla="*/ 2147483647 h 39"/>
                <a:gd name="T12" fmla="*/ 2147483647 w 44"/>
                <a:gd name="T13" fmla="*/ 2147483647 h 39"/>
                <a:gd name="T14" fmla="*/ 2147483647 w 44"/>
                <a:gd name="T15" fmla="*/ 2147483647 h 39"/>
                <a:gd name="T16" fmla="*/ 2147483647 w 44"/>
                <a:gd name="T17" fmla="*/ 2147483647 h 39"/>
                <a:gd name="T18" fmla="*/ 2147483647 w 44"/>
                <a:gd name="T19" fmla="*/ 2147483647 h 39"/>
                <a:gd name="T20" fmla="*/ 2147483647 w 44"/>
                <a:gd name="T21" fmla="*/ 2147483647 h 39"/>
                <a:gd name="T22" fmla="*/ 2147483647 w 44"/>
                <a:gd name="T23" fmla="*/ 2147483647 h 39"/>
                <a:gd name="T24" fmla="*/ 2147483647 w 44"/>
                <a:gd name="T25" fmla="*/ 2147483647 h 39"/>
                <a:gd name="T26" fmla="*/ 2147483647 w 44"/>
                <a:gd name="T27" fmla="*/ 2147483647 h 39"/>
                <a:gd name="T28" fmla="*/ 2147483647 w 44"/>
                <a:gd name="T29" fmla="*/ 2147483647 h 39"/>
                <a:gd name="T30" fmla="*/ 2147483647 w 44"/>
                <a:gd name="T31" fmla="*/ 2147483647 h 39"/>
                <a:gd name="T32" fmla="*/ 2147483647 w 44"/>
                <a:gd name="T33" fmla="*/ 2147483647 h 39"/>
                <a:gd name="T34" fmla="*/ 2147483647 w 44"/>
                <a:gd name="T35" fmla="*/ 2147483647 h 39"/>
                <a:gd name="T36" fmla="*/ 2147483647 w 44"/>
                <a:gd name="T37" fmla="*/ 2147483647 h 39"/>
                <a:gd name="T38" fmla="*/ 2147483647 w 44"/>
                <a:gd name="T39" fmla="*/ 2147483647 h 39"/>
                <a:gd name="T40" fmla="*/ 2147483647 w 44"/>
                <a:gd name="T41" fmla="*/ 2147483647 h 39"/>
                <a:gd name="T42" fmla="*/ 2147483647 w 44"/>
                <a:gd name="T43" fmla="*/ 2147483647 h 39"/>
                <a:gd name="T44" fmla="*/ 2147483647 w 44"/>
                <a:gd name="T45" fmla="*/ 2147483647 h 39"/>
                <a:gd name="T46" fmla="*/ 2147483647 w 44"/>
                <a:gd name="T47" fmla="*/ 2147483647 h 39"/>
                <a:gd name="T48" fmla="*/ 2147483647 w 44"/>
                <a:gd name="T49" fmla="*/ 2147483647 h 39"/>
                <a:gd name="T50" fmla="*/ 2147483647 w 44"/>
                <a:gd name="T51" fmla="*/ 2147483647 h 39"/>
                <a:gd name="T52" fmla="*/ 2147483647 w 44"/>
                <a:gd name="T53" fmla="*/ 2147483647 h 39"/>
                <a:gd name="T54" fmla="*/ 2147483647 w 44"/>
                <a:gd name="T55" fmla="*/ 2147483647 h 39"/>
                <a:gd name="T56" fmla="*/ 2147483647 w 44"/>
                <a:gd name="T57" fmla="*/ 2147483647 h 39"/>
                <a:gd name="T58" fmla="*/ 2147483647 w 44"/>
                <a:gd name="T59" fmla="*/ 2147483647 h 39"/>
                <a:gd name="T60" fmla="*/ 2147483647 w 44"/>
                <a:gd name="T61" fmla="*/ 2147483647 h 39"/>
                <a:gd name="T62" fmla="*/ 2147483647 w 44"/>
                <a:gd name="T63" fmla="*/ 0 h 39"/>
                <a:gd name="T64" fmla="*/ 2147483647 w 44"/>
                <a:gd name="T65" fmla="*/ 2147483647 h 39"/>
                <a:gd name="T66" fmla="*/ 2147483647 w 44"/>
                <a:gd name="T67" fmla="*/ 2147483647 h 39"/>
                <a:gd name="T68" fmla="*/ 2147483647 w 44"/>
                <a:gd name="T69" fmla="*/ 2147483647 h 39"/>
                <a:gd name="T70" fmla="*/ 2147483647 w 44"/>
                <a:gd name="T71" fmla="*/ 2147483647 h 39"/>
                <a:gd name="T72" fmla="*/ 2147483647 w 44"/>
                <a:gd name="T73" fmla="*/ 2147483647 h 3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4"/>
                <a:gd name="T112" fmla="*/ 0 h 39"/>
                <a:gd name="T113" fmla="*/ 44 w 44"/>
                <a:gd name="T114" fmla="*/ 39 h 3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4" h="39">
                  <a:moveTo>
                    <a:pt x="4" y="11"/>
                  </a:moveTo>
                  <a:lnTo>
                    <a:pt x="2" y="13"/>
                  </a:lnTo>
                  <a:lnTo>
                    <a:pt x="1" y="14"/>
                  </a:lnTo>
                  <a:lnTo>
                    <a:pt x="0" y="19"/>
                  </a:lnTo>
                  <a:lnTo>
                    <a:pt x="1" y="21"/>
                  </a:lnTo>
                  <a:lnTo>
                    <a:pt x="4" y="24"/>
                  </a:lnTo>
                  <a:lnTo>
                    <a:pt x="6" y="26"/>
                  </a:lnTo>
                  <a:lnTo>
                    <a:pt x="8" y="28"/>
                  </a:lnTo>
                  <a:lnTo>
                    <a:pt x="10" y="30"/>
                  </a:lnTo>
                  <a:lnTo>
                    <a:pt x="10" y="33"/>
                  </a:lnTo>
                  <a:lnTo>
                    <a:pt x="13" y="34"/>
                  </a:lnTo>
                  <a:lnTo>
                    <a:pt x="14" y="34"/>
                  </a:lnTo>
                  <a:lnTo>
                    <a:pt x="19" y="34"/>
                  </a:lnTo>
                  <a:lnTo>
                    <a:pt x="23" y="34"/>
                  </a:lnTo>
                  <a:lnTo>
                    <a:pt x="25" y="36"/>
                  </a:lnTo>
                  <a:lnTo>
                    <a:pt x="29" y="39"/>
                  </a:lnTo>
                  <a:lnTo>
                    <a:pt x="30" y="39"/>
                  </a:lnTo>
                  <a:lnTo>
                    <a:pt x="40" y="39"/>
                  </a:lnTo>
                  <a:lnTo>
                    <a:pt x="42" y="38"/>
                  </a:lnTo>
                  <a:lnTo>
                    <a:pt x="44" y="36"/>
                  </a:lnTo>
                  <a:lnTo>
                    <a:pt x="44" y="31"/>
                  </a:lnTo>
                  <a:lnTo>
                    <a:pt x="43" y="29"/>
                  </a:lnTo>
                  <a:lnTo>
                    <a:pt x="39" y="26"/>
                  </a:lnTo>
                  <a:lnTo>
                    <a:pt x="35" y="24"/>
                  </a:lnTo>
                  <a:lnTo>
                    <a:pt x="34" y="23"/>
                  </a:lnTo>
                  <a:lnTo>
                    <a:pt x="33" y="19"/>
                  </a:lnTo>
                  <a:lnTo>
                    <a:pt x="33" y="15"/>
                  </a:lnTo>
                  <a:lnTo>
                    <a:pt x="34" y="14"/>
                  </a:lnTo>
                  <a:lnTo>
                    <a:pt x="32" y="11"/>
                  </a:lnTo>
                  <a:lnTo>
                    <a:pt x="26" y="5"/>
                  </a:lnTo>
                  <a:lnTo>
                    <a:pt x="21" y="2"/>
                  </a:lnTo>
                  <a:lnTo>
                    <a:pt x="16" y="0"/>
                  </a:lnTo>
                  <a:lnTo>
                    <a:pt x="14" y="3"/>
                  </a:lnTo>
                  <a:lnTo>
                    <a:pt x="11" y="8"/>
                  </a:lnTo>
                  <a:lnTo>
                    <a:pt x="8" y="10"/>
                  </a:lnTo>
                  <a:lnTo>
                    <a:pt x="5" y="11"/>
                  </a:lnTo>
                  <a:lnTo>
                    <a:pt x="4" y="1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59" name="Freeform 968">
              <a:extLst>
                <a:ext uri="{FF2B5EF4-FFF2-40B4-BE49-F238E27FC236}">
                  <a16:creationId xmlns:a16="http://schemas.microsoft.com/office/drawing/2014/main" id="{1E16A028-CC82-40B9-B9D2-CE3D13E78493}"/>
                </a:ext>
              </a:extLst>
            </p:cNvPr>
            <p:cNvSpPr>
              <a:spLocks/>
            </p:cNvSpPr>
            <p:nvPr/>
          </p:nvSpPr>
          <p:spPr bwMode="auto">
            <a:xfrm>
              <a:off x="835025" y="4219575"/>
              <a:ext cx="66675" cy="23813"/>
            </a:xfrm>
            <a:custGeom>
              <a:avLst/>
              <a:gdLst>
                <a:gd name="T0" fmla="*/ 0 w 42"/>
                <a:gd name="T1" fmla="*/ 2147483647 h 15"/>
                <a:gd name="T2" fmla="*/ 2147483647 w 42"/>
                <a:gd name="T3" fmla="*/ 2147483647 h 15"/>
                <a:gd name="T4" fmla="*/ 2147483647 w 42"/>
                <a:gd name="T5" fmla="*/ 2147483647 h 15"/>
                <a:gd name="T6" fmla="*/ 2147483647 w 42"/>
                <a:gd name="T7" fmla="*/ 2147483647 h 15"/>
                <a:gd name="T8" fmla="*/ 2147483647 w 42"/>
                <a:gd name="T9" fmla="*/ 2147483647 h 15"/>
                <a:gd name="T10" fmla="*/ 2147483647 w 42"/>
                <a:gd name="T11" fmla="*/ 2147483647 h 15"/>
                <a:gd name="T12" fmla="*/ 2147483647 w 42"/>
                <a:gd name="T13" fmla="*/ 2147483647 h 15"/>
                <a:gd name="T14" fmla="*/ 2147483647 w 42"/>
                <a:gd name="T15" fmla="*/ 2147483647 h 15"/>
                <a:gd name="T16" fmla="*/ 2147483647 w 42"/>
                <a:gd name="T17" fmla="*/ 2147483647 h 15"/>
                <a:gd name="T18" fmla="*/ 2147483647 w 42"/>
                <a:gd name="T19" fmla="*/ 2147483647 h 15"/>
                <a:gd name="T20" fmla="*/ 2147483647 w 42"/>
                <a:gd name="T21" fmla="*/ 2147483647 h 15"/>
                <a:gd name="T22" fmla="*/ 2147483647 w 42"/>
                <a:gd name="T23" fmla="*/ 2147483647 h 15"/>
                <a:gd name="T24" fmla="*/ 2147483647 w 42"/>
                <a:gd name="T25" fmla="*/ 2147483647 h 15"/>
                <a:gd name="T26" fmla="*/ 2147483647 w 42"/>
                <a:gd name="T27" fmla="*/ 2147483647 h 15"/>
                <a:gd name="T28" fmla="*/ 2147483647 w 42"/>
                <a:gd name="T29" fmla="*/ 2147483647 h 15"/>
                <a:gd name="T30" fmla="*/ 2147483647 w 42"/>
                <a:gd name="T31" fmla="*/ 2147483647 h 15"/>
                <a:gd name="T32" fmla="*/ 2147483647 w 42"/>
                <a:gd name="T33" fmla="*/ 2147483647 h 15"/>
                <a:gd name="T34" fmla="*/ 2147483647 w 42"/>
                <a:gd name="T35" fmla="*/ 2147483647 h 15"/>
                <a:gd name="T36" fmla="*/ 2147483647 w 42"/>
                <a:gd name="T37" fmla="*/ 2147483647 h 15"/>
                <a:gd name="T38" fmla="*/ 2147483647 w 42"/>
                <a:gd name="T39" fmla="*/ 2147483647 h 15"/>
                <a:gd name="T40" fmla="*/ 2147483647 w 42"/>
                <a:gd name="T41" fmla="*/ 2147483647 h 15"/>
                <a:gd name="T42" fmla="*/ 2147483647 w 42"/>
                <a:gd name="T43" fmla="*/ 2147483647 h 15"/>
                <a:gd name="T44" fmla="*/ 2147483647 w 42"/>
                <a:gd name="T45" fmla="*/ 0 h 15"/>
                <a:gd name="T46" fmla="*/ 2147483647 w 42"/>
                <a:gd name="T47" fmla="*/ 0 h 15"/>
                <a:gd name="T48" fmla="*/ 2147483647 w 42"/>
                <a:gd name="T49" fmla="*/ 2147483647 h 15"/>
                <a:gd name="T50" fmla="*/ 2147483647 w 42"/>
                <a:gd name="T51" fmla="*/ 2147483647 h 15"/>
                <a:gd name="T52" fmla="*/ 2147483647 w 42"/>
                <a:gd name="T53" fmla="*/ 2147483647 h 15"/>
                <a:gd name="T54" fmla="*/ 0 w 42"/>
                <a:gd name="T55" fmla="*/ 2147483647 h 15"/>
                <a:gd name="T56" fmla="*/ 0 w 42"/>
                <a:gd name="T57" fmla="*/ 2147483647 h 1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
                <a:gd name="T88" fmla="*/ 0 h 15"/>
                <a:gd name="T89" fmla="*/ 42 w 42"/>
                <a:gd name="T90" fmla="*/ 15 h 1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 h="15">
                  <a:moveTo>
                    <a:pt x="0" y="9"/>
                  </a:moveTo>
                  <a:lnTo>
                    <a:pt x="3" y="9"/>
                  </a:lnTo>
                  <a:lnTo>
                    <a:pt x="6" y="9"/>
                  </a:lnTo>
                  <a:lnTo>
                    <a:pt x="14" y="10"/>
                  </a:lnTo>
                  <a:lnTo>
                    <a:pt x="19" y="13"/>
                  </a:lnTo>
                  <a:lnTo>
                    <a:pt x="21" y="14"/>
                  </a:lnTo>
                  <a:lnTo>
                    <a:pt x="23" y="14"/>
                  </a:lnTo>
                  <a:lnTo>
                    <a:pt x="25" y="14"/>
                  </a:lnTo>
                  <a:lnTo>
                    <a:pt x="30" y="14"/>
                  </a:lnTo>
                  <a:lnTo>
                    <a:pt x="35" y="15"/>
                  </a:lnTo>
                  <a:lnTo>
                    <a:pt x="39" y="15"/>
                  </a:lnTo>
                  <a:lnTo>
                    <a:pt x="41" y="14"/>
                  </a:lnTo>
                  <a:lnTo>
                    <a:pt x="42" y="10"/>
                  </a:lnTo>
                  <a:lnTo>
                    <a:pt x="42" y="6"/>
                  </a:lnTo>
                  <a:lnTo>
                    <a:pt x="41" y="4"/>
                  </a:lnTo>
                  <a:lnTo>
                    <a:pt x="39" y="3"/>
                  </a:lnTo>
                  <a:lnTo>
                    <a:pt x="35" y="3"/>
                  </a:lnTo>
                  <a:lnTo>
                    <a:pt x="33" y="3"/>
                  </a:lnTo>
                  <a:lnTo>
                    <a:pt x="30" y="4"/>
                  </a:lnTo>
                  <a:lnTo>
                    <a:pt x="25" y="4"/>
                  </a:lnTo>
                  <a:lnTo>
                    <a:pt x="20" y="3"/>
                  </a:lnTo>
                  <a:lnTo>
                    <a:pt x="14" y="1"/>
                  </a:lnTo>
                  <a:lnTo>
                    <a:pt x="11" y="0"/>
                  </a:lnTo>
                  <a:lnTo>
                    <a:pt x="9" y="0"/>
                  </a:lnTo>
                  <a:lnTo>
                    <a:pt x="5" y="1"/>
                  </a:lnTo>
                  <a:lnTo>
                    <a:pt x="3" y="4"/>
                  </a:lnTo>
                  <a:lnTo>
                    <a:pt x="1" y="6"/>
                  </a:lnTo>
                  <a:lnTo>
                    <a:pt x="0" y="7"/>
                  </a:lnTo>
                  <a:lnTo>
                    <a:pt x="0" y="9"/>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60" name="Freeform 970">
              <a:extLst>
                <a:ext uri="{FF2B5EF4-FFF2-40B4-BE49-F238E27FC236}">
                  <a16:creationId xmlns:a16="http://schemas.microsoft.com/office/drawing/2014/main" id="{45365F8A-3FE3-4E10-A2C9-8BC05BD617D4}"/>
                </a:ext>
              </a:extLst>
            </p:cNvPr>
            <p:cNvSpPr>
              <a:spLocks/>
            </p:cNvSpPr>
            <p:nvPr/>
          </p:nvSpPr>
          <p:spPr bwMode="auto">
            <a:xfrm>
              <a:off x="865188" y="4256088"/>
              <a:ext cx="31750" cy="26987"/>
            </a:xfrm>
            <a:custGeom>
              <a:avLst/>
              <a:gdLst>
                <a:gd name="T0" fmla="*/ 2147483647 w 20"/>
                <a:gd name="T1" fmla="*/ 2147483647 h 17"/>
                <a:gd name="T2" fmla="*/ 2147483647 w 20"/>
                <a:gd name="T3" fmla="*/ 2147483647 h 17"/>
                <a:gd name="T4" fmla="*/ 2147483647 w 20"/>
                <a:gd name="T5" fmla="*/ 2147483647 h 17"/>
                <a:gd name="T6" fmla="*/ 2147483647 w 20"/>
                <a:gd name="T7" fmla="*/ 2147483647 h 17"/>
                <a:gd name="T8" fmla="*/ 2147483647 w 20"/>
                <a:gd name="T9" fmla="*/ 2147483647 h 17"/>
                <a:gd name="T10" fmla="*/ 2147483647 w 20"/>
                <a:gd name="T11" fmla="*/ 2147483647 h 17"/>
                <a:gd name="T12" fmla="*/ 2147483647 w 20"/>
                <a:gd name="T13" fmla="*/ 2147483647 h 17"/>
                <a:gd name="T14" fmla="*/ 2147483647 w 20"/>
                <a:gd name="T15" fmla="*/ 2147483647 h 17"/>
                <a:gd name="T16" fmla="*/ 2147483647 w 20"/>
                <a:gd name="T17" fmla="*/ 2147483647 h 17"/>
                <a:gd name="T18" fmla="*/ 2147483647 w 20"/>
                <a:gd name="T19" fmla="*/ 2147483647 h 17"/>
                <a:gd name="T20" fmla="*/ 2147483647 w 20"/>
                <a:gd name="T21" fmla="*/ 2147483647 h 17"/>
                <a:gd name="T22" fmla="*/ 2147483647 w 20"/>
                <a:gd name="T23" fmla="*/ 2147483647 h 17"/>
                <a:gd name="T24" fmla="*/ 2147483647 w 20"/>
                <a:gd name="T25" fmla="*/ 2147483647 h 17"/>
                <a:gd name="T26" fmla="*/ 2147483647 w 20"/>
                <a:gd name="T27" fmla="*/ 2147483647 h 17"/>
                <a:gd name="T28" fmla="*/ 2147483647 w 20"/>
                <a:gd name="T29" fmla="*/ 2147483647 h 17"/>
                <a:gd name="T30" fmla="*/ 0 w 20"/>
                <a:gd name="T31" fmla="*/ 2147483647 h 17"/>
                <a:gd name="T32" fmla="*/ 0 w 20"/>
                <a:gd name="T33" fmla="*/ 0 h 17"/>
                <a:gd name="T34" fmla="*/ 2147483647 w 20"/>
                <a:gd name="T35" fmla="*/ 0 h 17"/>
                <a:gd name="T36" fmla="*/ 2147483647 w 20"/>
                <a:gd name="T37" fmla="*/ 2147483647 h 17"/>
                <a:gd name="T38" fmla="*/ 2147483647 w 20"/>
                <a:gd name="T39" fmla="*/ 2147483647 h 17"/>
                <a:gd name="T40" fmla="*/ 2147483647 w 20"/>
                <a:gd name="T41" fmla="*/ 2147483647 h 17"/>
                <a:gd name="T42" fmla="*/ 2147483647 w 20"/>
                <a:gd name="T43" fmla="*/ 2147483647 h 1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17"/>
                <a:gd name="T68" fmla="*/ 20 w 20"/>
                <a:gd name="T69" fmla="*/ 17 h 1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17">
                  <a:moveTo>
                    <a:pt x="17" y="1"/>
                  </a:moveTo>
                  <a:lnTo>
                    <a:pt x="19" y="2"/>
                  </a:lnTo>
                  <a:lnTo>
                    <a:pt x="20" y="7"/>
                  </a:lnTo>
                  <a:lnTo>
                    <a:pt x="20" y="11"/>
                  </a:lnTo>
                  <a:lnTo>
                    <a:pt x="19" y="12"/>
                  </a:lnTo>
                  <a:lnTo>
                    <a:pt x="15" y="12"/>
                  </a:lnTo>
                  <a:lnTo>
                    <a:pt x="14" y="12"/>
                  </a:lnTo>
                  <a:lnTo>
                    <a:pt x="13" y="12"/>
                  </a:lnTo>
                  <a:lnTo>
                    <a:pt x="12" y="14"/>
                  </a:lnTo>
                  <a:lnTo>
                    <a:pt x="9" y="16"/>
                  </a:lnTo>
                  <a:lnTo>
                    <a:pt x="6" y="17"/>
                  </a:lnTo>
                  <a:lnTo>
                    <a:pt x="5" y="16"/>
                  </a:lnTo>
                  <a:lnTo>
                    <a:pt x="5" y="14"/>
                  </a:lnTo>
                  <a:lnTo>
                    <a:pt x="4" y="11"/>
                  </a:lnTo>
                  <a:lnTo>
                    <a:pt x="2" y="6"/>
                  </a:lnTo>
                  <a:lnTo>
                    <a:pt x="0" y="2"/>
                  </a:lnTo>
                  <a:lnTo>
                    <a:pt x="0" y="0"/>
                  </a:lnTo>
                  <a:lnTo>
                    <a:pt x="4" y="0"/>
                  </a:lnTo>
                  <a:lnTo>
                    <a:pt x="9" y="1"/>
                  </a:lnTo>
                  <a:lnTo>
                    <a:pt x="13" y="1"/>
                  </a:lnTo>
                  <a:lnTo>
                    <a:pt x="15" y="1"/>
                  </a:lnTo>
                  <a:lnTo>
                    <a:pt x="17"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61" name="Freeform 972">
              <a:extLst>
                <a:ext uri="{FF2B5EF4-FFF2-40B4-BE49-F238E27FC236}">
                  <a16:creationId xmlns:a16="http://schemas.microsoft.com/office/drawing/2014/main" id="{95F65ACB-94B4-47E4-86AF-E99585101A5D}"/>
                </a:ext>
              </a:extLst>
            </p:cNvPr>
            <p:cNvSpPr>
              <a:spLocks/>
            </p:cNvSpPr>
            <p:nvPr/>
          </p:nvSpPr>
          <p:spPr bwMode="auto">
            <a:xfrm>
              <a:off x="904875" y="4240213"/>
              <a:ext cx="101600" cy="65087"/>
            </a:xfrm>
            <a:custGeom>
              <a:avLst/>
              <a:gdLst>
                <a:gd name="T0" fmla="*/ 2147483647 w 64"/>
                <a:gd name="T1" fmla="*/ 2147483647 h 41"/>
                <a:gd name="T2" fmla="*/ 2147483647 w 64"/>
                <a:gd name="T3" fmla="*/ 2147483647 h 41"/>
                <a:gd name="T4" fmla="*/ 2147483647 w 64"/>
                <a:gd name="T5" fmla="*/ 0 h 41"/>
                <a:gd name="T6" fmla="*/ 2147483647 w 64"/>
                <a:gd name="T7" fmla="*/ 0 h 41"/>
                <a:gd name="T8" fmla="*/ 2147483647 w 64"/>
                <a:gd name="T9" fmla="*/ 2147483647 h 41"/>
                <a:gd name="T10" fmla="*/ 0 w 64"/>
                <a:gd name="T11" fmla="*/ 2147483647 h 41"/>
                <a:gd name="T12" fmla="*/ 0 w 64"/>
                <a:gd name="T13" fmla="*/ 2147483647 h 41"/>
                <a:gd name="T14" fmla="*/ 2147483647 w 64"/>
                <a:gd name="T15" fmla="*/ 2147483647 h 41"/>
                <a:gd name="T16" fmla="*/ 2147483647 w 64"/>
                <a:gd name="T17" fmla="*/ 2147483647 h 41"/>
                <a:gd name="T18" fmla="*/ 2147483647 w 64"/>
                <a:gd name="T19" fmla="*/ 2147483647 h 41"/>
                <a:gd name="T20" fmla="*/ 2147483647 w 64"/>
                <a:gd name="T21" fmla="*/ 2147483647 h 41"/>
                <a:gd name="T22" fmla="*/ 2147483647 w 64"/>
                <a:gd name="T23" fmla="*/ 2147483647 h 41"/>
                <a:gd name="T24" fmla="*/ 2147483647 w 64"/>
                <a:gd name="T25" fmla="*/ 2147483647 h 41"/>
                <a:gd name="T26" fmla="*/ 2147483647 w 64"/>
                <a:gd name="T27" fmla="*/ 2147483647 h 41"/>
                <a:gd name="T28" fmla="*/ 2147483647 w 64"/>
                <a:gd name="T29" fmla="*/ 2147483647 h 41"/>
                <a:gd name="T30" fmla="*/ 2147483647 w 64"/>
                <a:gd name="T31" fmla="*/ 2147483647 h 41"/>
                <a:gd name="T32" fmla="*/ 2147483647 w 64"/>
                <a:gd name="T33" fmla="*/ 2147483647 h 41"/>
                <a:gd name="T34" fmla="*/ 2147483647 w 64"/>
                <a:gd name="T35" fmla="*/ 2147483647 h 41"/>
                <a:gd name="T36" fmla="*/ 2147483647 w 64"/>
                <a:gd name="T37" fmla="*/ 2147483647 h 41"/>
                <a:gd name="T38" fmla="*/ 2147483647 w 64"/>
                <a:gd name="T39" fmla="*/ 2147483647 h 41"/>
                <a:gd name="T40" fmla="*/ 2147483647 w 64"/>
                <a:gd name="T41" fmla="*/ 2147483647 h 41"/>
                <a:gd name="T42" fmla="*/ 2147483647 w 64"/>
                <a:gd name="T43" fmla="*/ 2147483647 h 41"/>
                <a:gd name="T44" fmla="*/ 2147483647 w 64"/>
                <a:gd name="T45" fmla="*/ 2147483647 h 41"/>
                <a:gd name="T46" fmla="*/ 2147483647 w 64"/>
                <a:gd name="T47" fmla="*/ 2147483647 h 41"/>
                <a:gd name="T48" fmla="*/ 2147483647 w 64"/>
                <a:gd name="T49" fmla="*/ 2147483647 h 41"/>
                <a:gd name="T50" fmla="*/ 2147483647 w 64"/>
                <a:gd name="T51" fmla="*/ 2147483647 h 41"/>
                <a:gd name="T52" fmla="*/ 2147483647 w 64"/>
                <a:gd name="T53" fmla="*/ 2147483647 h 41"/>
                <a:gd name="T54" fmla="*/ 2147483647 w 64"/>
                <a:gd name="T55" fmla="*/ 2147483647 h 41"/>
                <a:gd name="T56" fmla="*/ 2147483647 w 64"/>
                <a:gd name="T57" fmla="*/ 2147483647 h 41"/>
                <a:gd name="T58" fmla="*/ 2147483647 w 64"/>
                <a:gd name="T59" fmla="*/ 2147483647 h 41"/>
                <a:gd name="T60" fmla="*/ 2147483647 w 64"/>
                <a:gd name="T61" fmla="*/ 2147483647 h 41"/>
                <a:gd name="T62" fmla="*/ 2147483647 w 64"/>
                <a:gd name="T63" fmla="*/ 2147483647 h 41"/>
                <a:gd name="T64" fmla="*/ 2147483647 w 64"/>
                <a:gd name="T65" fmla="*/ 2147483647 h 41"/>
                <a:gd name="T66" fmla="*/ 2147483647 w 64"/>
                <a:gd name="T67" fmla="*/ 2147483647 h 41"/>
                <a:gd name="T68" fmla="*/ 2147483647 w 64"/>
                <a:gd name="T69" fmla="*/ 2147483647 h 41"/>
                <a:gd name="T70" fmla="*/ 2147483647 w 64"/>
                <a:gd name="T71" fmla="*/ 2147483647 h 41"/>
                <a:gd name="T72" fmla="*/ 2147483647 w 64"/>
                <a:gd name="T73" fmla="*/ 2147483647 h 41"/>
                <a:gd name="T74" fmla="*/ 2147483647 w 64"/>
                <a:gd name="T75" fmla="*/ 2147483647 h 41"/>
                <a:gd name="T76" fmla="*/ 2147483647 w 64"/>
                <a:gd name="T77" fmla="*/ 2147483647 h 41"/>
                <a:gd name="T78" fmla="*/ 2147483647 w 64"/>
                <a:gd name="T79" fmla="*/ 2147483647 h 41"/>
                <a:gd name="T80" fmla="*/ 2147483647 w 64"/>
                <a:gd name="T81" fmla="*/ 2147483647 h 41"/>
                <a:gd name="T82" fmla="*/ 2147483647 w 64"/>
                <a:gd name="T83" fmla="*/ 2147483647 h 41"/>
                <a:gd name="T84" fmla="*/ 2147483647 w 64"/>
                <a:gd name="T85" fmla="*/ 2147483647 h 41"/>
                <a:gd name="T86" fmla="*/ 2147483647 w 64"/>
                <a:gd name="T87" fmla="*/ 2147483647 h 41"/>
                <a:gd name="T88" fmla="*/ 2147483647 w 64"/>
                <a:gd name="T89" fmla="*/ 2147483647 h 41"/>
                <a:gd name="T90" fmla="*/ 2147483647 w 64"/>
                <a:gd name="T91" fmla="*/ 2147483647 h 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4"/>
                <a:gd name="T139" fmla="*/ 0 h 41"/>
                <a:gd name="T140" fmla="*/ 64 w 64"/>
                <a:gd name="T141" fmla="*/ 41 h 4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4" h="41">
                  <a:moveTo>
                    <a:pt x="14" y="3"/>
                  </a:moveTo>
                  <a:lnTo>
                    <a:pt x="13" y="2"/>
                  </a:lnTo>
                  <a:lnTo>
                    <a:pt x="11" y="0"/>
                  </a:lnTo>
                  <a:lnTo>
                    <a:pt x="7" y="0"/>
                  </a:lnTo>
                  <a:lnTo>
                    <a:pt x="4" y="3"/>
                  </a:lnTo>
                  <a:lnTo>
                    <a:pt x="0" y="8"/>
                  </a:lnTo>
                  <a:lnTo>
                    <a:pt x="0" y="9"/>
                  </a:lnTo>
                  <a:lnTo>
                    <a:pt x="3" y="12"/>
                  </a:lnTo>
                  <a:lnTo>
                    <a:pt x="5" y="14"/>
                  </a:lnTo>
                  <a:lnTo>
                    <a:pt x="9" y="18"/>
                  </a:lnTo>
                  <a:lnTo>
                    <a:pt x="13" y="22"/>
                  </a:lnTo>
                  <a:lnTo>
                    <a:pt x="15" y="23"/>
                  </a:lnTo>
                  <a:lnTo>
                    <a:pt x="16" y="24"/>
                  </a:lnTo>
                  <a:lnTo>
                    <a:pt x="18" y="24"/>
                  </a:lnTo>
                  <a:lnTo>
                    <a:pt x="21" y="23"/>
                  </a:lnTo>
                  <a:lnTo>
                    <a:pt x="24" y="23"/>
                  </a:lnTo>
                  <a:lnTo>
                    <a:pt x="24" y="27"/>
                  </a:lnTo>
                  <a:lnTo>
                    <a:pt x="24" y="31"/>
                  </a:lnTo>
                  <a:lnTo>
                    <a:pt x="24" y="36"/>
                  </a:lnTo>
                  <a:lnTo>
                    <a:pt x="25" y="40"/>
                  </a:lnTo>
                  <a:lnTo>
                    <a:pt x="25" y="41"/>
                  </a:lnTo>
                  <a:lnTo>
                    <a:pt x="26" y="41"/>
                  </a:lnTo>
                  <a:lnTo>
                    <a:pt x="29" y="41"/>
                  </a:lnTo>
                  <a:lnTo>
                    <a:pt x="33" y="41"/>
                  </a:lnTo>
                  <a:lnTo>
                    <a:pt x="41" y="38"/>
                  </a:lnTo>
                  <a:lnTo>
                    <a:pt x="47" y="36"/>
                  </a:lnTo>
                  <a:lnTo>
                    <a:pt x="52" y="33"/>
                  </a:lnTo>
                  <a:lnTo>
                    <a:pt x="55" y="31"/>
                  </a:lnTo>
                  <a:lnTo>
                    <a:pt x="59" y="29"/>
                  </a:lnTo>
                  <a:lnTo>
                    <a:pt x="62" y="28"/>
                  </a:lnTo>
                  <a:lnTo>
                    <a:pt x="64" y="24"/>
                  </a:lnTo>
                  <a:lnTo>
                    <a:pt x="64" y="22"/>
                  </a:lnTo>
                  <a:lnTo>
                    <a:pt x="62" y="20"/>
                  </a:lnTo>
                  <a:lnTo>
                    <a:pt x="55" y="19"/>
                  </a:lnTo>
                  <a:lnTo>
                    <a:pt x="52" y="18"/>
                  </a:lnTo>
                  <a:lnTo>
                    <a:pt x="47" y="17"/>
                  </a:lnTo>
                  <a:lnTo>
                    <a:pt x="46" y="14"/>
                  </a:lnTo>
                  <a:lnTo>
                    <a:pt x="44" y="13"/>
                  </a:lnTo>
                  <a:lnTo>
                    <a:pt x="43" y="10"/>
                  </a:lnTo>
                  <a:lnTo>
                    <a:pt x="40" y="8"/>
                  </a:lnTo>
                  <a:lnTo>
                    <a:pt x="35" y="7"/>
                  </a:lnTo>
                  <a:lnTo>
                    <a:pt x="31" y="8"/>
                  </a:lnTo>
                  <a:lnTo>
                    <a:pt x="25" y="8"/>
                  </a:lnTo>
                  <a:lnTo>
                    <a:pt x="21" y="8"/>
                  </a:lnTo>
                  <a:lnTo>
                    <a:pt x="19" y="8"/>
                  </a:lnTo>
                  <a:lnTo>
                    <a:pt x="14" y="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62" name="Freeform 974">
              <a:extLst>
                <a:ext uri="{FF2B5EF4-FFF2-40B4-BE49-F238E27FC236}">
                  <a16:creationId xmlns:a16="http://schemas.microsoft.com/office/drawing/2014/main" id="{58F911D3-A66C-40E1-8257-1EC1B9462571}"/>
                </a:ext>
              </a:extLst>
            </p:cNvPr>
            <p:cNvSpPr>
              <a:spLocks/>
            </p:cNvSpPr>
            <p:nvPr/>
          </p:nvSpPr>
          <p:spPr bwMode="auto">
            <a:xfrm>
              <a:off x="911225" y="4298950"/>
              <a:ext cx="19050" cy="17463"/>
            </a:xfrm>
            <a:custGeom>
              <a:avLst/>
              <a:gdLst>
                <a:gd name="T0" fmla="*/ 2147483647 w 12"/>
                <a:gd name="T1" fmla="*/ 0 h 11"/>
                <a:gd name="T2" fmla="*/ 2147483647 w 12"/>
                <a:gd name="T3" fmla="*/ 2147483647 h 11"/>
                <a:gd name="T4" fmla="*/ 2147483647 w 12"/>
                <a:gd name="T5" fmla="*/ 2147483647 h 11"/>
                <a:gd name="T6" fmla="*/ 2147483647 w 12"/>
                <a:gd name="T7" fmla="*/ 2147483647 h 11"/>
                <a:gd name="T8" fmla="*/ 2147483647 w 12"/>
                <a:gd name="T9" fmla="*/ 2147483647 h 11"/>
                <a:gd name="T10" fmla="*/ 2147483647 w 12"/>
                <a:gd name="T11" fmla="*/ 2147483647 h 11"/>
                <a:gd name="T12" fmla="*/ 2147483647 w 12"/>
                <a:gd name="T13" fmla="*/ 2147483647 h 11"/>
                <a:gd name="T14" fmla="*/ 0 w 12"/>
                <a:gd name="T15" fmla="*/ 2147483647 h 11"/>
                <a:gd name="T16" fmla="*/ 0 w 12"/>
                <a:gd name="T17" fmla="*/ 2147483647 h 11"/>
                <a:gd name="T18" fmla="*/ 0 w 12"/>
                <a:gd name="T19" fmla="*/ 2147483647 h 11"/>
                <a:gd name="T20" fmla="*/ 2147483647 w 12"/>
                <a:gd name="T21" fmla="*/ 2147483647 h 11"/>
                <a:gd name="T22" fmla="*/ 2147483647 w 12"/>
                <a:gd name="T23" fmla="*/ 2147483647 h 11"/>
                <a:gd name="T24" fmla="*/ 2147483647 w 12"/>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1"/>
                <a:gd name="T41" fmla="*/ 12 w 12"/>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1">
                  <a:moveTo>
                    <a:pt x="11" y="0"/>
                  </a:moveTo>
                  <a:lnTo>
                    <a:pt x="12" y="1"/>
                  </a:lnTo>
                  <a:lnTo>
                    <a:pt x="12" y="5"/>
                  </a:lnTo>
                  <a:lnTo>
                    <a:pt x="12" y="9"/>
                  </a:lnTo>
                  <a:lnTo>
                    <a:pt x="9" y="11"/>
                  </a:lnTo>
                  <a:lnTo>
                    <a:pt x="4" y="11"/>
                  </a:lnTo>
                  <a:lnTo>
                    <a:pt x="2" y="9"/>
                  </a:lnTo>
                  <a:lnTo>
                    <a:pt x="0" y="8"/>
                  </a:lnTo>
                  <a:lnTo>
                    <a:pt x="0" y="6"/>
                  </a:lnTo>
                  <a:lnTo>
                    <a:pt x="0" y="5"/>
                  </a:lnTo>
                  <a:lnTo>
                    <a:pt x="2" y="2"/>
                  </a:lnTo>
                  <a:lnTo>
                    <a:pt x="4" y="1"/>
                  </a:lnTo>
                  <a:lnTo>
                    <a:pt x="11"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sp>
          <p:nvSpPr>
            <p:cNvPr id="82963" name="Freeform 976">
              <a:extLst>
                <a:ext uri="{FF2B5EF4-FFF2-40B4-BE49-F238E27FC236}">
                  <a16:creationId xmlns:a16="http://schemas.microsoft.com/office/drawing/2014/main" id="{421DE003-C181-4B42-BEB8-ECF7B4577EAC}"/>
                </a:ext>
              </a:extLst>
            </p:cNvPr>
            <p:cNvSpPr>
              <a:spLocks/>
            </p:cNvSpPr>
            <p:nvPr/>
          </p:nvSpPr>
          <p:spPr bwMode="auto">
            <a:xfrm>
              <a:off x="990600" y="4344988"/>
              <a:ext cx="150813" cy="171450"/>
            </a:xfrm>
            <a:custGeom>
              <a:avLst/>
              <a:gdLst>
                <a:gd name="T0" fmla="*/ 2147483647 w 95"/>
                <a:gd name="T1" fmla="*/ 2147483647 h 108"/>
                <a:gd name="T2" fmla="*/ 2147483647 w 95"/>
                <a:gd name="T3" fmla="*/ 2147483647 h 108"/>
                <a:gd name="T4" fmla="*/ 2147483647 w 95"/>
                <a:gd name="T5" fmla="*/ 2147483647 h 108"/>
                <a:gd name="T6" fmla="*/ 2147483647 w 95"/>
                <a:gd name="T7" fmla="*/ 0 h 108"/>
                <a:gd name="T8" fmla="*/ 2147483647 w 95"/>
                <a:gd name="T9" fmla="*/ 0 h 108"/>
                <a:gd name="T10" fmla="*/ 2147483647 w 95"/>
                <a:gd name="T11" fmla="*/ 2147483647 h 108"/>
                <a:gd name="T12" fmla="*/ 2147483647 w 95"/>
                <a:gd name="T13" fmla="*/ 2147483647 h 108"/>
                <a:gd name="T14" fmla="*/ 2147483647 w 95"/>
                <a:gd name="T15" fmla="*/ 2147483647 h 108"/>
                <a:gd name="T16" fmla="*/ 2147483647 w 95"/>
                <a:gd name="T17" fmla="*/ 2147483647 h 108"/>
                <a:gd name="T18" fmla="*/ 2147483647 w 95"/>
                <a:gd name="T19" fmla="*/ 2147483647 h 108"/>
                <a:gd name="T20" fmla="*/ 2147483647 w 95"/>
                <a:gd name="T21" fmla="*/ 2147483647 h 108"/>
                <a:gd name="T22" fmla="*/ 2147483647 w 95"/>
                <a:gd name="T23" fmla="*/ 2147483647 h 108"/>
                <a:gd name="T24" fmla="*/ 2147483647 w 95"/>
                <a:gd name="T25" fmla="*/ 2147483647 h 108"/>
                <a:gd name="T26" fmla="*/ 2147483647 w 95"/>
                <a:gd name="T27" fmla="*/ 2147483647 h 108"/>
                <a:gd name="T28" fmla="*/ 2147483647 w 95"/>
                <a:gd name="T29" fmla="*/ 2147483647 h 108"/>
                <a:gd name="T30" fmla="*/ 0 w 95"/>
                <a:gd name="T31" fmla="*/ 2147483647 h 108"/>
                <a:gd name="T32" fmla="*/ 2147483647 w 95"/>
                <a:gd name="T33" fmla="*/ 2147483647 h 108"/>
                <a:gd name="T34" fmla="*/ 2147483647 w 95"/>
                <a:gd name="T35" fmla="*/ 2147483647 h 108"/>
                <a:gd name="T36" fmla="*/ 2147483647 w 95"/>
                <a:gd name="T37" fmla="*/ 2147483647 h 108"/>
                <a:gd name="T38" fmla="*/ 2147483647 w 95"/>
                <a:gd name="T39" fmla="*/ 2147483647 h 108"/>
                <a:gd name="T40" fmla="*/ 2147483647 w 95"/>
                <a:gd name="T41" fmla="*/ 2147483647 h 108"/>
                <a:gd name="T42" fmla="*/ 2147483647 w 95"/>
                <a:gd name="T43" fmla="*/ 2147483647 h 108"/>
                <a:gd name="T44" fmla="*/ 2147483647 w 95"/>
                <a:gd name="T45" fmla="*/ 2147483647 h 108"/>
                <a:gd name="T46" fmla="*/ 2147483647 w 95"/>
                <a:gd name="T47" fmla="*/ 2147483647 h 108"/>
                <a:gd name="T48" fmla="*/ 2147483647 w 95"/>
                <a:gd name="T49" fmla="*/ 2147483647 h 108"/>
                <a:gd name="T50" fmla="*/ 2147483647 w 95"/>
                <a:gd name="T51" fmla="*/ 2147483647 h 108"/>
                <a:gd name="T52" fmla="*/ 2147483647 w 95"/>
                <a:gd name="T53" fmla="*/ 2147483647 h 108"/>
                <a:gd name="T54" fmla="*/ 2147483647 w 95"/>
                <a:gd name="T55" fmla="*/ 2147483647 h 108"/>
                <a:gd name="T56" fmla="*/ 2147483647 w 95"/>
                <a:gd name="T57" fmla="*/ 2147483647 h 108"/>
                <a:gd name="T58" fmla="*/ 2147483647 w 95"/>
                <a:gd name="T59" fmla="*/ 2147483647 h 108"/>
                <a:gd name="T60" fmla="*/ 2147483647 w 95"/>
                <a:gd name="T61" fmla="*/ 2147483647 h 108"/>
                <a:gd name="T62" fmla="*/ 2147483647 w 95"/>
                <a:gd name="T63" fmla="*/ 2147483647 h 108"/>
                <a:gd name="T64" fmla="*/ 2147483647 w 95"/>
                <a:gd name="T65" fmla="*/ 2147483647 h 108"/>
                <a:gd name="T66" fmla="*/ 2147483647 w 95"/>
                <a:gd name="T67" fmla="*/ 2147483647 h 108"/>
                <a:gd name="T68" fmla="*/ 2147483647 w 95"/>
                <a:gd name="T69" fmla="*/ 2147483647 h 108"/>
                <a:gd name="T70" fmla="*/ 2147483647 w 95"/>
                <a:gd name="T71" fmla="*/ 2147483647 h 108"/>
                <a:gd name="T72" fmla="*/ 2147483647 w 95"/>
                <a:gd name="T73" fmla="*/ 2147483647 h 108"/>
                <a:gd name="T74" fmla="*/ 2147483647 w 95"/>
                <a:gd name="T75" fmla="*/ 2147483647 h 108"/>
                <a:gd name="T76" fmla="*/ 2147483647 w 95"/>
                <a:gd name="T77" fmla="*/ 2147483647 h 108"/>
                <a:gd name="T78" fmla="*/ 2147483647 w 95"/>
                <a:gd name="T79" fmla="*/ 2147483647 h 108"/>
                <a:gd name="T80" fmla="*/ 2147483647 w 95"/>
                <a:gd name="T81" fmla="*/ 2147483647 h 108"/>
                <a:gd name="T82" fmla="*/ 2147483647 w 95"/>
                <a:gd name="T83" fmla="*/ 2147483647 h 108"/>
                <a:gd name="T84" fmla="*/ 2147483647 w 95"/>
                <a:gd name="T85" fmla="*/ 2147483647 h 108"/>
                <a:gd name="T86" fmla="*/ 2147483647 w 95"/>
                <a:gd name="T87" fmla="*/ 2147483647 h 108"/>
                <a:gd name="T88" fmla="*/ 2147483647 w 95"/>
                <a:gd name="T89" fmla="*/ 2147483647 h 108"/>
                <a:gd name="T90" fmla="*/ 2147483647 w 95"/>
                <a:gd name="T91" fmla="*/ 2147483647 h 108"/>
                <a:gd name="T92" fmla="*/ 2147483647 w 95"/>
                <a:gd name="T93" fmla="*/ 2147483647 h 108"/>
                <a:gd name="T94" fmla="*/ 2147483647 w 95"/>
                <a:gd name="T95" fmla="*/ 2147483647 h 108"/>
                <a:gd name="T96" fmla="*/ 2147483647 w 95"/>
                <a:gd name="T97" fmla="*/ 2147483647 h 108"/>
                <a:gd name="T98" fmla="*/ 2147483647 w 95"/>
                <a:gd name="T99" fmla="*/ 2147483647 h 108"/>
                <a:gd name="T100" fmla="*/ 2147483647 w 95"/>
                <a:gd name="T101" fmla="*/ 2147483647 h 108"/>
                <a:gd name="T102" fmla="*/ 2147483647 w 95"/>
                <a:gd name="T103" fmla="*/ 2147483647 h 108"/>
                <a:gd name="T104" fmla="*/ 2147483647 w 95"/>
                <a:gd name="T105" fmla="*/ 2147483647 h 10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5"/>
                <a:gd name="T160" fmla="*/ 0 h 108"/>
                <a:gd name="T161" fmla="*/ 95 w 95"/>
                <a:gd name="T162" fmla="*/ 108 h 10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5" h="108">
                  <a:moveTo>
                    <a:pt x="21" y="3"/>
                  </a:moveTo>
                  <a:lnTo>
                    <a:pt x="18" y="2"/>
                  </a:lnTo>
                  <a:lnTo>
                    <a:pt x="17" y="1"/>
                  </a:lnTo>
                  <a:lnTo>
                    <a:pt x="15" y="0"/>
                  </a:lnTo>
                  <a:lnTo>
                    <a:pt x="12" y="0"/>
                  </a:lnTo>
                  <a:lnTo>
                    <a:pt x="10" y="2"/>
                  </a:lnTo>
                  <a:lnTo>
                    <a:pt x="12" y="7"/>
                  </a:lnTo>
                  <a:lnTo>
                    <a:pt x="14" y="12"/>
                  </a:lnTo>
                  <a:lnTo>
                    <a:pt x="15" y="17"/>
                  </a:lnTo>
                  <a:lnTo>
                    <a:pt x="16" y="20"/>
                  </a:lnTo>
                  <a:lnTo>
                    <a:pt x="16" y="25"/>
                  </a:lnTo>
                  <a:lnTo>
                    <a:pt x="16" y="29"/>
                  </a:lnTo>
                  <a:lnTo>
                    <a:pt x="14" y="31"/>
                  </a:lnTo>
                  <a:lnTo>
                    <a:pt x="9" y="35"/>
                  </a:lnTo>
                  <a:lnTo>
                    <a:pt x="4" y="38"/>
                  </a:lnTo>
                  <a:lnTo>
                    <a:pt x="0" y="43"/>
                  </a:lnTo>
                  <a:lnTo>
                    <a:pt x="3" y="49"/>
                  </a:lnTo>
                  <a:lnTo>
                    <a:pt x="5" y="56"/>
                  </a:lnTo>
                  <a:lnTo>
                    <a:pt x="8" y="62"/>
                  </a:lnTo>
                  <a:lnTo>
                    <a:pt x="9" y="67"/>
                  </a:lnTo>
                  <a:lnTo>
                    <a:pt x="9" y="73"/>
                  </a:lnTo>
                  <a:lnTo>
                    <a:pt x="9" y="82"/>
                  </a:lnTo>
                  <a:lnTo>
                    <a:pt x="10" y="90"/>
                  </a:lnTo>
                  <a:lnTo>
                    <a:pt x="15" y="100"/>
                  </a:lnTo>
                  <a:lnTo>
                    <a:pt x="21" y="104"/>
                  </a:lnTo>
                  <a:lnTo>
                    <a:pt x="27" y="108"/>
                  </a:lnTo>
                  <a:lnTo>
                    <a:pt x="33" y="108"/>
                  </a:lnTo>
                  <a:lnTo>
                    <a:pt x="37" y="104"/>
                  </a:lnTo>
                  <a:lnTo>
                    <a:pt x="40" y="100"/>
                  </a:lnTo>
                  <a:lnTo>
                    <a:pt x="43" y="94"/>
                  </a:lnTo>
                  <a:lnTo>
                    <a:pt x="45" y="90"/>
                  </a:lnTo>
                  <a:lnTo>
                    <a:pt x="49" y="86"/>
                  </a:lnTo>
                  <a:lnTo>
                    <a:pt x="55" y="85"/>
                  </a:lnTo>
                  <a:lnTo>
                    <a:pt x="64" y="84"/>
                  </a:lnTo>
                  <a:lnTo>
                    <a:pt x="74" y="80"/>
                  </a:lnTo>
                  <a:lnTo>
                    <a:pt x="83" y="77"/>
                  </a:lnTo>
                  <a:lnTo>
                    <a:pt x="87" y="73"/>
                  </a:lnTo>
                  <a:lnTo>
                    <a:pt x="91" y="71"/>
                  </a:lnTo>
                  <a:lnTo>
                    <a:pt x="95" y="66"/>
                  </a:lnTo>
                  <a:lnTo>
                    <a:pt x="95" y="62"/>
                  </a:lnTo>
                  <a:lnTo>
                    <a:pt x="89" y="56"/>
                  </a:lnTo>
                  <a:lnTo>
                    <a:pt x="81" y="50"/>
                  </a:lnTo>
                  <a:lnTo>
                    <a:pt x="79" y="47"/>
                  </a:lnTo>
                  <a:lnTo>
                    <a:pt x="78" y="43"/>
                  </a:lnTo>
                  <a:lnTo>
                    <a:pt x="77" y="37"/>
                  </a:lnTo>
                  <a:lnTo>
                    <a:pt x="73" y="30"/>
                  </a:lnTo>
                  <a:lnTo>
                    <a:pt x="67" y="23"/>
                  </a:lnTo>
                  <a:lnTo>
                    <a:pt x="58" y="17"/>
                  </a:lnTo>
                  <a:lnTo>
                    <a:pt x="46" y="13"/>
                  </a:lnTo>
                  <a:lnTo>
                    <a:pt x="37" y="12"/>
                  </a:lnTo>
                  <a:lnTo>
                    <a:pt x="31" y="9"/>
                  </a:lnTo>
                  <a:lnTo>
                    <a:pt x="25" y="7"/>
                  </a:lnTo>
                  <a:lnTo>
                    <a:pt x="21" y="3"/>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l-GR"/>
            </a:p>
          </p:txBody>
        </p:sp>
      </p:grpSp>
      <p:sp>
        <p:nvSpPr>
          <p:cNvPr id="82949" name="Rounded Rectangle 798">
            <a:extLst>
              <a:ext uri="{FF2B5EF4-FFF2-40B4-BE49-F238E27FC236}">
                <a16:creationId xmlns:a16="http://schemas.microsoft.com/office/drawing/2014/main" id="{19052D7C-828E-451A-A96E-239449B76EBA}"/>
              </a:ext>
            </a:extLst>
          </p:cNvPr>
          <p:cNvSpPr>
            <a:spLocks noChangeArrowheads="1"/>
          </p:cNvSpPr>
          <p:nvPr/>
        </p:nvSpPr>
        <p:spPr bwMode="auto">
          <a:xfrm>
            <a:off x="952501" y="3706814"/>
            <a:ext cx="906463" cy="642937"/>
          </a:xfrm>
          <a:prstGeom prst="roundRect">
            <a:avLst>
              <a:gd name="adj" fmla="val 16667"/>
            </a:avLst>
          </a:prstGeom>
          <a:noFill/>
          <a:ln w="6350">
            <a:solidFill>
              <a:srgbClr val="006699"/>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endParaRPr lang="el-GR" altLang="el-GR">
              <a:solidFill>
                <a:srgbClr val="FFFFFF"/>
              </a:solidFill>
            </a:endParaRPr>
          </a:p>
        </p:txBody>
      </p:sp>
      <p:sp>
        <p:nvSpPr>
          <p:cNvPr id="82950" name="Rectangle 4">
            <a:extLst>
              <a:ext uri="{FF2B5EF4-FFF2-40B4-BE49-F238E27FC236}">
                <a16:creationId xmlns:a16="http://schemas.microsoft.com/office/drawing/2014/main" id="{95B4AEA6-FD0B-41E4-91F9-80E9EE39C04A}"/>
              </a:ext>
            </a:extLst>
          </p:cNvPr>
          <p:cNvSpPr>
            <a:spLocks noChangeArrowheads="1"/>
          </p:cNvSpPr>
          <p:nvPr/>
        </p:nvSpPr>
        <p:spPr bwMode="auto">
          <a:xfrm>
            <a:off x="1081089" y="4476750"/>
            <a:ext cx="2295525" cy="83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lvl1pPr>
              <a:tabLst>
                <a:tab pos="627063" algn="l"/>
                <a:tab pos="804863" algn="l"/>
              </a:tabLst>
              <a:defRPr>
                <a:solidFill>
                  <a:schemeClr val="tx1"/>
                </a:solidFill>
                <a:latin typeface="Calibri" panose="020F0502020204030204" pitchFamily="34" charset="0"/>
                <a:cs typeface="Arial" panose="020B0604020202020204" pitchFamily="34" charset="0"/>
              </a:defRPr>
            </a:lvl1pPr>
            <a:lvl2pPr marL="742950" indent="-285750">
              <a:tabLst>
                <a:tab pos="627063" algn="l"/>
                <a:tab pos="804863" algn="l"/>
              </a:tabLst>
              <a:defRPr>
                <a:solidFill>
                  <a:schemeClr val="tx1"/>
                </a:solidFill>
                <a:latin typeface="Calibri" panose="020F0502020204030204" pitchFamily="34" charset="0"/>
                <a:cs typeface="Arial" panose="020B0604020202020204" pitchFamily="34" charset="0"/>
              </a:defRPr>
            </a:lvl2pPr>
            <a:lvl3pPr marL="1143000" indent="-228600">
              <a:tabLst>
                <a:tab pos="627063" algn="l"/>
                <a:tab pos="804863" algn="l"/>
              </a:tabLst>
              <a:defRPr>
                <a:solidFill>
                  <a:schemeClr val="tx1"/>
                </a:solidFill>
                <a:latin typeface="Calibri" panose="020F0502020204030204" pitchFamily="34" charset="0"/>
                <a:cs typeface="Arial" panose="020B0604020202020204" pitchFamily="34" charset="0"/>
              </a:defRPr>
            </a:lvl3pPr>
            <a:lvl4pPr marL="1600200" indent="-228600">
              <a:tabLst>
                <a:tab pos="627063" algn="l"/>
                <a:tab pos="804863" algn="l"/>
              </a:tabLst>
              <a:defRPr>
                <a:solidFill>
                  <a:schemeClr val="tx1"/>
                </a:solidFill>
                <a:latin typeface="Calibri" panose="020F0502020204030204" pitchFamily="34" charset="0"/>
                <a:cs typeface="Arial" panose="020B0604020202020204" pitchFamily="34" charset="0"/>
              </a:defRPr>
            </a:lvl4pPr>
            <a:lvl5pPr marL="2057400" indent="-228600">
              <a:tabLst>
                <a:tab pos="627063" algn="l"/>
                <a:tab pos="804863" algn="l"/>
              </a:tabLst>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tabLst>
                <a:tab pos="627063" algn="l"/>
                <a:tab pos="804863" algn="l"/>
              </a:tabLs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tabLst>
                <a:tab pos="627063" algn="l"/>
                <a:tab pos="804863" algn="l"/>
              </a:tabLs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tabLst>
                <a:tab pos="627063" algn="l"/>
                <a:tab pos="804863" algn="l"/>
              </a:tabLs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tabLst>
                <a:tab pos="627063" algn="l"/>
                <a:tab pos="804863" algn="l"/>
              </a:tabLst>
              <a:defRPr>
                <a:solidFill>
                  <a:schemeClr val="tx1"/>
                </a:solidFill>
                <a:latin typeface="Calibri" panose="020F0502020204030204" pitchFamily="34" charset="0"/>
                <a:cs typeface="Arial" panose="020B0604020202020204" pitchFamily="34" charset="0"/>
              </a:defRPr>
            </a:lvl9pPr>
          </a:lstStyle>
          <a:p>
            <a:pPr>
              <a:lnSpc>
                <a:spcPts val="2000"/>
              </a:lnSpc>
            </a:pPr>
            <a:r>
              <a:rPr lang="en-US" altLang="el-GR" sz="1400" dirty="0">
                <a:latin typeface="+mn-lt"/>
                <a:ea typeface="ヒラギノ角ゴ Pro W3"/>
                <a:cs typeface="ヒラギノ角ゴ Pro W3"/>
              </a:rPr>
              <a:t> ≥8%  = </a:t>
            </a:r>
            <a:r>
              <a:rPr lang="el-GR" altLang="el-GR" sz="1400" dirty="0">
                <a:latin typeface="+mn-lt"/>
                <a:ea typeface="ヒラギノ角ゴ Pro W3"/>
                <a:cs typeface="ヒラギノ角ゴ Pro W3"/>
              </a:rPr>
              <a:t>Υψηλός</a:t>
            </a:r>
            <a:endParaRPr lang="en-US" altLang="el-GR" sz="1400" dirty="0">
              <a:latin typeface="+mn-lt"/>
              <a:ea typeface="ヒラギノ角ゴ Pro W3"/>
              <a:cs typeface="ヒラギノ角ゴ Pro W3"/>
            </a:endParaRPr>
          </a:p>
          <a:p>
            <a:pPr>
              <a:lnSpc>
                <a:spcPts val="2000"/>
              </a:lnSpc>
            </a:pPr>
            <a:r>
              <a:rPr lang="en-US" altLang="el-GR" sz="1400" dirty="0">
                <a:latin typeface="+mn-lt"/>
                <a:ea typeface="ヒラギノ角ゴ Pro W3"/>
                <a:cs typeface="ヒラギノ角ゴ Pro W3"/>
              </a:rPr>
              <a:t> 2-7% = </a:t>
            </a:r>
            <a:r>
              <a:rPr lang="el-GR" altLang="el-GR" sz="1400" dirty="0">
                <a:latin typeface="+mn-lt"/>
                <a:ea typeface="ヒラギノ角ゴ Pro W3"/>
                <a:cs typeface="ヒラギノ角ゴ Pro W3"/>
              </a:rPr>
              <a:t>Ενδιάμεσος</a:t>
            </a:r>
            <a:endParaRPr lang="en-US" altLang="el-GR" sz="1400" dirty="0">
              <a:latin typeface="+mn-lt"/>
              <a:ea typeface="ヒラギノ角ゴ Pro W3"/>
              <a:cs typeface="ヒラギノ角ゴ Pro W3"/>
            </a:endParaRPr>
          </a:p>
          <a:p>
            <a:pPr>
              <a:lnSpc>
                <a:spcPts val="2000"/>
              </a:lnSpc>
            </a:pPr>
            <a:r>
              <a:rPr lang="en-US" altLang="el-GR" sz="1400" dirty="0">
                <a:latin typeface="+mn-lt"/>
                <a:ea typeface="ヒラギノ角ゴ Pro W3"/>
                <a:cs typeface="ヒラギノ角ゴ Pro W3"/>
              </a:rPr>
              <a:t> &lt;2%  = </a:t>
            </a:r>
            <a:r>
              <a:rPr lang="el-GR" altLang="el-GR" sz="1400" dirty="0">
                <a:latin typeface="+mn-lt"/>
                <a:ea typeface="ヒラギノ角ゴ Pro W3"/>
                <a:cs typeface="ヒラギノ角ゴ Pro W3"/>
              </a:rPr>
              <a:t>Χαμηλός</a:t>
            </a:r>
            <a:endParaRPr lang="en-US" altLang="el-GR" sz="1400" dirty="0">
              <a:latin typeface="+mn-lt"/>
              <a:ea typeface="ヒラギノ角ゴ Pro W3"/>
              <a:cs typeface="ヒラギノ角ゴ Pro W3"/>
            </a:endParaRPr>
          </a:p>
        </p:txBody>
      </p:sp>
      <p:sp>
        <p:nvSpPr>
          <p:cNvPr id="82951" name="Freeform 805">
            <a:extLst>
              <a:ext uri="{FF2B5EF4-FFF2-40B4-BE49-F238E27FC236}">
                <a16:creationId xmlns:a16="http://schemas.microsoft.com/office/drawing/2014/main" id="{44EBB82F-0126-42C8-910F-A5F55FFB7D31}"/>
              </a:ext>
            </a:extLst>
          </p:cNvPr>
          <p:cNvSpPr>
            <a:spLocks/>
          </p:cNvSpPr>
          <p:nvPr/>
        </p:nvSpPr>
        <p:spPr bwMode="auto">
          <a:xfrm>
            <a:off x="957264" y="4586289"/>
            <a:ext cx="166687" cy="155575"/>
          </a:xfrm>
          <a:custGeom>
            <a:avLst/>
            <a:gdLst>
              <a:gd name="T0" fmla="*/ 0 w 110"/>
              <a:gd name="T1" fmla="*/ 2147483647 h 116"/>
              <a:gd name="T2" fmla="*/ 2147483647 w 110"/>
              <a:gd name="T3" fmla="*/ 2147483647 h 116"/>
              <a:gd name="T4" fmla="*/ 2147483647 w 110"/>
              <a:gd name="T5" fmla="*/ 0 h 116"/>
              <a:gd name="T6" fmla="*/ 0 w 110"/>
              <a:gd name="T7" fmla="*/ 0 h 116"/>
              <a:gd name="T8" fmla="*/ 0 w 110"/>
              <a:gd name="T9" fmla="*/ 2147483647 h 116"/>
              <a:gd name="T10" fmla="*/ 0 60000 65536"/>
              <a:gd name="T11" fmla="*/ 0 60000 65536"/>
              <a:gd name="T12" fmla="*/ 0 60000 65536"/>
              <a:gd name="T13" fmla="*/ 0 60000 65536"/>
              <a:gd name="T14" fmla="*/ 0 60000 65536"/>
              <a:gd name="T15" fmla="*/ 0 w 110"/>
              <a:gd name="T16" fmla="*/ 0 h 116"/>
              <a:gd name="T17" fmla="*/ 110 w 110"/>
              <a:gd name="T18" fmla="*/ 116 h 116"/>
            </a:gdLst>
            <a:ahLst/>
            <a:cxnLst>
              <a:cxn ang="T10">
                <a:pos x="T0" y="T1"/>
              </a:cxn>
              <a:cxn ang="T11">
                <a:pos x="T2" y="T3"/>
              </a:cxn>
              <a:cxn ang="T12">
                <a:pos x="T4" y="T5"/>
              </a:cxn>
              <a:cxn ang="T13">
                <a:pos x="T6" y="T7"/>
              </a:cxn>
              <a:cxn ang="T14">
                <a:pos x="T8" y="T9"/>
              </a:cxn>
            </a:cxnLst>
            <a:rect l="T15" t="T16" r="T17" b="T18"/>
            <a:pathLst>
              <a:path w="110" h="116">
                <a:moveTo>
                  <a:pt x="0" y="115"/>
                </a:moveTo>
                <a:lnTo>
                  <a:pt x="109" y="115"/>
                </a:lnTo>
                <a:lnTo>
                  <a:pt x="109" y="0"/>
                </a:lnTo>
                <a:lnTo>
                  <a:pt x="0" y="0"/>
                </a:lnTo>
                <a:lnTo>
                  <a:pt x="0" y="115"/>
                </a:lnTo>
              </a:path>
            </a:pathLst>
          </a:custGeom>
          <a:solidFill>
            <a:srgbClr val="FF0000"/>
          </a:solidFill>
          <a:ln w="9525">
            <a:solidFill>
              <a:schemeClr val="bg1"/>
            </a:solidFill>
            <a:round/>
            <a:headEnd/>
            <a:tailEnd/>
          </a:ln>
        </p:spPr>
        <p:txBody>
          <a:bodyPr/>
          <a:lstStyle/>
          <a:p>
            <a:endParaRPr lang="el-GR"/>
          </a:p>
        </p:txBody>
      </p:sp>
      <p:sp>
        <p:nvSpPr>
          <p:cNvPr id="16400" name="Freeform 806">
            <a:extLst>
              <a:ext uri="{FF2B5EF4-FFF2-40B4-BE49-F238E27FC236}">
                <a16:creationId xmlns:a16="http://schemas.microsoft.com/office/drawing/2014/main" id="{9413AC7E-E370-48CB-B786-16E1C0F034F1}"/>
              </a:ext>
            </a:extLst>
          </p:cNvPr>
          <p:cNvSpPr>
            <a:spLocks/>
          </p:cNvSpPr>
          <p:nvPr/>
        </p:nvSpPr>
        <p:spPr bwMode="auto">
          <a:xfrm>
            <a:off x="957264" y="4830764"/>
            <a:ext cx="166687" cy="155575"/>
          </a:xfrm>
          <a:custGeom>
            <a:avLst/>
            <a:gdLst>
              <a:gd name="T0" fmla="*/ 0 w 110"/>
              <a:gd name="T1" fmla="*/ 2147483647 h 116"/>
              <a:gd name="T2" fmla="*/ 2147483647 w 110"/>
              <a:gd name="T3" fmla="*/ 2147483647 h 116"/>
              <a:gd name="T4" fmla="*/ 2147483647 w 110"/>
              <a:gd name="T5" fmla="*/ 0 h 116"/>
              <a:gd name="T6" fmla="*/ 0 w 110"/>
              <a:gd name="T7" fmla="*/ 0 h 116"/>
              <a:gd name="T8" fmla="*/ 0 w 110"/>
              <a:gd name="T9" fmla="*/ 2147483647 h 116"/>
              <a:gd name="T10" fmla="*/ 0 60000 65536"/>
              <a:gd name="T11" fmla="*/ 0 60000 65536"/>
              <a:gd name="T12" fmla="*/ 0 60000 65536"/>
              <a:gd name="T13" fmla="*/ 0 60000 65536"/>
              <a:gd name="T14" fmla="*/ 0 60000 65536"/>
              <a:gd name="T15" fmla="*/ 0 w 110"/>
              <a:gd name="T16" fmla="*/ 0 h 116"/>
              <a:gd name="T17" fmla="*/ 110 w 110"/>
              <a:gd name="T18" fmla="*/ 116 h 116"/>
            </a:gdLst>
            <a:ahLst/>
            <a:cxnLst>
              <a:cxn ang="T10">
                <a:pos x="T0" y="T1"/>
              </a:cxn>
              <a:cxn ang="T11">
                <a:pos x="T2" y="T3"/>
              </a:cxn>
              <a:cxn ang="T12">
                <a:pos x="T4" y="T5"/>
              </a:cxn>
              <a:cxn ang="T13">
                <a:pos x="T6" y="T7"/>
              </a:cxn>
              <a:cxn ang="T14">
                <a:pos x="T8" y="T9"/>
              </a:cxn>
            </a:cxnLst>
            <a:rect l="T15" t="T16" r="T17" b="T18"/>
            <a:pathLst>
              <a:path w="110" h="116">
                <a:moveTo>
                  <a:pt x="0" y="115"/>
                </a:moveTo>
                <a:lnTo>
                  <a:pt x="109" y="115"/>
                </a:lnTo>
                <a:lnTo>
                  <a:pt x="109" y="0"/>
                </a:lnTo>
                <a:lnTo>
                  <a:pt x="0" y="0"/>
                </a:lnTo>
                <a:lnTo>
                  <a:pt x="0" y="115"/>
                </a:lnTo>
              </a:path>
            </a:pathLst>
          </a:custGeom>
          <a:solidFill>
            <a:srgbClr val="FFFF00"/>
          </a:solidFill>
          <a:ln w="9525">
            <a:solidFill>
              <a:schemeClr val="bg1">
                <a:lumMod val="75000"/>
              </a:schemeClr>
            </a:solidFill>
            <a:round/>
            <a:headEnd/>
            <a:tailEnd/>
          </a:ln>
        </p:spPr>
        <p:txBody>
          <a:bodyPr/>
          <a:lstStyle/>
          <a:p>
            <a:pPr>
              <a:defRPr/>
            </a:pPr>
            <a:endParaRPr lang="en-US" dirty="0">
              <a:solidFill>
                <a:prstClr val="black"/>
              </a:solidFill>
            </a:endParaRPr>
          </a:p>
        </p:txBody>
      </p:sp>
      <p:sp>
        <p:nvSpPr>
          <p:cNvPr id="82953" name="Freeform 807">
            <a:extLst>
              <a:ext uri="{FF2B5EF4-FFF2-40B4-BE49-F238E27FC236}">
                <a16:creationId xmlns:a16="http://schemas.microsoft.com/office/drawing/2014/main" id="{8A623ADA-3436-4485-8237-6049C2180835}"/>
              </a:ext>
            </a:extLst>
          </p:cNvPr>
          <p:cNvSpPr>
            <a:spLocks/>
          </p:cNvSpPr>
          <p:nvPr/>
        </p:nvSpPr>
        <p:spPr bwMode="auto">
          <a:xfrm>
            <a:off x="957264" y="5076825"/>
            <a:ext cx="166687" cy="153988"/>
          </a:xfrm>
          <a:custGeom>
            <a:avLst/>
            <a:gdLst>
              <a:gd name="T0" fmla="*/ 0 w 110"/>
              <a:gd name="T1" fmla="*/ 2147483647 h 115"/>
              <a:gd name="T2" fmla="*/ 2147483647 w 110"/>
              <a:gd name="T3" fmla="*/ 2147483647 h 115"/>
              <a:gd name="T4" fmla="*/ 2147483647 w 110"/>
              <a:gd name="T5" fmla="*/ 0 h 115"/>
              <a:gd name="T6" fmla="*/ 0 w 110"/>
              <a:gd name="T7" fmla="*/ 0 h 115"/>
              <a:gd name="T8" fmla="*/ 0 w 110"/>
              <a:gd name="T9" fmla="*/ 2147483647 h 115"/>
              <a:gd name="T10" fmla="*/ 0 60000 65536"/>
              <a:gd name="T11" fmla="*/ 0 60000 65536"/>
              <a:gd name="T12" fmla="*/ 0 60000 65536"/>
              <a:gd name="T13" fmla="*/ 0 60000 65536"/>
              <a:gd name="T14" fmla="*/ 0 60000 65536"/>
              <a:gd name="T15" fmla="*/ 0 w 110"/>
              <a:gd name="T16" fmla="*/ 0 h 115"/>
              <a:gd name="T17" fmla="*/ 110 w 110"/>
              <a:gd name="T18" fmla="*/ 115 h 115"/>
            </a:gdLst>
            <a:ahLst/>
            <a:cxnLst>
              <a:cxn ang="T10">
                <a:pos x="T0" y="T1"/>
              </a:cxn>
              <a:cxn ang="T11">
                <a:pos x="T2" y="T3"/>
              </a:cxn>
              <a:cxn ang="T12">
                <a:pos x="T4" y="T5"/>
              </a:cxn>
              <a:cxn ang="T13">
                <a:pos x="T6" y="T7"/>
              </a:cxn>
              <a:cxn ang="T14">
                <a:pos x="T8" y="T9"/>
              </a:cxn>
            </a:cxnLst>
            <a:rect l="T15" t="T16" r="T17" b="T18"/>
            <a:pathLst>
              <a:path w="110" h="115">
                <a:moveTo>
                  <a:pt x="0" y="114"/>
                </a:moveTo>
                <a:lnTo>
                  <a:pt x="109" y="114"/>
                </a:lnTo>
                <a:lnTo>
                  <a:pt x="109" y="0"/>
                </a:lnTo>
                <a:lnTo>
                  <a:pt x="0" y="0"/>
                </a:lnTo>
                <a:lnTo>
                  <a:pt x="0" y="114"/>
                </a:lnTo>
              </a:path>
            </a:pathLst>
          </a:custGeom>
          <a:solidFill>
            <a:srgbClr val="92D050"/>
          </a:solidFill>
          <a:ln w="9525">
            <a:solidFill>
              <a:schemeClr val="bg1"/>
            </a:solidFill>
            <a:round/>
            <a:headEnd/>
            <a:tailEnd/>
          </a:ln>
        </p:spPr>
        <p:txBody>
          <a:bodyPr/>
          <a:lstStyle/>
          <a:p>
            <a:endParaRPr lang="el-GR"/>
          </a:p>
        </p:txBody>
      </p:sp>
      <p:sp>
        <p:nvSpPr>
          <p:cNvPr id="82954" name="Content Placeholder 2">
            <a:extLst>
              <a:ext uri="{FF2B5EF4-FFF2-40B4-BE49-F238E27FC236}">
                <a16:creationId xmlns:a16="http://schemas.microsoft.com/office/drawing/2014/main" id="{0E0CCE94-279D-4E19-9372-34B9EA83B812}"/>
              </a:ext>
            </a:extLst>
          </p:cNvPr>
          <p:cNvSpPr>
            <a:spLocks noGrp="1"/>
          </p:cNvSpPr>
          <p:nvPr>
            <p:ph idx="4294967295"/>
          </p:nvPr>
        </p:nvSpPr>
        <p:spPr>
          <a:xfrm>
            <a:off x="1028700" y="5527676"/>
            <a:ext cx="8229600" cy="644525"/>
          </a:xfrm>
          <a:prstGeom prst="roundRect">
            <a:avLst>
              <a:gd name="adj" fmla="val 16667"/>
            </a:avLst>
          </a:prstGeom>
        </p:spPr>
        <p:txBody>
          <a:bodyPr anchor="ctr"/>
          <a:lstStyle/>
          <a:p>
            <a:pPr marL="0" indent="0" algn="ctr">
              <a:lnSpc>
                <a:spcPct val="95000"/>
              </a:lnSpc>
              <a:spcBef>
                <a:spcPts val="1000"/>
              </a:spcBef>
              <a:buClr>
                <a:srgbClr val="FFFFFF"/>
              </a:buClr>
              <a:buNone/>
            </a:pPr>
            <a:r>
              <a:rPr lang="el-GR" altLang="en-US" sz="2000" b="1" dirty="0"/>
              <a:t>Εκτιμάται ότι υπάρχουν </a:t>
            </a:r>
            <a:r>
              <a:rPr lang="en-US" altLang="en-US" sz="2000" b="1" dirty="0"/>
              <a:t>257 </a:t>
            </a:r>
            <a:r>
              <a:rPr lang="el-GR" altLang="en-US" sz="2000" b="1" dirty="0"/>
              <a:t>εκατομ.</a:t>
            </a:r>
            <a:r>
              <a:rPr lang="en-US" altLang="en-US" sz="2000" b="1" dirty="0"/>
              <a:t> </a:t>
            </a:r>
            <a:r>
              <a:rPr lang="el-GR" altLang="en-US" sz="2000" b="1" dirty="0"/>
              <a:t>άνθρωποι με Χ</a:t>
            </a:r>
            <a:r>
              <a:rPr lang="en-US" altLang="en-US" sz="2000" b="1" dirty="0"/>
              <a:t>HB </a:t>
            </a:r>
            <a:endParaRPr lang="en-US" altLang="en-US" sz="2000" b="1" baseline="30000" dirty="0"/>
          </a:p>
        </p:txBody>
      </p:sp>
      <p:sp>
        <p:nvSpPr>
          <p:cNvPr id="82955" name="TextBox 3">
            <a:extLst>
              <a:ext uri="{FF2B5EF4-FFF2-40B4-BE49-F238E27FC236}">
                <a16:creationId xmlns:a16="http://schemas.microsoft.com/office/drawing/2014/main" id="{93D5F639-7165-4F86-BD7E-8EC56A9F2FD1}"/>
              </a:ext>
            </a:extLst>
          </p:cNvPr>
          <p:cNvSpPr txBox="1">
            <a:spLocks noChangeArrowheads="1"/>
          </p:cNvSpPr>
          <p:nvPr/>
        </p:nvSpPr>
        <p:spPr bwMode="auto">
          <a:xfrm>
            <a:off x="958850" y="6400800"/>
            <a:ext cx="715645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nSpc>
                <a:spcPct val="90000"/>
              </a:lnSpc>
            </a:pPr>
            <a:r>
              <a:rPr lang="en-US" altLang="el-GR" sz="1400" i="1" dirty="0">
                <a:solidFill>
                  <a:schemeClr val="accent2"/>
                </a:solidFill>
              </a:rPr>
              <a:t>WHO| Hepatitis B</a:t>
            </a:r>
            <a:r>
              <a:rPr lang="en-US" altLang="el-GR" sz="1400" dirty="0">
                <a:solidFill>
                  <a:schemeClr val="accent2"/>
                </a:solidFill>
              </a:rPr>
              <a:t>. WHO, n.d. Web. 24 Apr. 2017.</a:t>
            </a:r>
          </a:p>
          <a:p>
            <a:pPr>
              <a:lnSpc>
                <a:spcPct val="90000"/>
              </a:lnSpc>
            </a:pPr>
            <a:r>
              <a:rPr lang="en-US" altLang="el-GR" sz="1400" dirty="0">
                <a:solidFill>
                  <a:schemeClr val="accent2"/>
                </a:solidFill>
                <a:ea typeface="ヒラギノ角ゴ Pro W3"/>
                <a:cs typeface="ヒラギノ角ゴ Pro W3"/>
              </a:rPr>
              <a:t>Adapted from: </a:t>
            </a:r>
            <a:r>
              <a:rPr lang="en-US" altLang="el-GR" sz="1400" i="1" dirty="0">
                <a:solidFill>
                  <a:schemeClr val="accent2"/>
                </a:solidFill>
                <a:ea typeface="ヒラギノ角ゴ Pro W3"/>
                <a:cs typeface="ヒラギノ角ゴ Pro W3"/>
              </a:rPr>
              <a:t>Centers for Disease Control and Prevention. </a:t>
            </a:r>
            <a:r>
              <a:rPr lang="en-US" altLang="el-GR" sz="1400" i="1" dirty="0" err="1">
                <a:solidFill>
                  <a:schemeClr val="accent2"/>
                </a:solidFill>
                <a:ea typeface="ヒラギノ角ゴ Pro W3"/>
                <a:cs typeface="ヒラギノ角ゴ Pro W3"/>
              </a:rPr>
              <a:t>Morb</a:t>
            </a:r>
            <a:r>
              <a:rPr lang="en-US" altLang="el-GR" sz="1400" i="1" dirty="0">
                <a:solidFill>
                  <a:schemeClr val="accent2"/>
                </a:solidFill>
                <a:ea typeface="ヒラギノ角ゴ Pro W3"/>
                <a:cs typeface="ヒラギノ角ゴ Pro W3"/>
              </a:rPr>
              <a:t> Mortal </a:t>
            </a:r>
            <a:r>
              <a:rPr lang="en-US" altLang="el-GR" sz="1400" i="1" dirty="0" err="1">
                <a:solidFill>
                  <a:schemeClr val="accent2"/>
                </a:solidFill>
                <a:ea typeface="ヒラギノ角ゴ Pro W3"/>
                <a:cs typeface="ヒラギノ角ゴ Pro W3"/>
              </a:rPr>
              <a:t>Wkly</a:t>
            </a:r>
            <a:r>
              <a:rPr lang="en-US" altLang="el-GR" sz="1400" i="1" dirty="0">
                <a:solidFill>
                  <a:schemeClr val="accent2"/>
                </a:solidFill>
                <a:ea typeface="ヒラギノ角ゴ Pro W3"/>
                <a:cs typeface="ヒラギノ角ゴ Pro W3"/>
              </a:rPr>
              <a:t> Rep. 2008;57:1-16.</a:t>
            </a:r>
            <a:endParaRPr lang="en-US" altLang="el-GR" sz="1400" dirty="0">
              <a:solidFill>
                <a:schemeClr val="accent2"/>
              </a:solidFill>
            </a:endParaRPr>
          </a:p>
        </p:txBody>
      </p:sp>
    </p:spTree>
  </p:cSld>
  <p:clrMapOvr>
    <a:masterClrMapping/>
  </p:clrMapOvr>
  <p:transition spd="med">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2940" y="476672"/>
            <a:ext cx="10184060" cy="797030"/>
          </a:xfrm>
        </p:spPr>
        <p:txBody>
          <a:bodyPr>
            <a:noAutofit/>
          </a:bodyPr>
          <a:lstStyle/>
          <a:p>
            <a:r>
              <a:rPr lang="el-GR" sz="3200" b="1" dirty="0"/>
              <a:t>Ειδικά προγράμματα διάγνωσης-θεραπεία για ΧΕΝ</a:t>
            </a:r>
            <a:br>
              <a:rPr lang="el-GR" sz="3200" b="1" dirty="0"/>
            </a:br>
            <a:r>
              <a:rPr lang="en-US" sz="3200" b="1" dirty="0">
                <a:solidFill>
                  <a:schemeClr val="accent1"/>
                </a:solidFill>
              </a:rPr>
              <a:t>“</a:t>
            </a:r>
            <a:r>
              <a:rPr lang="el-GR" sz="3200" b="1" dirty="0">
                <a:solidFill>
                  <a:schemeClr val="accent1"/>
                </a:solidFill>
              </a:rPr>
              <a:t>Ο</a:t>
            </a:r>
            <a:r>
              <a:rPr lang="en-US" sz="3200" b="1" dirty="0">
                <a:solidFill>
                  <a:schemeClr val="accent1"/>
                </a:solidFill>
              </a:rPr>
              <a:t>ne-stop shop”</a:t>
            </a:r>
          </a:p>
        </p:txBody>
      </p:sp>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33" t="5545" r="1985" b="4500"/>
          <a:stretch/>
        </p:blipFill>
        <p:spPr bwMode="auto">
          <a:xfrm>
            <a:off x="1360530" y="1484784"/>
            <a:ext cx="7668879" cy="5032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1374600"/>
      </p:ext>
    </p:extLst>
  </p:cSld>
  <p:clrMapOvr>
    <a:masterClrMapping/>
  </p:clrMapOvr>
  <p:transition spd="med">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Τίτλος 1">
            <a:extLst>
              <a:ext uri="{FF2B5EF4-FFF2-40B4-BE49-F238E27FC236}">
                <a16:creationId xmlns:a16="http://schemas.microsoft.com/office/drawing/2014/main" id="{FCA8022E-7C8B-499B-963A-22F6B7B804D7}"/>
              </a:ext>
            </a:extLst>
          </p:cNvPr>
          <p:cNvSpPr>
            <a:spLocks noGrp="1" noChangeArrowheads="1"/>
          </p:cNvSpPr>
          <p:nvPr>
            <p:ph type="title"/>
          </p:nvPr>
        </p:nvSpPr>
        <p:spPr>
          <a:xfrm>
            <a:off x="771525" y="427038"/>
            <a:ext cx="8743950" cy="1143000"/>
          </a:xfrm>
        </p:spPr>
        <p:txBody>
          <a:bodyPr/>
          <a:lstStyle/>
          <a:p>
            <a:r>
              <a:rPr lang="el-GR" altLang="el-GR" sz="3200" b="1"/>
              <a:t>Επιπολασμός </a:t>
            </a:r>
            <a:r>
              <a:rPr lang="en-US" altLang="el-GR" sz="3200" b="1"/>
              <a:t>XHC </a:t>
            </a:r>
            <a:r>
              <a:rPr lang="el-GR" altLang="el-GR" sz="3200" b="1"/>
              <a:t>ανά ηλικία &amp; φύλο</a:t>
            </a:r>
          </a:p>
        </p:txBody>
      </p:sp>
      <p:pic>
        <p:nvPicPr>
          <p:cNvPr id="14339" name="Εικόνα 2" descr="Απόσπασμα οθόνης">
            <a:extLst>
              <a:ext uri="{FF2B5EF4-FFF2-40B4-BE49-F238E27FC236}">
                <a16:creationId xmlns:a16="http://schemas.microsoft.com/office/drawing/2014/main" id="{55F5B317-C085-4D5C-AF8E-1A20DA8A47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4388" y="1547813"/>
            <a:ext cx="8645525" cy="3486150"/>
          </a:xfrm>
          <a:prstGeom prst="rect">
            <a:avLst/>
          </a:prstGeom>
          <a:noFill/>
          <a:ln w="57150">
            <a:solidFill>
              <a:srgbClr val="002060"/>
            </a:solidFill>
            <a:miter lim="800000"/>
            <a:headEnd/>
            <a:tailEnd/>
          </a:ln>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5BEB38F-FE34-406E-86C6-47DC196C6471}"/>
              </a:ext>
            </a:extLst>
          </p:cNvPr>
          <p:cNvSpPr txBox="1"/>
          <p:nvPr/>
        </p:nvSpPr>
        <p:spPr>
          <a:xfrm>
            <a:off x="1152525" y="5322888"/>
            <a:ext cx="7997825" cy="388937"/>
          </a:xfrm>
          <a:prstGeom prst="rect">
            <a:avLst/>
          </a:prstGeom>
          <a:noFill/>
        </p:spPr>
        <p:txBody>
          <a:bodyPr wrap="none" lIns="77151" tIns="38575" rIns="77151" bIns="38575">
            <a:spAutoFit/>
          </a:bodyPr>
          <a:lstStyle/>
          <a:p>
            <a:pPr>
              <a:defRPr/>
            </a:pPr>
            <a:r>
              <a:rPr lang="el-GR" sz="2025" i="1" dirty="0"/>
              <a:t>73% των ασθενών με </a:t>
            </a:r>
            <a:r>
              <a:rPr lang="en-US" sz="2025" i="1" dirty="0"/>
              <a:t>XHC </a:t>
            </a:r>
            <a:r>
              <a:rPr lang="el-GR" sz="2025" i="1" dirty="0"/>
              <a:t>έχει γεννηθεί μεταξύ των ετών 1940-1970</a:t>
            </a:r>
          </a:p>
        </p:txBody>
      </p:sp>
      <p:sp>
        <p:nvSpPr>
          <p:cNvPr id="5" name="TextBox 4">
            <a:extLst>
              <a:ext uri="{FF2B5EF4-FFF2-40B4-BE49-F238E27FC236}">
                <a16:creationId xmlns:a16="http://schemas.microsoft.com/office/drawing/2014/main" id="{F1F61F56-171E-4152-94F9-C02A17F8000A}"/>
              </a:ext>
            </a:extLst>
          </p:cNvPr>
          <p:cNvSpPr txBox="1"/>
          <p:nvPr/>
        </p:nvSpPr>
        <p:spPr>
          <a:xfrm>
            <a:off x="1328540" y="6228020"/>
            <a:ext cx="7631384" cy="369332"/>
          </a:xfrm>
          <a:prstGeom prst="rect">
            <a:avLst/>
          </a:prstGeom>
          <a:noFill/>
        </p:spPr>
        <p:txBody>
          <a:bodyPr wrap="none">
            <a:spAutoFit/>
          </a:bodyPr>
          <a:lstStyle/>
          <a:p>
            <a:pPr>
              <a:defRPr/>
            </a:pPr>
            <a:r>
              <a:rPr lang="el-GR" sz="1800" dirty="0">
                <a:solidFill>
                  <a:schemeClr val="accent2"/>
                </a:solidFill>
              </a:rPr>
              <a:t>Εθνικό Σχέδιο Δράσης Για την Αντιμετώπιση της Ηπατίτιδας </a:t>
            </a:r>
            <a:r>
              <a:rPr lang="en-US" sz="1800" dirty="0">
                <a:solidFill>
                  <a:schemeClr val="accent2"/>
                </a:solidFill>
              </a:rPr>
              <a:t>C, </a:t>
            </a:r>
            <a:r>
              <a:rPr lang="el-GR" sz="1800" dirty="0">
                <a:solidFill>
                  <a:schemeClr val="accent2"/>
                </a:solidFill>
              </a:rPr>
              <a:t>2017</a:t>
            </a:r>
          </a:p>
        </p:txBody>
      </p:sp>
    </p:spTree>
  </p:cSld>
  <p:clrMapOvr>
    <a:masterClrMapping/>
  </p:clrMapOvr>
  <p:transition spd="med">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10BBA-6731-4DF5-8312-6DA72D33F546}"/>
              </a:ext>
            </a:extLst>
          </p:cNvPr>
          <p:cNvSpPr>
            <a:spLocks noGrp="1"/>
          </p:cNvSpPr>
          <p:nvPr>
            <p:ph type="title"/>
          </p:nvPr>
        </p:nvSpPr>
        <p:spPr>
          <a:xfrm>
            <a:off x="864046" y="116632"/>
            <a:ext cx="8743950" cy="1143000"/>
          </a:xfrm>
        </p:spPr>
        <p:txBody>
          <a:bodyPr/>
          <a:lstStyle/>
          <a:p>
            <a:r>
              <a:rPr lang="el-GR" sz="3200" b="1" dirty="0"/>
              <a:t>Σύσταση για έλεγχο του γενικού πληθυσμού</a:t>
            </a:r>
          </a:p>
        </p:txBody>
      </p:sp>
      <p:pic>
        <p:nvPicPr>
          <p:cNvPr id="4" name="Picture 3">
            <a:extLst>
              <a:ext uri="{FF2B5EF4-FFF2-40B4-BE49-F238E27FC236}">
                <a16:creationId xmlns:a16="http://schemas.microsoft.com/office/drawing/2014/main" id="{ED3E706E-E87B-46D9-ABCF-3F6BEAAFFCA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4902" y="1196752"/>
            <a:ext cx="8743950" cy="4918472"/>
          </a:xfrm>
          <a:prstGeom prst="rect">
            <a:avLst/>
          </a:prstGeom>
        </p:spPr>
      </p:pic>
      <p:sp>
        <p:nvSpPr>
          <p:cNvPr id="5" name="TextBox 4">
            <a:extLst>
              <a:ext uri="{FF2B5EF4-FFF2-40B4-BE49-F238E27FC236}">
                <a16:creationId xmlns:a16="http://schemas.microsoft.com/office/drawing/2014/main" id="{85B7ED8F-CFDD-4EF5-B8AE-4F209154AFE1}"/>
              </a:ext>
            </a:extLst>
          </p:cNvPr>
          <p:cNvSpPr txBox="1"/>
          <p:nvPr/>
        </p:nvSpPr>
        <p:spPr>
          <a:xfrm>
            <a:off x="4351412" y="6279703"/>
            <a:ext cx="2114681" cy="461665"/>
          </a:xfrm>
          <a:prstGeom prst="rect">
            <a:avLst/>
          </a:prstGeom>
          <a:noFill/>
        </p:spPr>
        <p:txBody>
          <a:bodyPr wrap="none" rtlCol="0">
            <a:spAutoFit/>
          </a:bodyPr>
          <a:lstStyle/>
          <a:p>
            <a:r>
              <a:rPr lang="el-GR" dirty="0"/>
              <a:t>Από 1/2/2019</a:t>
            </a:r>
          </a:p>
        </p:txBody>
      </p:sp>
    </p:spTree>
    <p:extLst>
      <p:ext uri="{BB962C8B-B14F-4D97-AF65-F5344CB8AC3E}">
        <p14:creationId xmlns:p14="http://schemas.microsoft.com/office/powerpoint/2010/main" val="1553977845"/>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1"/>
          <p:cNvSpPr txBox="1">
            <a:spLocks noChangeArrowheads="1"/>
          </p:cNvSpPr>
          <p:nvPr/>
        </p:nvSpPr>
        <p:spPr bwMode="auto">
          <a:xfrm>
            <a:off x="585411" y="355610"/>
            <a:ext cx="9144000" cy="584775"/>
          </a:xfrm>
          <a:prstGeom prst="rect">
            <a:avLst/>
          </a:prstGeom>
          <a:noFill/>
          <a:ln w="9525">
            <a:noFill/>
            <a:miter lim="800000"/>
            <a:headEnd/>
            <a:tailEnd/>
          </a:ln>
        </p:spPr>
        <p:txBody>
          <a:bodyPr wrap="square">
            <a:spAutoFit/>
          </a:bodyPr>
          <a:lstStyle/>
          <a:p>
            <a:pPr algn="ctr"/>
            <a:r>
              <a:rPr lang="el-GR" sz="3200" dirty="0">
                <a:solidFill>
                  <a:schemeClr val="tx2"/>
                </a:solidFill>
              </a:rPr>
              <a:t>Εξάλειψη ηπατίτιδας </a:t>
            </a:r>
            <a:r>
              <a:rPr lang="en-US" sz="3200" dirty="0">
                <a:solidFill>
                  <a:schemeClr val="tx2"/>
                </a:solidFill>
              </a:rPr>
              <a:t>C </a:t>
            </a:r>
            <a:r>
              <a:rPr lang="el-GR" sz="3200" dirty="0">
                <a:solidFill>
                  <a:schemeClr val="tx2"/>
                </a:solidFill>
              </a:rPr>
              <a:t>στην Ελλάδα το 2023</a:t>
            </a:r>
          </a:p>
        </p:txBody>
      </p:sp>
      <p:sp>
        <p:nvSpPr>
          <p:cNvPr id="9" name="7 - Θέση περιεχομένου"/>
          <p:cNvSpPr txBox="1">
            <a:spLocks/>
          </p:cNvSpPr>
          <p:nvPr/>
        </p:nvSpPr>
        <p:spPr>
          <a:xfrm>
            <a:off x="321049" y="1107890"/>
            <a:ext cx="9965951" cy="576064"/>
          </a:xfrm>
          <a:prstGeom prst="rect">
            <a:avLst/>
          </a:prstGeom>
        </p:spPr>
        <p:txBody>
          <a:bodyPr vert="horz" lIns="91440" tIns="45720" rIns="91440" bIns="45720" rtlCol="0">
            <a:noAutofit/>
          </a:bodyPr>
          <a:lstStyle/>
          <a:p>
            <a:pPr marL="342900" indent="-342900" fontAlgn="auto">
              <a:spcBef>
                <a:spcPct val="20000"/>
              </a:spcBef>
              <a:spcAft>
                <a:spcPts val="0"/>
              </a:spcAft>
              <a:buFont typeface="Wingdings" panose="05000000000000000000" pitchFamily="2" charset="2"/>
              <a:buChar char="Ø"/>
              <a:defRPr/>
            </a:pPr>
            <a:r>
              <a:rPr lang="el-GR" dirty="0">
                <a:latin typeface="+mn-lt"/>
                <a:cs typeface="+mn-cs"/>
              </a:rPr>
              <a:t>Ικανοποιητικό Σχέδιο (07/2017) – </a:t>
            </a:r>
            <a:r>
              <a:rPr lang="el-GR" dirty="0"/>
              <a:t>Έ</a:t>
            </a:r>
            <a:r>
              <a:rPr lang="el-GR" dirty="0" err="1">
                <a:latin typeface="+mn-lt"/>
                <a:cs typeface="+mn-cs"/>
              </a:rPr>
              <a:t>ναρξη</a:t>
            </a:r>
            <a:r>
              <a:rPr lang="el-GR" dirty="0">
                <a:latin typeface="+mn-lt"/>
                <a:cs typeface="+mn-cs"/>
              </a:rPr>
              <a:t> υλοποίησης (02/2018)</a:t>
            </a:r>
          </a:p>
        </p:txBody>
      </p:sp>
      <p:sp>
        <p:nvSpPr>
          <p:cNvPr id="13" name="7 - Θέση περιεχομένου"/>
          <p:cNvSpPr txBox="1">
            <a:spLocks/>
          </p:cNvSpPr>
          <p:nvPr/>
        </p:nvSpPr>
        <p:spPr>
          <a:xfrm>
            <a:off x="343431" y="2996953"/>
            <a:ext cx="9627961" cy="1008112"/>
          </a:xfrm>
          <a:prstGeom prst="rect">
            <a:avLst/>
          </a:prstGeom>
        </p:spPr>
        <p:txBody>
          <a:bodyPr vert="horz" lIns="91440" tIns="45720" rIns="91440" bIns="45720" rtlCol="0">
            <a:noAutofit/>
          </a:bodyPr>
          <a:lstStyle/>
          <a:p>
            <a:pPr marL="342900" indent="-342900">
              <a:buFont typeface="Wingdings" panose="05000000000000000000" pitchFamily="2" charset="2"/>
              <a:buChar char="Ø"/>
            </a:pPr>
            <a:r>
              <a:rPr lang="el-GR" dirty="0"/>
              <a:t>Επιτακτική ανάγκη για ΑΜΕΣΗ επανέναρξη υλοποίησης</a:t>
            </a:r>
            <a:r>
              <a:rPr lang="en-US" dirty="0"/>
              <a:t> </a:t>
            </a:r>
            <a:r>
              <a:rPr lang="el-GR" dirty="0"/>
              <a:t>του Εθνικού Σχεδίου </a:t>
            </a:r>
            <a:endParaRPr lang="en-US" dirty="0"/>
          </a:p>
        </p:txBody>
      </p:sp>
      <p:sp>
        <p:nvSpPr>
          <p:cNvPr id="15" name="7 - Θέση περιεχομένου"/>
          <p:cNvSpPr txBox="1">
            <a:spLocks/>
          </p:cNvSpPr>
          <p:nvPr/>
        </p:nvSpPr>
        <p:spPr>
          <a:xfrm>
            <a:off x="368124" y="5728620"/>
            <a:ext cx="9965950" cy="648072"/>
          </a:xfrm>
          <a:prstGeom prst="rect">
            <a:avLst/>
          </a:prstGeom>
        </p:spPr>
        <p:txBody>
          <a:bodyPr vert="horz" lIns="91440" tIns="45720" rIns="91440" bIns="45720" rtlCol="0">
            <a:noAutofit/>
          </a:bodyPr>
          <a:lstStyle/>
          <a:p>
            <a:pPr marL="342900" indent="-342900">
              <a:buFont typeface="Wingdings" panose="05000000000000000000" pitchFamily="2" charset="2"/>
              <a:buChar char="Ø"/>
            </a:pPr>
            <a:r>
              <a:rPr lang="el-GR" dirty="0"/>
              <a:t>Η προσπάθεια χρειάζεται τη στήριξη του Υπουργείου Υγείας….</a:t>
            </a:r>
            <a:r>
              <a:rPr lang="el-GR" dirty="0">
                <a:solidFill>
                  <a:srgbClr val="C00000"/>
                </a:solidFill>
              </a:rPr>
              <a:t> </a:t>
            </a:r>
            <a:endParaRPr lang="en-US" dirty="0">
              <a:solidFill>
                <a:srgbClr val="C00000"/>
              </a:solidFill>
            </a:endParaRPr>
          </a:p>
        </p:txBody>
      </p:sp>
      <p:sp>
        <p:nvSpPr>
          <p:cNvPr id="16" name="7 - Θέση περιεχομένου"/>
          <p:cNvSpPr txBox="1">
            <a:spLocks/>
          </p:cNvSpPr>
          <p:nvPr/>
        </p:nvSpPr>
        <p:spPr>
          <a:xfrm>
            <a:off x="390475" y="4077072"/>
            <a:ext cx="9921247" cy="1200329"/>
          </a:xfrm>
          <a:prstGeom prst="rect">
            <a:avLst/>
          </a:prstGeom>
        </p:spPr>
        <p:txBody>
          <a:bodyPr vert="horz" lIns="91440" tIns="45720" rIns="91440" bIns="45720" rtlCol="0">
            <a:noAutofit/>
          </a:bodyPr>
          <a:lstStyle/>
          <a:p>
            <a:pPr marL="342900" indent="-342900">
              <a:buFont typeface="Wingdings" panose="05000000000000000000" pitchFamily="2" charset="2"/>
              <a:buChar char="Ø"/>
            </a:pPr>
            <a:r>
              <a:rPr lang="el-GR" dirty="0"/>
              <a:t>Ικανοποιητική συνεργασία-συμμετοχή-στήριξη των εμπλεκομένων: ιατρών, παραϊατρικού προσωπικού, συλλόγων ασθενών, επιστημονικών εταιρειών, φαρμακοβιομηχανίας, …  </a:t>
            </a:r>
            <a:endParaRPr lang="en-US" dirty="0"/>
          </a:p>
        </p:txBody>
      </p:sp>
      <p:sp>
        <p:nvSpPr>
          <p:cNvPr id="11" name="7 - Θέση περιεχομένου">
            <a:extLst>
              <a:ext uri="{FF2B5EF4-FFF2-40B4-BE49-F238E27FC236}">
                <a16:creationId xmlns:a16="http://schemas.microsoft.com/office/drawing/2014/main" id="{C23CF3DD-93B7-46BF-A098-96111C0C4975}"/>
              </a:ext>
            </a:extLst>
          </p:cNvPr>
          <p:cNvSpPr txBox="1">
            <a:spLocks/>
          </p:cNvSpPr>
          <p:nvPr/>
        </p:nvSpPr>
        <p:spPr>
          <a:xfrm>
            <a:off x="343431" y="1884873"/>
            <a:ext cx="9644901" cy="896055"/>
          </a:xfrm>
          <a:prstGeom prst="rect">
            <a:avLst/>
          </a:prstGeom>
        </p:spPr>
        <p:txBody>
          <a:bodyPr/>
          <a:lstStyle/>
          <a:p>
            <a:pPr marL="342900" indent="-342900">
              <a:spcBef>
                <a:spcPct val="20000"/>
              </a:spcBef>
              <a:buFont typeface="Wingdings" panose="05000000000000000000" pitchFamily="2" charset="2"/>
              <a:buChar char="Ø"/>
              <a:defRPr/>
            </a:pPr>
            <a:r>
              <a:rPr lang="en-US" dirty="0"/>
              <a:t>Y</a:t>
            </a:r>
            <a:r>
              <a:rPr lang="el-GR" dirty="0"/>
              <a:t>ποδιάγνωση – κυρίως στο γενικό πληθυσμό: ο μεγαλύτερος φραγμός για την εξάλειψη</a:t>
            </a: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WordArt 13"/>
          <p:cNvSpPr>
            <a:spLocks noChangeArrowheads="1" noChangeShapeType="1" noTextEdit="1"/>
          </p:cNvSpPr>
          <p:nvPr/>
        </p:nvSpPr>
        <p:spPr bwMode="auto">
          <a:xfrm>
            <a:off x="750888" y="2276475"/>
            <a:ext cx="8929687" cy="2016125"/>
          </a:xfrm>
          <a:prstGeom prst="rect">
            <a:avLst/>
          </a:prstGeom>
        </p:spPr>
        <p:txBody>
          <a:bodyPr wrap="none" fromWordArt="1">
            <a:prstTxWarp prst="textPlain">
              <a:avLst>
                <a:gd name="adj" fmla="val 50000"/>
              </a:avLst>
            </a:prstTxWarp>
          </a:bodyPr>
          <a:lstStyle/>
          <a:p>
            <a:pPr algn="ctr"/>
            <a:r>
              <a:rPr lang="el-GR" sz="3600" kern="10" dirty="0">
                <a:ln w="9525">
                  <a:noFill/>
                  <a:round/>
                  <a:headEnd type="none" w="sm" len="sm"/>
                  <a:tailEnd type="none" w="sm" len="sm"/>
                </a:ln>
                <a:gradFill rotWithShape="1">
                  <a:gsLst>
                    <a:gs pos="0">
                      <a:srgbClr val="FFFF00"/>
                    </a:gs>
                    <a:gs pos="100000">
                      <a:srgbClr val="FF9933"/>
                    </a:gs>
                  </a:gsLst>
                  <a:path path="rect">
                    <a:fillToRect l="50000" t="50000" r="50000" b="50000"/>
                  </a:path>
                </a:gradFill>
                <a:effectLst>
                  <a:outerShdw dist="35921" dir="2700000" algn="ctr" rotWithShape="0">
                    <a:srgbClr val="C0C0C0">
                      <a:alpha val="79999"/>
                    </a:srgbClr>
                  </a:outerShdw>
                </a:effectLst>
                <a:latin typeface="Impact"/>
              </a:rPr>
              <a:t>Ευχαριστώ πολύ</a:t>
            </a:r>
            <a:r>
              <a:rPr lang="en-US" sz="3600" kern="10" dirty="0">
                <a:ln w="9525">
                  <a:noFill/>
                  <a:round/>
                  <a:headEnd type="none" w="sm" len="sm"/>
                  <a:tailEnd type="none" w="sm" len="sm"/>
                </a:ln>
                <a:gradFill rotWithShape="1">
                  <a:gsLst>
                    <a:gs pos="0">
                      <a:srgbClr val="FFFF00"/>
                    </a:gs>
                    <a:gs pos="100000">
                      <a:srgbClr val="FF9933"/>
                    </a:gs>
                  </a:gsLst>
                  <a:path path="rect">
                    <a:fillToRect l="50000" t="50000" r="50000" b="50000"/>
                  </a:path>
                </a:gradFill>
                <a:effectLst>
                  <a:outerShdw dist="35921" dir="2700000" algn="ctr" rotWithShape="0">
                    <a:srgbClr val="C0C0C0">
                      <a:alpha val="79999"/>
                    </a:srgbClr>
                  </a:outerShdw>
                </a:effectLst>
                <a:latin typeface="Impact"/>
              </a:rPr>
              <a:t>!</a:t>
            </a:r>
            <a:endParaRPr lang="el-GR" sz="3600" kern="10" dirty="0">
              <a:ln w="9525">
                <a:noFill/>
                <a:round/>
                <a:headEnd type="none" w="sm" len="sm"/>
                <a:tailEnd type="none" w="sm" len="sm"/>
              </a:ln>
              <a:gradFill rotWithShape="1">
                <a:gsLst>
                  <a:gs pos="0">
                    <a:srgbClr val="FFFF00"/>
                  </a:gs>
                  <a:gs pos="100000">
                    <a:srgbClr val="FF9933"/>
                  </a:gs>
                </a:gsLst>
                <a:path path="rect">
                  <a:fillToRect l="50000" t="50000" r="50000" b="50000"/>
                </a:path>
              </a:gradFill>
              <a:effectLst>
                <a:outerShdw dist="35921" dir="2700000" algn="ctr" rotWithShape="0">
                  <a:srgbClr val="C0C0C0">
                    <a:alpha val="79999"/>
                  </a:srgbClr>
                </a:outerShdw>
              </a:effectLst>
              <a:latin typeface="Impact"/>
            </a:endParaRPr>
          </a:p>
        </p:txBody>
      </p:sp>
    </p:spTree>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50" name="Rectangle 3"/>
          <p:cNvSpPr>
            <a:spLocks noChangeArrowheads="1"/>
          </p:cNvSpPr>
          <p:nvPr/>
        </p:nvSpPr>
        <p:spPr bwMode="auto">
          <a:xfrm>
            <a:off x="561975" y="-12700"/>
            <a:ext cx="9153525" cy="954088"/>
          </a:xfrm>
          <a:prstGeom prst="rect">
            <a:avLst/>
          </a:prstGeom>
          <a:noFill/>
          <a:ln w="9525">
            <a:noFill/>
            <a:miter lim="800000"/>
            <a:headEnd/>
            <a:tailEnd/>
          </a:ln>
        </p:spPr>
        <p:txBody>
          <a:bodyPr wrap="none" anchor="ctr"/>
          <a:lstStyle/>
          <a:p>
            <a:endParaRPr lang="de-DE"/>
          </a:p>
        </p:txBody>
      </p:sp>
      <p:sp>
        <p:nvSpPr>
          <p:cNvPr id="57352" name="Rectangle 4"/>
          <p:cNvSpPr>
            <a:spLocks noChangeArrowheads="1"/>
          </p:cNvSpPr>
          <p:nvPr/>
        </p:nvSpPr>
        <p:spPr bwMode="auto">
          <a:xfrm>
            <a:off x="3019363" y="326509"/>
            <a:ext cx="4645309" cy="582211"/>
          </a:xfrm>
          <a:prstGeom prst="rect">
            <a:avLst/>
          </a:prstGeom>
          <a:noFill/>
          <a:ln w="9525">
            <a:noFill/>
            <a:miter lim="800000"/>
            <a:headEnd/>
            <a:tailEnd/>
          </a:ln>
        </p:spPr>
        <p:txBody>
          <a:bodyPr wrap="none" lIns="90487" tIns="44450" rIns="90487" bIns="44450">
            <a:spAutoFit/>
          </a:bodyPr>
          <a:lstStyle/>
          <a:p>
            <a:pPr algn="ctr" eaLnBrk="0" hangingPunct="0"/>
            <a:r>
              <a:rPr lang="en-US" altLang="de-DE" sz="3200" dirty="0">
                <a:solidFill>
                  <a:schemeClr val="tx2"/>
                </a:solidFill>
              </a:rPr>
              <a:t>I</a:t>
            </a:r>
            <a:r>
              <a:rPr lang="el-GR" altLang="de-DE" sz="3200" dirty="0">
                <a:solidFill>
                  <a:schemeClr val="tx2"/>
                </a:solidFill>
              </a:rPr>
              <a:t>ός ηπατίτιδας</a:t>
            </a:r>
            <a:r>
              <a:rPr lang="en-US" altLang="de-DE" sz="3200" dirty="0">
                <a:solidFill>
                  <a:schemeClr val="tx2"/>
                </a:solidFill>
              </a:rPr>
              <a:t> B: </a:t>
            </a:r>
            <a:r>
              <a:rPr lang="el-GR" altLang="de-DE" sz="3200" dirty="0">
                <a:solidFill>
                  <a:schemeClr val="tx2"/>
                </a:solidFill>
              </a:rPr>
              <a:t>δομή</a:t>
            </a:r>
            <a:endParaRPr lang="en-US" altLang="de-DE" sz="3200" dirty="0">
              <a:solidFill>
                <a:schemeClr val="tx2"/>
              </a:solidFill>
            </a:endParaRPr>
          </a:p>
        </p:txBody>
      </p:sp>
      <p:pic>
        <p:nvPicPr>
          <p:cNvPr id="64" name="Picture 4" descr="http://hepatitis-delta.org/assets/HBV.jpg"/>
          <p:cNvPicPr>
            <a:picLocks noChangeAspect="1" noChangeArrowheads="1"/>
          </p:cNvPicPr>
          <p:nvPr/>
        </p:nvPicPr>
        <p:blipFill>
          <a:blip r:embed="rId3" cstate="print"/>
          <a:srcRect b="10099"/>
          <a:stretch>
            <a:fillRect/>
          </a:stretch>
        </p:blipFill>
        <p:spPr bwMode="auto">
          <a:xfrm>
            <a:off x="980784" y="1196753"/>
            <a:ext cx="2146533" cy="1994451"/>
          </a:xfrm>
          <a:prstGeom prst="rect">
            <a:avLst/>
          </a:prstGeom>
          <a:noFill/>
        </p:spPr>
      </p:pic>
      <p:sp>
        <p:nvSpPr>
          <p:cNvPr id="12" name="Rectangle 6"/>
          <p:cNvSpPr>
            <a:spLocks noChangeArrowheads="1"/>
          </p:cNvSpPr>
          <p:nvPr/>
        </p:nvSpPr>
        <p:spPr bwMode="auto">
          <a:xfrm>
            <a:off x="3631333" y="1213653"/>
            <a:ext cx="6336704" cy="1631216"/>
          </a:xfrm>
          <a:prstGeom prst="rect">
            <a:avLst/>
          </a:prstGeom>
          <a:noFill/>
          <a:ln w="9525">
            <a:noFill/>
            <a:miter lim="800000"/>
            <a:headEnd/>
            <a:tailEnd/>
          </a:ln>
          <a:effectLst/>
        </p:spPr>
        <p:txBody>
          <a:bodyPr wrap="square">
            <a:spAutoFit/>
          </a:bodyPr>
          <a:lstStyle/>
          <a:p>
            <a:endParaRPr lang="en-US" sz="2000" dirty="0"/>
          </a:p>
          <a:p>
            <a:pPr>
              <a:buFontTx/>
              <a:buChar char="•"/>
            </a:pPr>
            <a:r>
              <a:rPr lang="en-US" sz="2000" dirty="0"/>
              <a:t> </a:t>
            </a:r>
            <a:r>
              <a:rPr lang="el-GR" sz="2000" dirty="0"/>
              <a:t>Ιός που προσβάλλει μόνον</a:t>
            </a:r>
            <a:r>
              <a:rPr lang="en-US" sz="2000" dirty="0"/>
              <a:t>: </a:t>
            </a:r>
          </a:p>
          <a:p>
            <a:r>
              <a:rPr lang="en-US" sz="2000" dirty="0"/>
              <a:t>  </a:t>
            </a:r>
            <a:r>
              <a:rPr lang="el-GR" sz="2000" dirty="0"/>
              <a:t>άνθρωπο</a:t>
            </a:r>
            <a:r>
              <a:rPr lang="en-US" sz="2000" dirty="0"/>
              <a:t>, </a:t>
            </a:r>
            <a:r>
              <a:rPr lang="el-GR" sz="2000" dirty="0"/>
              <a:t>χιμπαντζή</a:t>
            </a:r>
            <a:r>
              <a:rPr lang="en-US" sz="2000" dirty="0"/>
              <a:t>, tree shrews </a:t>
            </a:r>
            <a:r>
              <a:rPr lang="en-US" sz="1600" dirty="0"/>
              <a:t>(</a:t>
            </a:r>
            <a:r>
              <a:rPr lang="en-US" sz="1600" i="1" dirty="0"/>
              <a:t>Tupaia </a:t>
            </a:r>
            <a:r>
              <a:rPr lang="en-US" sz="1600" i="1" dirty="0" err="1"/>
              <a:t>belangeri</a:t>
            </a:r>
            <a:r>
              <a:rPr lang="en-US" sz="1600" i="1" dirty="0"/>
              <a:t>)</a:t>
            </a:r>
            <a:endParaRPr lang="el-GR" sz="1600" i="1" dirty="0"/>
          </a:p>
          <a:p>
            <a:endParaRPr lang="en-US" sz="2000" i="1" dirty="0"/>
          </a:p>
          <a:p>
            <a:pPr marL="177800" indent="-177800">
              <a:buFont typeface="Arial" pitchFamily="34" charset="0"/>
              <a:buChar char="•"/>
            </a:pPr>
            <a:r>
              <a:rPr lang="en-US" sz="2000" dirty="0"/>
              <a:t> </a:t>
            </a:r>
            <a:r>
              <a:rPr lang="el-GR" sz="2000" dirty="0"/>
              <a:t>Ιστός που προσβάλλεται</a:t>
            </a:r>
            <a:r>
              <a:rPr lang="en-US" sz="2000" dirty="0"/>
              <a:t>: </a:t>
            </a:r>
            <a:r>
              <a:rPr lang="el-GR" sz="2000" dirty="0"/>
              <a:t>ήπαρ</a:t>
            </a:r>
            <a:r>
              <a:rPr lang="en-US" sz="2000" dirty="0"/>
              <a:t> </a:t>
            </a:r>
          </a:p>
        </p:txBody>
      </p:sp>
      <p:sp>
        <p:nvSpPr>
          <p:cNvPr id="13" name="Rechteck 12"/>
          <p:cNvSpPr/>
          <p:nvPr/>
        </p:nvSpPr>
        <p:spPr>
          <a:xfrm>
            <a:off x="3631332" y="3486487"/>
            <a:ext cx="6173452" cy="2477601"/>
          </a:xfrm>
          <a:prstGeom prst="rect">
            <a:avLst/>
          </a:prstGeom>
        </p:spPr>
        <p:txBody>
          <a:bodyPr wrap="square">
            <a:spAutoFit/>
          </a:bodyPr>
          <a:lstStyle/>
          <a:p>
            <a:pPr marL="225425" indent="-225425">
              <a:buFontTx/>
              <a:buChar char="•"/>
            </a:pPr>
            <a:r>
              <a:rPr lang="el-GR" sz="2000" dirty="0"/>
              <a:t>Ο </a:t>
            </a:r>
            <a:r>
              <a:rPr lang="el-GR" sz="2000" dirty="0">
                <a:solidFill>
                  <a:schemeClr val="tx2"/>
                </a:solidFill>
              </a:rPr>
              <a:t>μικρότερος </a:t>
            </a:r>
            <a:r>
              <a:rPr lang="en-US" sz="2000" dirty="0">
                <a:solidFill>
                  <a:schemeClr val="tx2"/>
                </a:solidFill>
              </a:rPr>
              <a:t>DNA </a:t>
            </a:r>
            <a:r>
              <a:rPr lang="el-GR" sz="2000" dirty="0">
                <a:solidFill>
                  <a:schemeClr val="tx2"/>
                </a:solidFill>
              </a:rPr>
              <a:t>ιός ζωικού βασιλείου </a:t>
            </a:r>
            <a:r>
              <a:rPr lang="el-GR" sz="2000" dirty="0"/>
              <a:t>με περίβλημα </a:t>
            </a:r>
            <a:r>
              <a:rPr lang="en-US" sz="2000" dirty="0"/>
              <a:t>(3,2 </a:t>
            </a:r>
            <a:r>
              <a:rPr lang="en-US" sz="2000" dirty="0" err="1"/>
              <a:t>Kbp</a:t>
            </a:r>
            <a:r>
              <a:rPr lang="en-US" sz="2000" dirty="0"/>
              <a:t>)</a:t>
            </a:r>
          </a:p>
          <a:p>
            <a:pPr marL="225425" indent="-225425">
              <a:spcBef>
                <a:spcPts val="600"/>
              </a:spcBef>
              <a:buFontTx/>
              <a:buChar char="•"/>
            </a:pPr>
            <a:r>
              <a:rPr lang="el-GR" sz="2000" dirty="0"/>
              <a:t>Γονιδίωμα σε κυκλοφούντα ιικά σωματίδια</a:t>
            </a:r>
            <a:r>
              <a:rPr lang="en-US" sz="2000" dirty="0"/>
              <a:t>:</a:t>
            </a:r>
          </a:p>
          <a:p>
            <a:pPr marL="539750" indent="-539750">
              <a:spcBef>
                <a:spcPts val="600"/>
              </a:spcBef>
            </a:pPr>
            <a:r>
              <a:rPr lang="en-US" sz="2000" dirty="0"/>
              <a:t>     - </a:t>
            </a:r>
            <a:r>
              <a:rPr lang="el-GR" sz="2000" dirty="0"/>
              <a:t>χαλαρό κυκλικό μερικώς διπλής αλύσου </a:t>
            </a:r>
            <a:r>
              <a:rPr lang="en-US" sz="2000" dirty="0"/>
              <a:t>DNA (rcDNA)</a:t>
            </a:r>
          </a:p>
          <a:p>
            <a:pPr marL="539750" indent="-539750">
              <a:spcBef>
                <a:spcPts val="600"/>
              </a:spcBef>
            </a:pPr>
            <a:r>
              <a:rPr lang="en-US" sz="2000" dirty="0"/>
              <a:t>     - </a:t>
            </a:r>
            <a:r>
              <a:rPr lang="el-GR" sz="2000" dirty="0"/>
              <a:t>στενά συνδεδεμένο με την ιική πολυμεράση</a:t>
            </a:r>
            <a:r>
              <a:rPr lang="en-US" sz="2000" dirty="0"/>
              <a:t> (RT</a:t>
            </a:r>
            <a:r>
              <a:rPr lang="el-GR" sz="2000" dirty="0"/>
              <a:t>: ανάστροφη μεταγραφάση</a:t>
            </a:r>
            <a:r>
              <a:rPr lang="en-US" sz="2000" dirty="0"/>
              <a:t>)</a:t>
            </a:r>
          </a:p>
        </p:txBody>
      </p:sp>
      <p:grpSp>
        <p:nvGrpSpPr>
          <p:cNvPr id="6" name="Gruppieren 5"/>
          <p:cNvGrpSpPr/>
          <p:nvPr/>
        </p:nvGrpSpPr>
        <p:grpSpPr>
          <a:xfrm>
            <a:off x="900102" y="3429000"/>
            <a:ext cx="2376264" cy="2530608"/>
            <a:chOff x="467544" y="4005064"/>
            <a:chExt cx="2376264" cy="2530608"/>
          </a:xfrm>
        </p:grpSpPr>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7544" y="4005064"/>
              <a:ext cx="2376264" cy="253060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 name="Ellipse 3"/>
            <p:cNvSpPr/>
            <p:nvPr/>
          </p:nvSpPr>
          <p:spPr>
            <a:xfrm>
              <a:off x="1071707" y="4617465"/>
              <a:ext cx="1216819" cy="121897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feld 4"/>
            <p:cNvSpPr txBox="1"/>
            <p:nvPr/>
          </p:nvSpPr>
          <p:spPr>
            <a:xfrm>
              <a:off x="1364378" y="5042285"/>
              <a:ext cx="835485" cy="461665"/>
            </a:xfrm>
            <a:prstGeom prst="rect">
              <a:avLst/>
            </a:prstGeom>
            <a:noFill/>
          </p:spPr>
          <p:txBody>
            <a:bodyPr wrap="none" rtlCol="0">
              <a:spAutoFit/>
            </a:bodyPr>
            <a:lstStyle/>
            <a:p>
              <a:r>
                <a:rPr lang="en-US" dirty="0"/>
                <a:t>HBV</a:t>
              </a:r>
            </a:p>
          </p:txBody>
        </p:sp>
      </p:grpSp>
      <p:sp>
        <p:nvSpPr>
          <p:cNvPr id="7" name="Textfeld 6"/>
          <p:cNvSpPr txBox="1"/>
          <p:nvPr/>
        </p:nvSpPr>
        <p:spPr>
          <a:xfrm>
            <a:off x="947838" y="6165305"/>
            <a:ext cx="2539478" cy="307777"/>
          </a:xfrm>
          <a:prstGeom prst="rect">
            <a:avLst/>
          </a:prstGeom>
          <a:noFill/>
        </p:spPr>
        <p:txBody>
          <a:bodyPr wrap="none" rtlCol="0">
            <a:spAutoFit/>
          </a:bodyPr>
          <a:lstStyle/>
          <a:p>
            <a:r>
              <a:rPr lang="en-US" sz="1400" dirty="0" err="1">
                <a:solidFill>
                  <a:schemeClr val="accent2"/>
                </a:solidFill>
              </a:rPr>
              <a:t>Neuvet</a:t>
            </a:r>
            <a:r>
              <a:rPr lang="en-US" sz="1400" dirty="0">
                <a:solidFill>
                  <a:schemeClr val="accent2"/>
                </a:solidFill>
              </a:rPr>
              <a:t> et al, J </a:t>
            </a:r>
            <a:r>
              <a:rPr lang="en-US" sz="1400" dirty="0" err="1">
                <a:solidFill>
                  <a:schemeClr val="accent2"/>
                </a:solidFill>
              </a:rPr>
              <a:t>Hepatol</a:t>
            </a:r>
            <a:r>
              <a:rPr lang="en-US" sz="1400" dirty="0">
                <a:solidFill>
                  <a:schemeClr val="accent2"/>
                </a:solidFill>
              </a:rPr>
              <a:t> 2010</a:t>
            </a:r>
          </a:p>
        </p:txBody>
      </p:sp>
    </p:spTree>
    <p:extLst>
      <p:ext uri="{BB962C8B-B14F-4D97-AF65-F5344CB8AC3E}">
        <p14:creationId xmlns:p14="http://schemas.microsoft.com/office/powerpoint/2010/main" val="60136797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1730" name="Picture 2" descr="Hep B virus">
            <a:extLst>
              <a:ext uri="{FF2B5EF4-FFF2-40B4-BE49-F238E27FC236}">
                <a16:creationId xmlns:a16="http://schemas.microsoft.com/office/drawing/2014/main" id="{BB556A65-A678-439C-8DE2-C26E9F3EA522}"/>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28938" y="1587500"/>
            <a:ext cx="4953000" cy="4876800"/>
          </a:xfrm>
          <a:prstGeom prst="rect">
            <a:avLst/>
          </a:prstGeom>
          <a:noFill/>
          <a:extLst>
            <a:ext uri="{909E8E84-426E-40DD-AFC4-6F175D3DCCD1}">
              <a14:hiddenFill xmlns:a14="http://schemas.microsoft.com/office/drawing/2010/main">
                <a:solidFill>
                  <a:srgbClr val="FFFFFF"/>
                </a:solidFill>
              </a14:hiddenFill>
            </a:ext>
          </a:extLst>
        </p:spPr>
      </p:pic>
      <p:sp>
        <p:nvSpPr>
          <p:cNvPr id="201731" name="Text Box 3">
            <a:extLst>
              <a:ext uri="{FF2B5EF4-FFF2-40B4-BE49-F238E27FC236}">
                <a16:creationId xmlns:a16="http://schemas.microsoft.com/office/drawing/2014/main" id="{F9989361-07A4-47EF-BF82-1A2D5CCACCCB}"/>
              </a:ext>
            </a:extLst>
          </p:cNvPr>
          <p:cNvSpPr txBox="1">
            <a:spLocks noChangeArrowheads="1"/>
          </p:cNvSpPr>
          <p:nvPr/>
        </p:nvSpPr>
        <p:spPr bwMode="auto">
          <a:xfrm>
            <a:off x="7119938" y="2501900"/>
            <a:ext cx="120173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defRPr sz="2400">
                <a:solidFill>
                  <a:schemeClr val="tx1"/>
                </a:solidFill>
                <a:latin typeface="Arial" panose="020B0604020202020204" pitchFamily="34" charset="0"/>
              </a:defRPr>
            </a:lvl1pPr>
            <a:lvl2pPr marL="571500" defTabSz="762000">
              <a:defRPr sz="2400">
                <a:solidFill>
                  <a:schemeClr val="tx1"/>
                </a:solidFill>
                <a:latin typeface="Arial" panose="020B0604020202020204" pitchFamily="34" charset="0"/>
              </a:defRPr>
            </a:lvl2pPr>
            <a:lvl3pPr marL="1143000" defTabSz="762000">
              <a:defRPr sz="2400">
                <a:solidFill>
                  <a:schemeClr val="tx1"/>
                </a:solidFill>
                <a:latin typeface="Arial" panose="020B0604020202020204" pitchFamily="34" charset="0"/>
              </a:defRPr>
            </a:lvl3pPr>
            <a:lvl4pPr marL="1714500" defTabSz="762000">
              <a:defRPr sz="2400">
                <a:solidFill>
                  <a:schemeClr val="tx1"/>
                </a:solidFill>
                <a:latin typeface="Arial" panose="020B0604020202020204" pitchFamily="34" charset="0"/>
              </a:defRPr>
            </a:lvl4pPr>
            <a:lvl5pPr marL="2286000" defTabSz="762000">
              <a:defRPr sz="2400">
                <a:solidFill>
                  <a:schemeClr val="tx1"/>
                </a:solidFill>
                <a:latin typeface="Arial" panose="020B0604020202020204" pitchFamily="34" charset="0"/>
              </a:defRPr>
            </a:lvl5pPr>
            <a:lvl6pPr marL="2743200" defTabSz="762000" eaLnBrk="0" fontAlgn="base" hangingPunct="0">
              <a:spcBef>
                <a:spcPct val="0"/>
              </a:spcBef>
              <a:spcAft>
                <a:spcPct val="0"/>
              </a:spcAft>
              <a:defRPr sz="2400">
                <a:solidFill>
                  <a:schemeClr val="tx1"/>
                </a:solidFill>
                <a:latin typeface="Arial" panose="020B0604020202020204" pitchFamily="34" charset="0"/>
              </a:defRPr>
            </a:lvl6pPr>
            <a:lvl7pPr marL="3200400" defTabSz="762000" eaLnBrk="0" fontAlgn="base" hangingPunct="0">
              <a:spcBef>
                <a:spcPct val="0"/>
              </a:spcBef>
              <a:spcAft>
                <a:spcPct val="0"/>
              </a:spcAft>
              <a:defRPr sz="2400">
                <a:solidFill>
                  <a:schemeClr val="tx1"/>
                </a:solidFill>
                <a:latin typeface="Arial" panose="020B0604020202020204" pitchFamily="34" charset="0"/>
              </a:defRPr>
            </a:lvl7pPr>
            <a:lvl8pPr marL="3657600" defTabSz="762000" eaLnBrk="0" fontAlgn="base" hangingPunct="0">
              <a:spcBef>
                <a:spcPct val="0"/>
              </a:spcBef>
              <a:spcAft>
                <a:spcPct val="0"/>
              </a:spcAft>
              <a:defRPr sz="2400">
                <a:solidFill>
                  <a:schemeClr val="tx1"/>
                </a:solidFill>
                <a:latin typeface="Arial" panose="020B0604020202020204" pitchFamily="34" charset="0"/>
              </a:defRPr>
            </a:lvl8pPr>
            <a:lvl9pPr marL="4114800" defTabSz="7620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b="1"/>
              <a:t>HBsAg</a:t>
            </a:r>
          </a:p>
        </p:txBody>
      </p:sp>
      <p:sp>
        <p:nvSpPr>
          <p:cNvPr id="201732" name="Text Box 4">
            <a:extLst>
              <a:ext uri="{FF2B5EF4-FFF2-40B4-BE49-F238E27FC236}">
                <a16:creationId xmlns:a16="http://schemas.microsoft.com/office/drawing/2014/main" id="{1CE2BBE0-E8B0-4FF9-A98A-8B5AC24AF86B}"/>
              </a:ext>
            </a:extLst>
          </p:cNvPr>
          <p:cNvSpPr txBox="1">
            <a:spLocks noChangeArrowheads="1"/>
          </p:cNvSpPr>
          <p:nvPr/>
        </p:nvSpPr>
        <p:spPr bwMode="auto">
          <a:xfrm>
            <a:off x="1617663" y="4864100"/>
            <a:ext cx="1201737"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defRPr sz="2400">
                <a:solidFill>
                  <a:schemeClr val="tx1"/>
                </a:solidFill>
                <a:latin typeface="Arial" panose="020B0604020202020204" pitchFamily="34" charset="0"/>
              </a:defRPr>
            </a:lvl1pPr>
            <a:lvl2pPr marL="571500" defTabSz="762000">
              <a:defRPr sz="2400">
                <a:solidFill>
                  <a:schemeClr val="tx1"/>
                </a:solidFill>
                <a:latin typeface="Arial" panose="020B0604020202020204" pitchFamily="34" charset="0"/>
              </a:defRPr>
            </a:lvl2pPr>
            <a:lvl3pPr marL="1143000" defTabSz="762000">
              <a:defRPr sz="2400">
                <a:solidFill>
                  <a:schemeClr val="tx1"/>
                </a:solidFill>
                <a:latin typeface="Arial" panose="020B0604020202020204" pitchFamily="34" charset="0"/>
              </a:defRPr>
            </a:lvl3pPr>
            <a:lvl4pPr marL="1714500" defTabSz="762000">
              <a:defRPr sz="2400">
                <a:solidFill>
                  <a:schemeClr val="tx1"/>
                </a:solidFill>
                <a:latin typeface="Arial" panose="020B0604020202020204" pitchFamily="34" charset="0"/>
              </a:defRPr>
            </a:lvl4pPr>
            <a:lvl5pPr marL="2286000" defTabSz="762000">
              <a:defRPr sz="2400">
                <a:solidFill>
                  <a:schemeClr val="tx1"/>
                </a:solidFill>
                <a:latin typeface="Arial" panose="020B0604020202020204" pitchFamily="34" charset="0"/>
              </a:defRPr>
            </a:lvl5pPr>
            <a:lvl6pPr marL="2743200" defTabSz="762000" eaLnBrk="0" fontAlgn="base" hangingPunct="0">
              <a:spcBef>
                <a:spcPct val="0"/>
              </a:spcBef>
              <a:spcAft>
                <a:spcPct val="0"/>
              </a:spcAft>
              <a:defRPr sz="2400">
                <a:solidFill>
                  <a:schemeClr val="tx1"/>
                </a:solidFill>
                <a:latin typeface="Arial" panose="020B0604020202020204" pitchFamily="34" charset="0"/>
              </a:defRPr>
            </a:lvl6pPr>
            <a:lvl7pPr marL="3200400" defTabSz="762000" eaLnBrk="0" fontAlgn="base" hangingPunct="0">
              <a:spcBef>
                <a:spcPct val="0"/>
              </a:spcBef>
              <a:spcAft>
                <a:spcPct val="0"/>
              </a:spcAft>
              <a:defRPr sz="2400">
                <a:solidFill>
                  <a:schemeClr val="tx1"/>
                </a:solidFill>
                <a:latin typeface="Arial" panose="020B0604020202020204" pitchFamily="34" charset="0"/>
              </a:defRPr>
            </a:lvl7pPr>
            <a:lvl8pPr marL="3657600" defTabSz="762000" eaLnBrk="0" fontAlgn="base" hangingPunct="0">
              <a:spcBef>
                <a:spcPct val="0"/>
              </a:spcBef>
              <a:spcAft>
                <a:spcPct val="0"/>
              </a:spcAft>
              <a:defRPr sz="2400">
                <a:solidFill>
                  <a:schemeClr val="tx1"/>
                </a:solidFill>
                <a:latin typeface="Arial" panose="020B0604020202020204" pitchFamily="34" charset="0"/>
              </a:defRPr>
            </a:lvl8pPr>
            <a:lvl9pPr marL="4114800" defTabSz="7620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b="1"/>
              <a:t>HBcAg</a:t>
            </a:r>
            <a:endParaRPr lang="el-GR" altLang="el-GR"/>
          </a:p>
        </p:txBody>
      </p:sp>
      <p:sp>
        <p:nvSpPr>
          <p:cNvPr id="201733" name="Text Box 5">
            <a:extLst>
              <a:ext uri="{FF2B5EF4-FFF2-40B4-BE49-F238E27FC236}">
                <a16:creationId xmlns:a16="http://schemas.microsoft.com/office/drawing/2014/main" id="{D0C49DD2-1846-48A5-A647-D6F7A469DAC6}"/>
              </a:ext>
            </a:extLst>
          </p:cNvPr>
          <p:cNvSpPr txBox="1">
            <a:spLocks noChangeArrowheads="1"/>
          </p:cNvSpPr>
          <p:nvPr/>
        </p:nvSpPr>
        <p:spPr bwMode="auto">
          <a:xfrm>
            <a:off x="1693863" y="2312988"/>
            <a:ext cx="1574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defRPr sz="2400">
                <a:solidFill>
                  <a:schemeClr val="tx1"/>
                </a:solidFill>
                <a:latin typeface="Arial" panose="020B0604020202020204" pitchFamily="34" charset="0"/>
              </a:defRPr>
            </a:lvl1pPr>
            <a:lvl2pPr marL="571500" defTabSz="762000">
              <a:defRPr sz="2400">
                <a:solidFill>
                  <a:schemeClr val="tx1"/>
                </a:solidFill>
                <a:latin typeface="Arial" panose="020B0604020202020204" pitchFamily="34" charset="0"/>
              </a:defRPr>
            </a:lvl2pPr>
            <a:lvl3pPr marL="1143000" defTabSz="762000">
              <a:defRPr sz="2400">
                <a:solidFill>
                  <a:schemeClr val="tx1"/>
                </a:solidFill>
                <a:latin typeface="Arial" panose="020B0604020202020204" pitchFamily="34" charset="0"/>
              </a:defRPr>
            </a:lvl3pPr>
            <a:lvl4pPr marL="1714500" defTabSz="762000">
              <a:defRPr sz="2400">
                <a:solidFill>
                  <a:schemeClr val="tx1"/>
                </a:solidFill>
                <a:latin typeface="Arial" panose="020B0604020202020204" pitchFamily="34" charset="0"/>
              </a:defRPr>
            </a:lvl4pPr>
            <a:lvl5pPr marL="2286000" defTabSz="762000">
              <a:defRPr sz="2400">
                <a:solidFill>
                  <a:schemeClr val="tx1"/>
                </a:solidFill>
                <a:latin typeface="Arial" panose="020B0604020202020204" pitchFamily="34" charset="0"/>
              </a:defRPr>
            </a:lvl5pPr>
            <a:lvl6pPr marL="2743200" defTabSz="762000" eaLnBrk="0" fontAlgn="base" hangingPunct="0">
              <a:spcBef>
                <a:spcPct val="0"/>
              </a:spcBef>
              <a:spcAft>
                <a:spcPct val="0"/>
              </a:spcAft>
              <a:defRPr sz="2400">
                <a:solidFill>
                  <a:schemeClr val="tx1"/>
                </a:solidFill>
                <a:latin typeface="Arial" panose="020B0604020202020204" pitchFamily="34" charset="0"/>
              </a:defRPr>
            </a:lvl6pPr>
            <a:lvl7pPr marL="3200400" defTabSz="762000" eaLnBrk="0" fontAlgn="base" hangingPunct="0">
              <a:spcBef>
                <a:spcPct val="0"/>
              </a:spcBef>
              <a:spcAft>
                <a:spcPct val="0"/>
              </a:spcAft>
              <a:defRPr sz="2400">
                <a:solidFill>
                  <a:schemeClr val="tx1"/>
                </a:solidFill>
                <a:latin typeface="Arial" panose="020B0604020202020204" pitchFamily="34" charset="0"/>
              </a:defRPr>
            </a:lvl7pPr>
            <a:lvl8pPr marL="3657600" defTabSz="762000" eaLnBrk="0" fontAlgn="base" hangingPunct="0">
              <a:spcBef>
                <a:spcPct val="0"/>
              </a:spcBef>
              <a:spcAft>
                <a:spcPct val="0"/>
              </a:spcAft>
              <a:defRPr sz="2400">
                <a:solidFill>
                  <a:schemeClr val="tx1"/>
                </a:solidFill>
                <a:latin typeface="Arial" panose="020B0604020202020204" pitchFamily="34" charset="0"/>
              </a:defRPr>
            </a:lvl8pPr>
            <a:lvl9pPr marL="4114800" defTabSz="7620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b="1"/>
              <a:t>HBV DNA</a:t>
            </a:r>
            <a:endParaRPr lang="el-GR" altLang="el-GR"/>
          </a:p>
        </p:txBody>
      </p:sp>
      <p:sp>
        <p:nvSpPr>
          <p:cNvPr id="201734" name="Line 6">
            <a:extLst>
              <a:ext uri="{FF2B5EF4-FFF2-40B4-BE49-F238E27FC236}">
                <a16:creationId xmlns:a16="http://schemas.microsoft.com/office/drawing/2014/main" id="{8A171DDB-CCBB-4FD0-BA45-B4DB6D1E75A1}"/>
              </a:ext>
            </a:extLst>
          </p:cNvPr>
          <p:cNvSpPr>
            <a:spLocks noChangeShapeType="1"/>
          </p:cNvSpPr>
          <p:nvPr/>
        </p:nvSpPr>
        <p:spPr bwMode="auto">
          <a:xfrm flipV="1">
            <a:off x="2760663" y="4864100"/>
            <a:ext cx="1539875" cy="228600"/>
          </a:xfrm>
          <a:prstGeom prst="line">
            <a:avLst/>
          </a:prstGeom>
          <a:noFill/>
          <a:ln w="38100">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201735" name="Line 7">
            <a:extLst>
              <a:ext uri="{FF2B5EF4-FFF2-40B4-BE49-F238E27FC236}">
                <a16:creationId xmlns:a16="http://schemas.microsoft.com/office/drawing/2014/main" id="{BC96911B-D36F-450F-B1B6-F74FF59B845F}"/>
              </a:ext>
            </a:extLst>
          </p:cNvPr>
          <p:cNvSpPr>
            <a:spLocks noChangeShapeType="1"/>
          </p:cNvSpPr>
          <p:nvPr/>
        </p:nvSpPr>
        <p:spPr bwMode="auto">
          <a:xfrm>
            <a:off x="2624138" y="2806700"/>
            <a:ext cx="2286000" cy="533400"/>
          </a:xfrm>
          <a:prstGeom prst="line">
            <a:avLst/>
          </a:prstGeom>
          <a:noFill/>
          <a:ln w="57150">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l-GR"/>
          </a:p>
        </p:txBody>
      </p:sp>
      <p:sp>
        <p:nvSpPr>
          <p:cNvPr id="201736" name="Rectangle 8">
            <a:extLst>
              <a:ext uri="{FF2B5EF4-FFF2-40B4-BE49-F238E27FC236}">
                <a16:creationId xmlns:a16="http://schemas.microsoft.com/office/drawing/2014/main" id="{F6F8329C-4940-4CD6-BD19-F99A8E1903B1}"/>
              </a:ext>
            </a:extLst>
          </p:cNvPr>
          <p:cNvSpPr>
            <a:spLocks noChangeArrowheads="1"/>
          </p:cNvSpPr>
          <p:nvPr/>
        </p:nvSpPr>
        <p:spPr bwMode="auto">
          <a:xfrm>
            <a:off x="0" y="320675"/>
            <a:ext cx="10287000" cy="731838"/>
          </a:xfrm>
          <a:prstGeom prst="rect">
            <a:avLst/>
          </a:prstGeom>
          <a:gradFill rotWithShape="1">
            <a:gsLst>
              <a:gs pos="0">
                <a:schemeClr val="bg1"/>
              </a:gs>
              <a:gs pos="50000">
                <a:schemeClr val="bg1">
                  <a:gamma/>
                  <a:shade val="46275"/>
                  <a:invGamma/>
                </a:schemeClr>
              </a:gs>
              <a:gs pos="100000">
                <a:schemeClr val="bg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lgn="ctr" defTabSz="762000">
              <a:defRPr sz="4400">
                <a:solidFill>
                  <a:schemeClr val="tx2"/>
                </a:solidFill>
                <a:latin typeface="Arial" panose="020B0604020202020204" pitchFamily="34" charset="0"/>
              </a:defRPr>
            </a:lvl1pPr>
            <a:lvl2pPr algn="ctr" defTabSz="762000">
              <a:defRPr sz="4400">
                <a:solidFill>
                  <a:schemeClr val="tx2"/>
                </a:solidFill>
                <a:latin typeface="Arial" panose="020B0604020202020204" pitchFamily="34" charset="0"/>
              </a:defRPr>
            </a:lvl2pPr>
            <a:lvl3pPr algn="ctr" defTabSz="762000">
              <a:defRPr sz="4400">
                <a:solidFill>
                  <a:schemeClr val="tx2"/>
                </a:solidFill>
                <a:latin typeface="Arial" panose="020B0604020202020204" pitchFamily="34" charset="0"/>
              </a:defRPr>
            </a:lvl3pPr>
            <a:lvl4pPr algn="ctr" defTabSz="762000">
              <a:defRPr sz="4400">
                <a:solidFill>
                  <a:schemeClr val="tx2"/>
                </a:solidFill>
                <a:latin typeface="Arial" panose="020B0604020202020204" pitchFamily="34" charset="0"/>
              </a:defRPr>
            </a:lvl4pPr>
            <a:lvl5pPr algn="ctr" defTabSz="762000">
              <a:defRPr sz="4400">
                <a:solidFill>
                  <a:schemeClr val="tx2"/>
                </a:solidFill>
                <a:latin typeface="Arial" panose="020B0604020202020204" pitchFamily="34" charset="0"/>
              </a:defRPr>
            </a:lvl5pPr>
            <a:lvl6pPr marL="457200" algn="ctr" defTabSz="762000" eaLnBrk="0" fontAlgn="base" hangingPunct="0">
              <a:spcBef>
                <a:spcPct val="0"/>
              </a:spcBef>
              <a:spcAft>
                <a:spcPct val="0"/>
              </a:spcAft>
              <a:defRPr sz="4400">
                <a:solidFill>
                  <a:schemeClr val="tx2"/>
                </a:solidFill>
                <a:latin typeface="Arial" panose="020B0604020202020204" pitchFamily="34" charset="0"/>
              </a:defRPr>
            </a:lvl6pPr>
            <a:lvl7pPr marL="914400" algn="ctr" defTabSz="762000" eaLnBrk="0" fontAlgn="base" hangingPunct="0">
              <a:spcBef>
                <a:spcPct val="0"/>
              </a:spcBef>
              <a:spcAft>
                <a:spcPct val="0"/>
              </a:spcAft>
              <a:defRPr sz="4400">
                <a:solidFill>
                  <a:schemeClr val="tx2"/>
                </a:solidFill>
                <a:latin typeface="Arial" panose="020B0604020202020204" pitchFamily="34" charset="0"/>
              </a:defRPr>
            </a:lvl7pPr>
            <a:lvl8pPr marL="1371600" algn="ctr" defTabSz="762000" eaLnBrk="0" fontAlgn="base" hangingPunct="0">
              <a:spcBef>
                <a:spcPct val="0"/>
              </a:spcBef>
              <a:spcAft>
                <a:spcPct val="0"/>
              </a:spcAft>
              <a:defRPr sz="4400">
                <a:solidFill>
                  <a:schemeClr val="tx2"/>
                </a:solidFill>
                <a:latin typeface="Arial" panose="020B0604020202020204" pitchFamily="34" charset="0"/>
              </a:defRPr>
            </a:lvl8pPr>
            <a:lvl9pPr marL="1828800" algn="ctr" defTabSz="762000" eaLnBrk="0" fontAlgn="base" hangingPunct="0">
              <a:spcBef>
                <a:spcPct val="0"/>
              </a:spcBef>
              <a:spcAft>
                <a:spcPct val="0"/>
              </a:spcAft>
              <a:defRPr sz="4400">
                <a:solidFill>
                  <a:schemeClr val="tx2"/>
                </a:solidFill>
                <a:latin typeface="Arial" panose="020B0604020202020204" pitchFamily="34" charset="0"/>
              </a:defRPr>
            </a:lvl9pPr>
          </a:lstStyle>
          <a:p>
            <a:r>
              <a:rPr lang="en-US" altLang="el-GR" sz="3600" b="1" dirty="0"/>
              <a:t>I</a:t>
            </a:r>
            <a:r>
              <a:rPr lang="el-GR" altLang="el-GR" sz="3600" b="1" dirty="0"/>
              <a:t>ός Ηπατίτιδας Β</a:t>
            </a:r>
            <a:r>
              <a:rPr lang="el-GR" altLang="el-GR" sz="3600" dirty="0"/>
              <a:t> (</a:t>
            </a:r>
            <a:r>
              <a:rPr lang="en-US" altLang="el-GR" sz="3600" b="1" dirty="0"/>
              <a:t>hepatitis B virus, HBV</a:t>
            </a:r>
            <a:r>
              <a:rPr lang="el-GR" altLang="el-GR" sz="3600" b="1" dirty="0"/>
              <a:t>)</a:t>
            </a:r>
          </a:p>
        </p:txBody>
      </p:sp>
      <p:sp>
        <p:nvSpPr>
          <p:cNvPr id="201737" name="Text Box 9">
            <a:extLst>
              <a:ext uri="{FF2B5EF4-FFF2-40B4-BE49-F238E27FC236}">
                <a16:creationId xmlns:a16="http://schemas.microsoft.com/office/drawing/2014/main" id="{31B6B258-73C3-4666-921E-E20981D58127}"/>
              </a:ext>
            </a:extLst>
          </p:cNvPr>
          <p:cNvSpPr txBox="1">
            <a:spLocks noChangeArrowheads="1"/>
          </p:cNvSpPr>
          <p:nvPr/>
        </p:nvSpPr>
        <p:spPr bwMode="auto">
          <a:xfrm>
            <a:off x="1543050" y="5529263"/>
            <a:ext cx="120173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a:defRPr sz="2400">
                <a:solidFill>
                  <a:schemeClr val="tx1"/>
                </a:solidFill>
                <a:latin typeface="Arial" panose="020B0604020202020204" pitchFamily="34" charset="0"/>
              </a:defRPr>
            </a:lvl1pPr>
            <a:lvl2pPr marL="571500" defTabSz="762000">
              <a:defRPr sz="2400">
                <a:solidFill>
                  <a:schemeClr val="tx1"/>
                </a:solidFill>
                <a:latin typeface="Arial" panose="020B0604020202020204" pitchFamily="34" charset="0"/>
              </a:defRPr>
            </a:lvl2pPr>
            <a:lvl3pPr marL="1143000" defTabSz="762000">
              <a:defRPr sz="2400">
                <a:solidFill>
                  <a:schemeClr val="tx1"/>
                </a:solidFill>
                <a:latin typeface="Arial" panose="020B0604020202020204" pitchFamily="34" charset="0"/>
              </a:defRPr>
            </a:lvl3pPr>
            <a:lvl4pPr marL="1714500" defTabSz="762000">
              <a:defRPr sz="2400">
                <a:solidFill>
                  <a:schemeClr val="tx1"/>
                </a:solidFill>
                <a:latin typeface="Arial" panose="020B0604020202020204" pitchFamily="34" charset="0"/>
              </a:defRPr>
            </a:lvl4pPr>
            <a:lvl5pPr marL="2286000" defTabSz="762000">
              <a:defRPr sz="2400">
                <a:solidFill>
                  <a:schemeClr val="tx1"/>
                </a:solidFill>
                <a:latin typeface="Arial" panose="020B0604020202020204" pitchFamily="34" charset="0"/>
              </a:defRPr>
            </a:lvl5pPr>
            <a:lvl6pPr marL="2743200" defTabSz="762000" eaLnBrk="0" fontAlgn="base" hangingPunct="0">
              <a:spcBef>
                <a:spcPct val="0"/>
              </a:spcBef>
              <a:spcAft>
                <a:spcPct val="0"/>
              </a:spcAft>
              <a:defRPr sz="2400">
                <a:solidFill>
                  <a:schemeClr val="tx1"/>
                </a:solidFill>
                <a:latin typeface="Arial" panose="020B0604020202020204" pitchFamily="34" charset="0"/>
              </a:defRPr>
            </a:lvl6pPr>
            <a:lvl7pPr marL="3200400" defTabSz="762000" eaLnBrk="0" fontAlgn="base" hangingPunct="0">
              <a:spcBef>
                <a:spcPct val="0"/>
              </a:spcBef>
              <a:spcAft>
                <a:spcPct val="0"/>
              </a:spcAft>
              <a:defRPr sz="2400">
                <a:solidFill>
                  <a:schemeClr val="tx1"/>
                </a:solidFill>
                <a:latin typeface="Arial" panose="020B0604020202020204" pitchFamily="34" charset="0"/>
              </a:defRPr>
            </a:lvl7pPr>
            <a:lvl8pPr marL="3657600" defTabSz="762000" eaLnBrk="0" fontAlgn="base" hangingPunct="0">
              <a:spcBef>
                <a:spcPct val="0"/>
              </a:spcBef>
              <a:spcAft>
                <a:spcPct val="0"/>
              </a:spcAft>
              <a:defRPr sz="2400">
                <a:solidFill>
                  <a:schemeClr val="tx1"/>
                </a:solidFill>
                <a:latin typeface="Arial" panose="020B0604020202020204" pitchFamily="34" charset="0"/>
              </a:defRPr>
            </a:lvl8pPr>
            <a:lvl9pPr marL="4114800" defTabSz="7620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b="1"/>
              <a:t>HB</a:t>
            </a:r>
            <a:r>
              <a:rPr lang="en-US" altLang="el-GR" b="1"/>
              <a:t>e</a:t>
            </a:r>
            <a:r>
              <a:rPr lang="el-GR" altLang="el-GR" b="1"/>
              <a:t>Ag</a:t>
            </a:r>
            <a:endParaRPr lang="el-GR" altLang="el-GR"/>
          </a:p>
        </p:txBody>
      </p:sp>
      <p:sp>
        <p:nvSpPr>
          <p:cNvPr id="201738" name="Freeform 10">
            <a:extLst>
              <a:ext uri="{FF2B5EF4-FFF2-40B4-BE49-F238E27FC236}">
                <a16:creationId xmlns:a16="http://schemas.microsoft.com/office/drawing/2014/main" id="{8BE798BD-DB81-4CDA-AEFE-2428B3EA4009}"/>
              </a:ext>
            </a:extLst>
          </p:cNvPr>
          <p:cNvSpPr>
            <a:spLocks/>
          </p:cNvSpPr>
          <p:nvPr/>
        </p:nvSpPr>
        <p:spPr bwMode="auto">
          <a:xfrm>
            <a:off x="2838450" y="5745163"/>
            <a:ext cx="488950" cy="220662"/>
          </a:xfrm>
          <a:custGeom>
            <a:avLst/>
            <a:gdLst>
              <a:gd name="T0" fmla="*/ 1 w 244"/>
              <a:gd name="T1" fmla="*/ 182 h 182"/>
              <a:gd name="T2" fmla="*/ 16 w 244"/>
              <a:gd name="T3" fmla="*/ 61 h 182"/>
              <a:gd name="T4" fmla="*/ 85 w 244"/>
              <a:gd name="T5" fmla="*/ 8 h 182"/>
              <a:gd name="T6" fmla="*/ 229 w 244"/>
              <a:gd name="T7" fmla="*/ 23 h 182"/>
              <a:gd name="T8" fmla="*/ 244 w 244"/>
              <a:gd name="T9" fmla="*/ 0 h 182"/>
            </a:gdLst>
            <a:ahLst/>
            <a:cxnLst>
              <a:cxn ang="0">
                <a:pos x="T0" y="T1"/>
              </a:cxn>
              <a:cxn ang="0">
                <a:pos x="T2" y="T3"/>
              </a:cxn>
              <a:cxn ang="0">
                <a:pos x="T4" y="T5"/>
              </a:cxn>
              <a:cxn ang="0">
                <a:pos x="T6" y="T7"/>
              </a:cxn>
              <a:cxn ang="0">
                <a:pos x="T8" y="T9"/>
              </a:cxn>
            </a:cxnLst>
            <a:rect l="0" t="0" r="r" b="b"/>
            <a:pathLst>
              <a:path w="244" h="182">
                <a:moveTo>
                  <a:pt x="1" y="182"/>
                </a:moveTo>
                <a:cubicBezTo>
                  <a:pt x="5" y="142"/>
                  <a:pt x="0" y="98"/>
                  <a:pt x="16" y="61"/>
                </a:cubicBezTo>
                <a:cubicBezTo>
                  <a:pt x="28" y="34"/>
                  <a:pt x="85" y="8"/>
                  <a:pt x="85" y="8"/>
                </a:cubicBezTo>
                <a:cubicBezTo>
                  <a:pt x="138" y="44"/>
                  <a:pt x="150" y="29"/>
                  <a:pt x="229" y="23"/>
                </a:cubicBezTo>
                <a:cubicBezTo>
                  <a:pt x="234" y="15"/>
                  <a:pt x="244" y="0"/>
                  <a:pt x="244" y="0"/>
                </a:cubicBezTo>
              </a:path>
            </a:pathLst>
          </a:custGeom>
          <a:noFill/>
          <a:ln w="38100" cap="flat" cmpd="sng">
            <a:solidFill>
              <a:schemeClr val="tx1"/>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l-GR"/>
          </a:p>
        </p:txBody>
      </p:sp>
    </p:spTree>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2">
            <a:extLst>
              <a:ext uri="{FF2B5EF4-FFF2-40B4-BE49-F238E27FC236}">
                <a16:creationId xmlns:a16="http://schemas.microsoft.com/office/drawing/2014/main" id="{68C20CAF-BB30-4B7D-8EE3-19AF169A0746}"/>
              </a:ext>
            </a:extLst>
          </p:cNvPr>
          <p:cNvSpPr>
            <a:spLocks noGrp="1" noChangeArrowheads="1"/>
          </p:cNvSpPr>
          <p:nvPr>
            <p:ph type="title"/>
          </p:nvPr>
        </p:nvSpPr>
        <p:spPr>
          <a:xfrm>
            <a:off x="0" y="393700"/>
            <a:ext cx="10287000" cy="658813"/>
          </a:xfrm>
          <a:gradFill rotWithShape="1">
            <a:gsLst>
              <a:gs pos="0">
                <a:schemeClr val="bg1"/>
              </a:gs>
              <a:gs pos="50000">
                <a:schemeClr val="bg1">
                  <a:gamma/>
                  <a:shade val="46275"/>
                  <a:invGamma/>
                </a:schemeClr>
              </a:gs>
              <a:gs pos="100000">
                <a:schemeClr val="bg1"/>
              </a:gs>
            </a:gsLst>
            <a:lin ang="5400000" scaled="1"/>
          </a:gradFill>
        </p:spPr>
        <p:txBody>
          <a:bodyPr/>
          <a:lstStyle/>
          <a:p>
            <a:r>
              <a:rPr lang="el-GR" altLang="el-GR" sz="3600" b="1" dirty="0"/>
              <a:t>Τρόποι μετάδοσης </a:t>
            </a:r>
            <a:r>
              <a:rPr lang="en-US" altLang="el-GR" sz="3600" b="1" dirty="0"/>
              <a:t>HBV</a:t>
            </a:r>
            <a:endParaRPr lang="el-GR" altLang="el-GR" sz="3600" b="1" dirty="0"/>
          </a:p>
        </p:txBody>
      </p:sp>
      <p:sp>
        <p:nvSpPr>
          <p:cNvPr id="271363" name="Rectangle 3">
            <a:extLst>
              <a:ext uri="{FF2B5EF4-FFF2-40B4-BE49-F238E27FC236}">
                <a16:creationId xmlns:a16="http://schemas.microsoft.com/office/drawing/2014/main" id="{39D2DFAC-BBE9-4570-A84C-B2E45814F37A}"/>
              </a:ext>
            </a:extLst>
          </p:cNvPr>
          <p:cNvSpPr>
            <a:spLocks noGrp="1" noChangeArrowheads="1"/>
          </p:cNvSpPr>
          <p:nvPr>
            <p:ph type="body" idx="1"/>
          </p:nvPr>
        </p:nvSpPr>
        <p:spPr>
          <a:xfrm>
            <a:off x="534988" y="908050"/>
            <a:ext cx="8712200" cy="5545138"/>
          </a:xfrm>
        </p:spPr>
        <p:txBody>
          <a:bodyPr/>
          <a:lstStyle/>
          <a:p>
            <a:pPr>
              <a:lnSpc>
                <a:spcPct val="180000"/>
              </a:lnSpc>
            </a:pPr>
            <a:r>
              <a:rPr lang="el-GR" altLang="el-GR" sz="2800" b="1" dirty="0">
                <a:solidFill>
                  <a:schemeClr val="tx2"/>
                </a:solidFill>
              </a:rPr>
              <a:t>Κατά τον τοκετό </a:t>
            </a:r>
            <a:r>
              <a:rPr lang="el-GR" altLang="el-GR" sz="2800" dirty="0"/>
              <a:t>(κάθετη μετάδοση)</a:t>
            </a:r>
          </a:p>
          <a:p>
            <a:pPr>
              <a:lnSpc>
                <a:spcPct val="110000"/>
              </a:lnSpc>
            </a:pPr>
            <a:endParaRPr lang="el-GR" altLang="el-GR" sz="2000" b="1" dirty="0">
              <a:solidFill>
                <a:schemeClr val="tx2"/>
              </a:solidFill>
            </a:endParaRPr>
          </a:p>
          <a:p>
            <a:pPr>
              <a:lnSpc>
                <a:spcPct val="110000"/>
              </a:lnSpc>
            </a:pPr>
            <a:endParaRPr lang="el-GR" altLang="el-GR" sz="2000" b="1" dirty="0">
              <a:solidFill>
                <a:schemeClr val="tx2"/>
              </a:solidFill>
            </a:endParaRPr>
          </a:p>
          <a:p>
            <a:pPr>
              <a:lnSpc>
                <a:spcPct val="110000"/>
              </a:lnSpc>
            </a:pPr>
            <a:r>
              <a:rPr lang="el-GR" altLang="el-GR" sz="2800" b="1" dirty="0">
                <a:solidFill>
                  <a:schemeClr val="tx2"/>
                </a:solidFill>
              </a:rPr>
              <a:t>Παρεντερικά</a:t>
            </a:r>
            <a:r>
              <a:rPr lang="el-GR" altLang="el-GR" sz="2800" dirty="0"/>
              <a:t> (επαφή με μολυσμένο αίμα)</a:t>
            </a:r>
            <a:endParaRPr lang="el-GR" altLang="el-GR" sz="2800" b="1" dirty="0">
              <a:solidFill>
                <a:schemeClr val="tx2"/>
              </a:solidFill>
            </a:endParaRPr>
          </a:p>
          <a:p>
            <a:pPr marL="0" indent="0">
              <a:lnSpc>
                <a:spcPct val="110000"/>
              </a:lnSpc>
              <a:buNone/>
            </a:pPr>
            <a:endParaRPr lang="el-GR" altLang="el-GR" sz="2800" b="1" dirty="0">
              <a:solidFill>
                <a:schemeClr val="tx2"/>
              </a:solidFill>
            </a:endParaRPr>
          </a:p>
          <a:p>
            <a:pPr>
              <a:lnSpc>
                <a:spcPct val="110000"/>
              </a:lnSpc>
              <a:spcBef>
                <a:spcPts val="3000"/>
              </a:spcBef>
            </a:pPr>
            <a:r>
              <a:rPr lang="el-GR" altLang="el-GR" sz="2800" b="1" dirty="0">
                <a:solidFill>
                  <a:schemeClr val="tx2"/>
                </a:solidFill>
              </a:rPr>
              <a:t>Σεξουαλικά</a:t>
            </a:r>
          </a:p>
          <a:p>
            <a:pPr>
              <a:lnSpc>
                <a:spcPct val="80000"/>
              </a:lnSpc>
              <a:buFontTx/>
              <a:buNone/>
            </a:pPr>
            <a:endParaRPr lang="el-GR" altLang="el-GR" sz="2800" b="1" dirty="0">
              <a:solidFill>
                <a:schemeClr val="tx2"/>
              </a:solidFill>
            </a:endParaRPr>
          </a:p>
          <a:p>
            <a:endParaRPr lang="el-GR" altLang="el-GR" sz="2800" b="1" dirty="0">
              <a:solidFill>
                <a:schemeClr val="tx2"/>
              </a:solidFill>
            </a:endParaRPr>
          </a:p>
          <a:p>
            <a:r>
              <a:rPr lang="el-GR" altLang="el-GR" sz="2800" b="1" dirty="0">
                <a:solidFill>
                  <a:schemeClr val="tx2"/>
                </a:solidFill>
              </a:rPr>
              <a:t>Όχι μετάδοση με μαγειρικά σκεύη, τουαλέτες, κοινωνική επαφή</a:t>
            </a:r>
          </a:p>
        </p:txBody>
      </p:sp>
      <p:sp>
        <p:nvSpPr>
          <p:cNvPr id="271364" name="Text Box 4">
            <a:extLst>
              <a:ext uri="{FF2B5EF4-FFF2-40B4-BE49-F238E27FC236}">
                <a16:creationId xmlns:a16="http://schemas.microsoft.com/office/drawing/2014/main" id="{C4009574-F506-49FD-A7CD-D35EFFAD6E8E}"/>
              </a:ext>
            </a:extLst>
          </p:cNvPr>
          <p:cNvSpPr txBox="1">
            <a:spLocks noChangeArrowheads="1"/>
          </p:cNvSpPr>
          <p:nvPr/>
        </p:nvSpPr>
        <p:spPr bwMode="auto">
          <a:xfrm>
            <a:off x="895796" y="3075057"/>
            <a:ext cx="8712200" cy="7355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panose="020B0604020202020204" pitchFamily="34" charset="0"/>
              </a:defRPr>
            </a:lvl1pPr>
            <a:lvl2pPr marL="571500">
              <a:defRPr sz="2400">
                <a:solidFill>
                  <a:schemeClr val="tx1"/>
                </a:solidFill>
                <a:latin typeface="Arial" panose="020B0604020202020204" pitchFamily="34" charset="0"/>
              </a:defRPr>
            </a:lvl2pPr>
            <a:lvl3pPr marL="1143000">
              <a:defRPr sz="2400">
                <a:solidFill>
                  <a:schemeClr val="tx1"/>
                </a:solidFill>
                <a:latin typeface="Arial" panose="020B0604020202020204" pitchFamily="34" charset="0"/>
              </a:defRPr>
            </a:lvl3pPr>
            <a:lvl4pPr marL="1714500">
              <a:defRPr sz="2400">
                <a:solidFill>
                  <a:schemeClr val="tx1"/>
                </a:solidFill>
                <a:latin typeface="Arial" panose="020B0604020202020204" pitchFamily="34" charset="0"/>
              </a:defRPr>
            </a:lvl4pPr>
            <a:lvl5pPr marL="2286000">
              <a:defRPr sz="2400">
                <a:solidFill>
                  <a:schemeClr val="tx1"/>
                </a:solidFill>
                <a:latin typeface="Arial" panose="020B0604020202020204" pitchFamily="34" charset="0"/>
              </a:defRPr>
            </a:lvl5pPr>
            <a:lvl6pPr marL="2743200" eaLnBrk="0" fontAlgn="base" hangingPunct="0">
              <a:spcBef>
                <a:spcPct val="0"/>
              </a:spcBef>
              <a:spcAft>
                <a:spcPct val="0"/>
              </a:spcAft>
              <a:defRPr sz="2400">
                <a:solidFill>
                  <a:schemeClr val="tx1"/>
                </a:solidFill>
                <a:latin typeface="Arial" panose="020B0604020202020204" pitchFamily="34" charset="0"/>
              </a:defRPr>
            </a:lvl6pPr>
            <a:lvl7pPr marL="3200400" eaLnBrk="0" fontAlgn="base" hangingPunct="0">
              <a:spcBef>
                <a:spcPct val="0"/>
              </a:spcBef>
              <a:spcAft>
                <a:spcPct val="0"/>
              </a:spcAft>
              <a:defRPr sz="2400">
                <a:solidFill>
                  <a:schemeClr val="tx1"/>
                </a:solidFill>
                <a:latin typeface="Arial" panose="020B0604020202020204" pitchFamily="34" charset="0"/>
              </a:defRPr>
            </a:lvl7pPr>
            <a:lvl8pPr marL="3657600" eaLnBrk="0" fontAlgn="base" hangingPunct="0">
              <a:spcBef>
                <a:spcPct val="0"/>
              </a:spcBef>
              <a:spcAft>
                <a:spcPct val="0"/>
              </a:spcAft>
              <a:defRPr sz="2400">
                <a:solidFill>
                  <a:schemeClr val="tx1"/>
                </a:solidFill>
                <a:latin typeface="Arial" panose="020B0604020202020204" pitchFamily="34" charset="0"/>
              </a:defRPr>
            </a:lvl8pPr>
            <a:lvl9pPr marL="4114800" eaLnBrk="0" fontAlgn="base" hangingPunct="0">
              <a:spcBef>
                <a:spcPct val="0"/>
              </a:spcBef>
              <a:spcAft>
                <a:spcPct val="0"/>
              </a:spcAft>
              <a:defRPr sz="2400">
                <a:solidFill>
                  <a:schemeClr val="tx1"/>
                </a:solidFill>
                <a:latin typeface="Arial" panose="020B0604020202020204" pitchFamily="34" charset="0"/>
              </a:defRPr>
            </a:lvl9pPr>
          </a:lstStyle>
          <a:p>
            <a:r>
              <a:rPr lang="el-GR" altLang="el-GR" sz="2000" b="1" dirty="0">
                <a:solidFill>
                  <a:schemeClr val="accent2"/>
                </a:solidFill>
              </a:rPr>
              <a:t>Ενδοοικογενειακή διασπορά</a:t>
            </a:r>
            <a:r>
              <a:rPr lang="el-GR" altLang="el-GR" sz="2000" b="1" dirty="0"/>
              <a:t>: Μετάδοση σε παιδιά 1940-1970: </a:t>
            </a:r>
          </a:p>
          <a:p>
            <a:pPr>
              <a:lnSpc>
                <a:spcPct val="120000"/>
              </a:lnSpc>
            </a:pPr>
            <a:r>
              <a:rPr lang="el-GR" altLang="el-GR" sz="2000" b="1" dirty="0">
                <a:solidFill>
                  <a:schemeClr val="accent2"/>
                </a:solidFill>
              </a:rPr>
              <a:t>ο κύριος τρόπος δημιουργίας χρόνιων φορέων στην Ελλάδα</a:t>
            </a:r>
          </a:p>
        </p:txBody>
      </p:sp>
      <p:sp>
        <p:nvSpPr>
          <p:cNvPr id="271365" name="Text Box 5">
            <a:extLst>
              <a:ext uri="{FF2B5EF4-FFF2-40B4-BE49-F238E27FC236}">
                <a16:creationId xmlns:a16="http://schemas.microsoft.com/office/drawing/2014/main" id="{4487E7C1-A76C-45F6-B19F-0CF9E71FEEAF}"/>
              </a:ext>
            </a:extLst>
          </p:cNvPr>
          <p:cNvSpPr txBox="1">
            <a:spLocks noChangeArrowheads="1"/>
          </p:cNvSpPr>
          <p:nvPr/>
        </p:nvSpPr>
        <p:spPr bwMode="auto">
          <a:xfrm>
            <a:off x="895796" y="4437112"/>
            <a:ext cx="8388350"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panose="020B0604020202020204" pitchFamily="34" charset="0"/>
              </a:defRPr>
            </a:lvl1pPr>
            <a:lvl2pPr marL="571500">
              <a:defRPr sz="2400">
                <a:solidFill>
                  <a:schemeClr val="tx1"/>
                </a:solidFill>
                <a:latin typeface="Arial" panose="020B0604020202020204" pitchFamily="34" charset="0"/>
              </a:defRPr>
            </a:lvl2pPr>
            <a:lvl3pPr marL="1143000">
              <a:defRPr sz="2400">
                <a:solidFill>
                  <a:schemeClr val="tx1"/>
                </a:solidFill>
                <a:latin typeface="Arial" panose="020B0604020202020204" pitchFamily="34" charset="0"/>
              </a:defRPr>
            </a:lvl3pPr>
            <a:lvl4pPr marL="1714500">
              <a:defRPr sz="2400">
                <a:solidFill>
                  <a:schemeClr val="tx1"/>
                </a:solidFill>
                <a:latin typeface="Arial" panose="020B0604020202020204" pitchFamily="34" charset="0"/>
              </a:defRPr>
            </a:lvl4pPr>
            <a:lvl5pPr marL="2286000">
              <a:defRPr sz="2400">
                <a:solidFill>
                  <a:schemeClr val="tx1"/>
                </a:solidFill>
                <a:latin typeface="Arial" panose="020B0604020202020204" pitchFamily="34" charset="0"/>
              </a:defRPr>
            </a:lvl5pPr>
            <a:lvl6pPr marL="2743200" eaLnBrk="0" fontAlgn="base" hangingPunct="0">
              <a:spcBef>
                <a:spcPct val="0"/>
              </a:spcBef>
              <a:spcAft>
                <a:spcPct val="0"/>
              </a:spcAft>
              <a:defRPr sz="2400">
                <a:solidFill>
                  <a:schemeClr val="tx1"/>
                </a:solidFill>
                <a:latin typeface="Arial" panose="020B0604020202020204" pitchFamily="34" charset="0"/>
              </a:defRPr>
            </a:lvl6pPr>
            <a:lvl7pPr marL="3200400" eaLnBrk="0" fontAlgn="base" hangingPunct="0">
              <a:spcBef>
                <a:spcPct val="0"/>
              </a:spcBef>
              <a:spcAft>
                <a:spcPct val="0"/>
              </a:spcAft>
              <a:defRPr sz="2400">
                <a:solidFill>
                  <a:schemeClr val="tx1"/>
                </a:solidFill>
                <a:latin typeface="Arial" panose="020B0604020202020204" pitchFamily="34" charset="0"/>
              </a:defRPr>
            </a:lvl7pPr>
            <a:lvl8pPr marL="3657600" eaLnBrk="0" fontAlgn="base" hangingPunct="0">
              <a:spcBef>
                <a:spcPct val="0"/>
              </a:spcBef>
              <a:spcAft>
                <a:spcPct val="0"/>
              </a:spcAft>
              <a:defRPr sz="2400">
                <a:solidFill>
                  <a:schemeClr val="tx1"/>
                </a:solidFill>
                <a:latin typeface="Arial" panose="020B0604020202020204" pitchFamily="34" charset="0"/>
              </a:defRPr>
            </a:lvl8pPr>
            <a:lvl9pPr marL="4114800" eaLnBrk="0" fontAlgn="base" hangingPunct="0">
              <a:spcBef>
                <a:spcPct val="0"/>
              </a:spcBef>
              <a:spcAft>
                <a:spcPct val="0"/>
              </a:spcAft>
              <a:defRPr sz="2400">
                <a:solidFill>
                  <a:schemeClr val="tx1"/>
                </a:solidFill>
                <a:latin typeface="Arial" panose="020B0604020202020204" pitchFamily="34" charset="0"/>
              </a:defRPr>
            </a:lvl9pPr>
          </a:lstStyle>
          <a:p>
            <a:pPr>
              <a:lnSpc>
                <a:spcPct val="120000"/>
              </a:lnSpc>
            </a:pPr>
            <a:r>
              <a:rPr lang="el-GR" altLang="el-GR" sz="2000" b="1" dirty="0">
                <a:solidFill>
                  <a:schemeClr val="accent2"/>
                </a:solidFill>
              </a:rPr>
              <a:t>Ο κύριος τρόπος μετάδοσης σε οξείες ηπατίτιδες σε ενήλικες:</a:t>
            </a:r>
            <a:r>
              <a:rPr lang="el-GR" altLang="el-GR" sz="2000" b="1" dirty="0"/>
              <a:t> </a:t>
            </a:r>
          </a:p>
          <a:p>
            <a:pPr>
              <a:lnSpc>
                <a:spcPct val="120000"/>
              </a:lnSpc>
            </a:pPr>
            <a:r>
              <a:rPr lang="el-GR" altLang="el-GR" sz="2000" b="1" dirty="0"/>
              <a:t>σπανιότατα μετάπτωση σε χρονιότητα </a:t>
            </a:r>
          </a:p>
        </p:txBody>
      </p:sp>
      <p:sp>
        <p:nvSpPr>
          <p:cNvPr id="2" name="TextBox 1">
            <a:extLst>
              <a:ext uri="{FF2B5EF4-FFF2-40B4-BE49-F238E27FC236}">
                <a16:creationId xmlns:a16="http://schemas.microsoft.com/office/drawing/2014/main" id="{09E2B0A0-731B-F58D-9399-0715409BFAF8}"/>
              </a:ext>
            </a:extLst>
          </p:cNvPr>
          <p:cNvSpPr txBox="1"/>
          <p:nvPr/>
        </p:nvSpPr>
        <p:spPr>
          <a:xfrm>
            <a:off x="895796" y="1634530"/>
            <a:ext cx="8712200" cy="707886"/>
          </a:xfrm>
          <a:prstGeom prst="rect">
            <a:avLst/>
          </a:prstGeom>
          <a:noFill/>
        </p:spPr>
        <p:txBody>
          <a:bodyPr wrap="square" rtlCol="0">
            <a:spAutoFit/>
          </a:bodyPr>
          <a:lstStyle/>
          <a:p>
            <a:r>
              <a:rPr lang="el-GR" altLang="el-GR" sz="2000" dirty="0">
                <a:solidFill>
                  <a:schemeClr val="accent2"/>
                </a:solidFill>
              </a:rPr>
              <a:t>Συνήθως πρόληψη με ειδική ανοσοσφαιρίνη + εμβολιασμό νεογνού </a:t>
            </a:r>
            <a:r>
              <a:rPr lang="el-GR" altLang="el-GR" sz="2000" dirty="0"/>
              <a:t>(και ίσως αντιικό στο 3</a:t>
            </a:r>
            <a:r>
              <a:rPr lang="el-GR" altLang="el-GR" sz="2000" baseline="30000" dirty="0"/>
              <a:t>ο</a:t>
            </a:r>
            <a:r>
              <a:rPr lang="el-GR" altLang="el-GR" sz="2000" dirty="0"/>
              <a:t> τρίμηνο της κύησης)</a:t>
            </a:r>
            <a:endParaRPr lang="el-GR" sz="2000" dirty="0"/>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136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13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1364" grpId="0"/>
      <p:bldP spid="271365"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heme/theme1.xml><?xml version="1.0" encoding="utf-8"?>
<a:theme xmlns:a="http://schemas.openxmlformats.org/drawingml/2006/main" name="Default Design">
  <a:themeElements>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l-GR"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l-GR"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Θέμα του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Θέμα του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bbVie Template (Footnotes) TO BE USED">
  <a:themeElements>
    <a:clrScheme name="AbbVie_Colors">
      <a:dk1>
        <a:srgbClr val="071D49"/>
      </a:dk1>
      <a:lt1>
        <a:srgbClr val="FFFFFF"/>
      </a:lt1>
      <a:dk2>
        <a:srgbClr val="A7BCD6"/>
      </a:dk2>
      <a:lt2>
        <a:srgbClr val="7DA1C4"/>
      </a:lt2>
      <a:accent1>
        <a:srgbClr val="00A9E0"/>
      </a:accent1>
      <a:accent2>
        <a:srgbClr val="8CE2D0"/>
      </a:accent2>
      <a:accent3>
        <a:srgbClr val="6BBBAE"/>
      </a:accent3>
      <a:accent4>
        <a:srgbClr val="C4D600"/>
      </a:accent4>
      <a:accent5>
        <a:srgbClr val="84BD00"/>
      </a:accent5>
      <a:accent6>
        <a:srgbClr val="702082"/>
      </a:accent6>
      <a:hlink>
        <a:srgbClr val="0082BA"/>
      </a:hlink>
      <a:folHlink>
        <a:srgbClr val="F1B43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solidFill>
            <a:schemeClr val="accent3"/>
          </a:solidFill>
          <a:headEnd type="none" w="med" len="med"/>
          <a:tailEnd type="none" w="med" len="med"/>
        </a:ln>
      </a:spPr>
      <a:bodyPr vert="horz" wrap="square" lIns="0" tIns="0" rIns="0" bIns="0" numCol="1" rtlCol="0" anchor="ctr" anchorCtr="0" compatLnSpc="1">
        <a:prstTxWarp prst="textNoShape">
          <a:avLst/>
        </a:prstTxWarp>
        <a:noAutofit/>
      </a:bodyPr>
      <a:lstStyle>
        <a:defPPr algn="ctr" defTabSz="457200" fontAlgn="base">
          <a:lnSpc>
            <a:spcPct val="90000"/>
          </a:lnSpc>
          <a:spcBef>
            <a:spcPct val="0"/>
          </a:spcBef>
          <a:spcAft>
            <a:spcPct val="0"/>
          </a:spcAft>
          <a:defRPr sz="1400" dirty="0" smtClean="0">
            <a:solidFill>
              <a:schemeClr val="tx1"/>
            </a:solidFill>
          </a:defRPr>
        </a:defPPr>
      </a:lstStyle>
      <a:style>
        <a:lnRef idx="1">
          <a:schemeClr val="accent3"/>
        </a:lnRef>
        <a:fillRef idx="2">
          <a:schemeClr val="accent3"/>
        </a:fillRef>
        <a:effectRef idx="1">
          <a:schemeClr val="accent3"/>
        </a:effectRef>
        <a:fontRef idx="minor">
          <a:schemeClr val="dk1"/>
        </a:fontRef>
      </a:style>
    </a:spDef>
    <a:lnDef>
      <a:spPr bwMode="auto">
        <a:xfrm>
          <a:off x="0" y="0"/>
          <a:ext cx="1" cy="1"/>
        </a:xfrm>
        <a:custGeom>
          <a:avLst/>
          <a:gdLst/>
          <a:ahLst/>
          <a:cxnLst/>
          <a:rect l="0" t="0" r="0" b="0"/>
          <a:pathLst/>
        </a:custGeom>
        <a:solidFill>
          <a:schemeClr val="tx2"/>
        </a:solidFill>
        <a:ln w="12700" cap="flat" cmpd="sng" algn="ctr">
          <a:solidFill>
            <a:schemeClr val="accent1"/>
          </a:solidFill>
          <a:prstDash val="solid"/>
          <a:round/>
          <a:headEnd type="none" w="med" len="med"/>
          <a:tailEnd type="none" w="med" len="med"/>
        </a:ln>
        <a:effectLst/>
      </a:spPr>
      <a:bodyPr vert="horz" wrap="none" lIns="0" tIns="0" rIns="0" bIns="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50000"/>
          </a:spcAft>
          <a:buClrTx/>
          <a:buSzTx/>
          <a:buFontTx/>
          <a:buNone/>
          <a:tabLst/>
          <a:defRPr kumimoji="0" lang="en-US" sz="22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gn="l">
          <a:defRPr sz="1400" dirty="0" smtClean="0">
            <a:latin typeface="+mn-lt"/>
          </a:defRPr>
        </a:defPPr>
      </a:lstStyle>
    </a:txDef>
  </a:objectDefaults>
  <a:extraClrSchemeLst>
    <a:extraClrScheme>
      <a:clrScheme name="GDS_Branding_Temp_2011_WHITE 1">
        <a:dk1>
          <a:srgbClr val="000000"/>
        </a:dk1>
        <a:lt1>
          <a:srgbClr val="FFFFFF"/>
        </a:lt1>
        <a:dk2>
          <a:srgbClr val="2A8DBA"/>
        </a:dk2>
        <a:lt2>
          <a:srgbClr val="B5B5B5"/>
        </a:lt2>
        <a:accent1>
          <a:srgbClr val="2A8DBA"/>
        </a:accent1>
        <a:accent2>
          <a:srgbClr val="60B4DA"/>
        </a:accent2>
        <a:accent3>
          <a:srgbClr val="FFFFFF"/>
        </a:accent3>
        <a:accent4>
          <a:srgbClr val="000000"/>
        </a:accent4>
        <a:accent5>
          <a:srgbClr val="ACC5D9"/>
        </a:accent5>
        <a:accent6>
          <a:srgbClr val="56A3C5"/>
        </a:accent6>
        <a:hlink>
          <a:srgbClr val="ABD7EB"/>
        </a:hlink>
        <a:folHlink>
          <a:srgbClr val="2A8DBA"/>
        </a:folHlink>
      </a:clrScheme>
      <a:clrMap bg1="lt1" tx1="dk1" bg2="lt2" tx2="dk2" accent1="accent1" accent2="accent2" accent3="accent3" accent4="accent4" accent5="accent5" accent6="accent6" hlink="hlink" folHlink="folHlink"/>
    </a:extraClrScheme>
    <a:extraClrScheme>
      <a:clrScheme name="GDS_Branding_Temp_2011_WHITE 2">
        <a:dk1>
          <a:srgbClr val="000000"/>
        </a:dk1>
        <a:lt1>
          <a:srgbClr val="FFFFFF"/>
        </a:lt1>
        <a:dk2>
          <a:srgbClr val="840281"/>
        </a:dk2>
        <a:lt2>
          <a:srgbClr val="B5B5B5"/>
        </a:lt2>
        <a:accent1>
          <a:srgbClr val="840281"/>
        </a:accent1>
        <a:accent2>
          <a:srgbClr val="B878B2"/>
        </a:accent2>
        <a:accent3>
          <a:srgbClr val="FFFFFF"/>
        </a:accent3>
        <a:accent4>
          <a:srgbClr val="000000"/>
        </a:accent4>
        <a:accent5>
          <a:srgbClr val="C2AAC1"/>
        </a:accent5>
        <a:accent6>
          <a:srgbClr val="A66CA1"/>
        </a:accent6>
        <a:hlink>
          <a:srgbClr val="D9B7D6"/>
        </a:hlink>
        <a:folHlink>
          <a:srgbClr val="840281"/>
        </a:folHlink>
      </a:clrScheme>
      <a:clrMap bg1="lt1" tx1="dk1" bg2="lt2" tx2="dk2" accent1="accent1" accent2="accent2" accent3="accent3" accent4="accent4" accent5="accent5" accent6="accent6" hlink="hlink" folHlink="folHlink"/>
    </a:extraClrScheme>
    <a:extraClrScheme>
      <a:clrScheme name="GDS_Branding_Temp_2011_WHITE 3">
        <a:dk1>
          <a:srgbClr val="000000"/>
        </a:dk1>
        <a:lt1>
          <a:srgbClr val="FFFFFF"/>
        </a:lt1>
        <a:dk2>
          <a:srgbClr val="549117"/>
        </a:dk2>
        <a:lt2>
          <a:srgbClr val="B5B5B5"/>
        </a:lt2>
        <a:accent1>
          <a:srgbClr val="549117"/>
        </a:accent1>
        <a:accent2>
          <a:srgbClr val="52BE08"/>
        </a:accent2>
        <a:accent3>
          <a:srgbClr val="FFFFFF"/>
        </a:accent3>
        <a:accent4>
          <a:srgbClr val="000000"/>
        </a:accent4>
        <a:accent5>
          <a:srgbClr val="B3C7AB"/>
        </a:accent5>
        <a:accent6>
          <a:srgbClr val="49AC06"/>
        </a:accent6>
        <a:hlink>
          <a:srgbClr val="7FDC22"/>
        </a:hlink>
        <a:folHlink>
          <a:srgbClr val="549117"/>
        </a:folHlink>
      </a:clrScheme>
      <a:clrMap bg1="lt1" tx1="dk1" bg2="lt2" tx2="dk2" accent1="accent1" accent2="accent2" accent3="accent3" accent4="accent4" accent5="accent5" accent6="accent6" hlink="hlink" folHlink="folHlink"/>
    </a:extraClrScheme>
    <a:extraClrScheme>
      <a:clrScheme name="GDS_Branding_Temp_2011_WHITE 4">
        <a:dk1>
          <a:srgbClr val="000000"/>
        </a:dk1>
        <a:lt1>
          <a:srgbClr val="FFFFFF"/>
        </a:lt1>
        <a:dk2>
          <a:srgbClr val="2A8DBA"/>
        </a:dk2>
        <a:lt2>
          <a:srgbClr val="B5B5B5"/>
        </a:lt2>
        <a:accent1>
          <a:srgbClr val="D4D4D4"/>
        </a:accent1>
        <a:accent2>
          <a:srgbClr val="91BAD3"/>
        </a:accent2>
        <a:accent3>
          <a:srgbClr val="FFFFFF"/>
        </a:accent3>
        <a:accent4>
          <a:srgbClr val="000000"/>
        </a:accent4>
        <a:accent5>
          <a:srgbClr val="E6E6E6"/>
        </a:accent5>
        <a:accent6>
          <a:srgbClr val="83A8BF"/>
        </a:accent6>
        <a:hlink>
          <a:srgbClr val="C6E4EE"/>
        </a:hlink>
        <a:folHlink>
          <a:srgbClr val="0053A0"/>
        </a:folHlink>
      </a:clrScheme>
      <a:clrMap bg1="lt1" tx1="dk1" bg2="lt2" tx2="dk2" accent1="accent1" accent2="accent2" accent3="accent3" accent4="accent4" accent5="accent5" accent6="accent6" hlink="hlink" folHlink="folHlink"/>
    </a:extraClrScheme>
    <a:extraClrScheme>
      <a:clrScheme name="GDS_Branding_Temp_2011_WHITE 5">
        <a:dk1>
          <a:srgbClr val="000000"/>
        </a:dk1>
        <a:lt1>
          <a:srgbClr val="FFFFFF"/>
        </a:lt1>
        <a:dk2>
          <a:srgbClr val="2A8DBA"/>
        </a:dk2>
        <a:lt2>
          <a:srgbClr val="B5B5B5"/>
        </a:lt2>
        <a:accent1>
          <a:srgbClr val="D4D4D4"/>
        </a:accent1>
        <a:accent2>
          <a:srgbClr val="91BAD3"/>
        </a:accent2>
        <a:accent3>
          <a:srgbClr val="FFFFFF"/>
        </a:accent3>
        <a:accent4>
          <a:srgbClr val="000000"/>
        </a:accent4>
        <a:accent5>
          <a:srgbClr val="E6E6E6"/>
        </a:accent5>
        <a:accent6>
          <a:srgbClr val="83A8BF"/>
        </a:accent6>
        <a:hlink>
          <a:srgbClr val="C6E4EE"/>
        </a:hlink>
        <a:folHlink>
          <a:srgbClr val="F10309"/>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tx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4.xml><?xml version="1.0" encoding="utf-8"?>
<a:theme xmlns:a="http://schemas.openxmlformats.org/drawingml/2006/main" name="1_Gilead">
  <a:themeElements>
    <a:clrScheme name="Gilead Hepatitis">
      <a:dk1>
        <a:sysClr val="windowText" lastClr="000000"/>
      </a:dk1>
      <a:lt1>
        <a:sysClr val="window" lastClr="FFFFFF"/>
      </a:lt1>
      <a:dk2>
        <a:srgbClr val="CC0000"/>
      </a:dk2>
      <a:lt2>
        <a:srgbClr val="E2E2E2"/>
      </a:lt2>
      <a:accent1>
        <a:srgbClr val="A72121"/>
      </a:accent1>
      <a:accent2>
        <a:srgbClr val="36A7AA"/>
      </a:accent2>
      <a:accent3>
        <a:srgbClr val="002060"/>
      </a:accent3>
      <a:accent4>
        <a:srgbClr val="FF6600"/>
      </a:accent4>
      <a:accent5>
        <a:srgbClr val="45842C"/>
      </a:accent5>
      <a:accent6>
        <a:srgbClr val="FEC00F"/>
      </a:accent6>
      <a:hlink>
        <a:srgbClr val="755E98"/>
      </a:hlink>
      <a:folHlink>
        <a:srgbClr val="9696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miter lim="800000"/>
        </a:ln>
      </a:spPr>
      <a:bodyPr rtlCol="0" anchor="ctr"/>
      <a:lstStyle>
        <a:defPPr algn="ctr">
          <a:lnSpc>
            <a:spcPct val="90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2">
              <a:lumMod val="50000"/>
            </a:schemeClr>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dirty="0" smtClean="0"/>
        </a:defPPr>
      </a:lstStyle>
    </a:txDef>
  </a:objectDefaults>
  <a:extraClrSchemeLst/>
  <a:custClrLst>
    <a:custClr name="R127 G127 B127">
      <a:srgbClr val="7F7F7F"/>
    </a:custClr>
    <a:custClr name="R73 G99 B151">
      <a:srgbClr val="496397"/>
    </a:custClr>
    <a:custClr name="R109 G107 B4">
      <a:srgbClr val="6D6B04"/>
    </a:custClr>
    <a:custClr name="R263 G113 B94">
      <a:srgbClr val="3F715E"/>
    </a:custClr>
    <a:custClr name="R99 G56 B162">
      <a:srgbClr val="6338A2"/>
    </a:custClr>
    <a:custClr name="R167 G164 B97">
      <a:srgbClr val="A7A461"/>
    </a:custClr>
    <a:custClr name="R41 G96 B4">
      <a:srgbClr val="296004"/>
    </a:custClr>
    <a:custClr name="R148 G100 B29">
      <a:srgbClr val="94641D"/>
    </a:custClr>
    <a:custClr name="R14 G172 B108">
      <a:srgbClr val="0EAC6C"/>
    </a:custClr>
  </a:custClrLst>
  <a:extLst>
    <a:ext uri="{05A4C25C-085E-4340-85A3-A5531E510DB2}">
      <thm15:themeFamily xmlns:thm15="http://schemas.microsoft.com/office/thememl/2012/main" name="Gilead_PAH.POTX" id="{D9A39A9A-302E-414B-A3D2-C89FD219F4B9}" vid="{E0D34937-0A76-493F-8FBC-D536FA19D62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Default Design">
  <a:themeElements>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l-GR" altLang="el-GR" sz="24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l-GR" altLang="el-GR" sz="24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Default 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1_Default Design">
  <a:themeElements>
    <a:clrScheme name="12_Default Design 12">
      <a:dk1>
        <a:srgbClr val="000000"/>
      </a:dk1>
      <a:lt1>
        <a:srgbClr val="FFFFFF"/>
      </a:lt1>
      <a:dk2>
        <a:srgbClr val="000066"/>
      </a:dk2>
      <a:lt2>
        <a:srgbClr val="FFCC00"/>
      </a:lt2>
      <a:accent1>
        <a:srgbClr val="00CC99"/>
      </a:accent1>
      <a:accent2>
        <a:srgbClr val="FFC891"/>
      </a:accent2>
      <a:accent3>
        <a:srgbClr val="AAAAB8"/>
      </a:accent3>
      <a:accent4>
        <a:srgbClr val="DADADA"/>
      </a:accent4>
      <a:accent5>
        <a:srgbClr val="AAE2CA"/>
      </a:accent5>
      <a:accent6>
        <a:srgbClr val="E7B583"/>
      </a:accent6>
      <a:hlink>
        <a:srgbClr val="CC00FF"/>
      </a:hlink>
      <a:folHlink>
        <a:srgbClr val="B2B2B2"/>
      </a:folHlink>
    </a:clrScheme>
    <a:fontScheme name="12_Default 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2_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2_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2_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2_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2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2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2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2_Default Design 8">
        <a:dk1>
          <a:srgbClr val="000000"/>
        </a:dk1>
        <a:lt1>
          <a:srgbClr val="FFFFFF"/>
        </a:lt1>
        <a:dk2>
          <a:srgbClr val="000066"/>
        </a:dk2>
        <a:lt2>
          <a:srgbClr val="FFCC00"/>
        </a:lt2>
        <a:accent1>
          <a:srgbClr val="00CC99"/>
        </a:accent1>
        <a:accent2>
          <a:srgbClr val="EBCE63"/>
        </a:accent2>
        <a:accent3>
          <a:srgbClr val="AAAAB8"/>
        </a:accent3>
        <a:accent4>
          <a:srgbClr val="DADADA"/>
        </a:accent4>
        <a:accent5>
          <a:srgbClr val="AAE2CA"/>
        </a:accent5>
        <a:accent6>
          <a:srgbClr val="D5BA5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12_Default Design 9">
        <a:dk1>
          <a:srgbClr val="000000"/>
        </a:dk1>
        <a:lt1>
          <a:srgbClr val="FFFFFF"/>
        </a:lt1>
        <a:dk2>
          <a:srgbClr val="000066"/>
        </a:dk2>
        <a:lt2>
          <a:srgbClr val="FFCC00"/>
        </a:lt2>
        <a:accent1>
          <a:srgbClr val="00CC99"/>
        </a:accent1>
        <a:accent2>
          <a:srgbClr val="EBCE63"/>
        </a:accent2>
        <a:accent3>
          <a:srgbClr val="AAAAB8"/>
        </a:accent3>
        <a:accent4>
          <a:srgbClr val="DADADA"/>
        </a:accent4>
        <a:accent5>
          <a:srgbClr val="AAE2CA"/>
        </a:accent5>
        <a:accent6>
          <a:srgbClr val="D5BA59"/>
        </a:accent6>
        <a:hlink>
          <a:srgbClr val="FF00FF"/>
        </a:hlink>
        <a:folHlink>
          <a:srgbClr val="B2B2B2"/>
        </a:folHlink>
      </a:clrScheme>
      <a:clrMap bg1="dk2" tx1="lt1" bg2="dk1" tx2="lt2" accent1="accent1" accent2="accent2" accent3="accent3" accent4="accent4" accent5="accent5" accent6="accent6" hlink="hlink" folHlink="folHlink"/>
    </a:extraClrScheme>
    <a:extraClrScheme>
      <a:clrScheme name="12_Default Design 10">
        <a:dk1>
          <a:srgbClr val="000000"/>
        </a:dk1>
        <a:lt1>
          <a:srgbClr val="FFFFFF"/>
        </a:lt1>
        <a:dk2>
          <a:srgbClr val="000066"/>
        </a:dk2>
        <a:lt2>
          <a:srgbClr val="FFCC00"/>
        </a:lt2>
        <a:accent1>
          <a:srgbClr val="00CC99"/>
        </a:accent1>
        <a:accent2>
          <a:srgbClr val="FFCC66"/>
        </a:accent2>
        <a:accent3>
          <a:srgbClr val="AAAAB8"/>
        </a:accent3>
        <a:accent4>
          <a:srgbClr val="DADADA"/>
        </a:accent4>
        <a:accent5>
          <a:srgbClr val="AAE2CA"/>
        </a:accent5>
        <a:accent6>
          <a:srgbClr val="E7B95C"/>
        </a:accent6>
        <a:hlink>
          <a:srgbClr val="CC00FF"/>
        </a:hlink>
        <a:folHlink>
          <a:srgbClr val="B2B2B2"/>
        </a:folHlink>
      </a:clrScheme>
      <a:clrMap bg1="dk2" tx1="lt1" bg2="dk1" tx2="lt2" accent1="accent1" accent2="accent2" accent3="accent3" accent4="accent4" accent5="accent5" accent6="accent6" hlink="hlink" folHlink="folHlink"/>
    </a:extraClrScheme>
    <a:extraClrScheme>
      <a:clrScheme name="12_Default Design 11">
        <a:dk1>
          <a:srgbClr val="000000"/>
        </a:dk1>
        <a:lt1>
          <a:srgbClr val="FFFFFF"/>
        </a:lt1>
        <a:dk2>
          <a:srgbClr val="000066"/>
        </a:dk2>
        <a:lt2>
          <a:srgbClr val="FFCC00"/>
        </a:lt2>
        <a:accent1>
          <a:srgbClr val="00CC99"/>
        </a:accent1>
        <a:accent2>
          <a:srgbClr val="FFDF9F"/>
        </a:accent2>
        <a:accent3>
          <a:srgbClr val="AAAAB8"/>
        </a:accent3>
        <a:accent4>
          <a:srgbClr val="DADADA"/>
        </a:accent4>
        <a:accent5>
          <a:srgbClr val="AAE2CA"/>
        </a:accent5>
        <a:accent6>
          <a:srgbClr val="E7CA90"/>
        </a:accent6>
        <a:hlink>
          <a:srgbClr val="CC00FF"/>
        </a:hlink>
        <a:folHlink>
          <a:srgbClr val="B2B2B2"/>
        </a:folHlink>
      </a:clrScheme>
      <a:clrMap bg1="dk2" tx1="lt1" bg2="dk1" tx2="lt2" accent1="accent1" accent2="accent2" accent3="accent3" accent4="accent4" accent5="accent5" accent6="accent6" hlink="hlink" folHlink="folHlink"/>
    </a:extraClrScheme>
    <a:extraClrScheme>
      <a:clrScheme name="12_Default Design 12">
        <a:dk1>
          <a:srgbClr val="000000"/>
        </a:dk1>
        <a:lt1>
          <a:srgbClr val="FFFFFF"/>
        </a:lt1>
        <a:dk2>
          <a:srgbClr val="000066"/>
        </a:dk2>
        <a:lt2>
          <a:srgbClr val="FFCC00"/>
        </a:lt2>
        <a:accent1>
          <a:srgbClr val="00CC99"/>
        </a:accent1>
        <a:accent2>
          <a:srgbClr val="FFC891"/>
        </a:accent2>
        <a:accent3>
          <a:srgbClr val="AAAAB8"/>
        </a:accent3>
        <a:accent4>
          <a:srgbClr val="DADADA"/>
        </a:accent4>
        <a:accent5>
          <a:srgbClr val="AAE2CA"/>
        </a:accent5>
        <a:accent6>
          <a:srgbClr val="E7B583"/>
        </a:accent6>
        <a:hlink>
          <a:srgbClr val="CC00FF"/>
        </a:hlink>
        <a:folHlink>
          <a:srgbClr val="B2B2B2"/>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GIL1772 BUILD">
      <a:dk1>
        <a:sysClr val="windowText" lastClr="000000"/>
      </a:dk1>
      <a:lt1>
        <a:sysClr val="window" lastClr="FFFFFF"/>
      </a:lt1>
      <a:dk2>
        <a:srgbClr val="000000"/>
      </a:dk2>
      <a:lt2>
        <a:srgbClr val="FFFFFF"/>
      </a:lt2>
      <a:accent1>
        <a:srgbClr val="003362"/>
      </a:accent1>
      <a:accent2>
        <a:srgbClr val="005FA3"/>
      </a:accent2>
      <a:accent3>
        <a:srgbClr val="C91113"/>
      </a:accent3>
      <a:accent4>
        <a:srgbClr val="4FB0C6"/>
      </a:accent4>
      <a:accent5>
        <a:srgbClr val="CAA8F5"/>
      </a:accent5>
      <a:accent6>
        <a:srgbClr val="FBB13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78C3EA3F-E925-469F-AFF5-6EC6165A8D96}" vid="{863B58EB-6334-4BE1-AAE4-0F07CCDF058A}"/>
    </a:ext>
  </a:extLst>
</a:theme>
</file>

<file path=ppt/theme/themeOverride1.xml><?xml version="1.0" encoding="utf-8"?>
<a:themeOverride xmlns:a="http://schemas.openxmlformats.org/drawingml/2006/main">
  <a:clrScheme name="AbbVie_Colors">
    <a:dk1>
      <a:srgbClr val="071D49"/>
    </a:dk1>
    <a:lt1>
      <a:srgbClr val="FFFFFF"/>
    </a:lt1>
    <a:dk2>
      <a:srgbClr val="A7BCD6"/>
    </a:dk2>
    <a:lt2>
      <a:srgbClr val="7DA1C4"/>
    </a:lt2>
    <a:accent1>
      <a:srgbClr val="00A9E0"/>
    </a:accent1>
    <a:accent2>
      <a:srgbClr val="8CE2D0"/>
    </a:accent2>
    <a:accent3>
      <a:srgbClr val="6BBBAE"/>
    </a:accent3>
    <a:accent4>
      <a:srgbClr val="C4D600"/>
    </a:accent4>
    <a:accent5>
      <a:srgbClr val="84BD00"/>
    </a:accent5>
    <a:accent6>
      <a:srgbClr val="702082"/>
    </a:accent6>
    <a:hlink>
      <a:srgbClr val="0082BA"/>
    </a:hlink>
    <a:folHlink>
      <a:srgbClr val="F1B434"/>
    </a:folHlink>
  </a:clrScheme>
</a:themeOverride>
</file>

<file path=ppt/theme/themeOverride2.xml><?xml version="1.0" encoding="utf-8"?>
<a:themeOverride xmlns:a="http://schemas.openxmlformats.org/drawingml/2006/main">
  <a:clrScheme name="AbbVie_Colors">
    <a:dk1>
      <a:srgbClr val="071D49"/>
    </a:dk1>
    <a:lt1>
      <a:srgbClr val="FFFFFF"/>
    </a:lt1>
    <a:dk2>
      <a:srgbClr val="A7BCD6"/>
    </a:dk2>
    <a:lt2>
      <a:srgbClr val="7DA1C4"/>
    </a:lt2>
    <a:accent1>
      <a:srgbClr val="00A9E0"/>
    </a:accent1>
    <a:accent2>
      <a:srgbClr val="8CE2D0"/>
    </a:accent2>
    <a:accent3>
      <a:srgbClr val="6BBBAE"/>
    </a:accent3>
    <a:accent4>
      <a:srgbClr val="C4D600"/>
    </a:accent4>
    <a:accent5>
      <a:srgbClr val="84BD00"/>
    </a:accent5>
    <a:accent6>
      <a:srgbClr val="702082"/>
    </a:accent6>
    <a:hlink>
      <a:srgbClr val="0082BA"/>
    </a:hlink>
    <a:folHlink>
      <a:srgbClr val="F1B434"/>
    </a:folHlink>
  </a:clrScheme>
</a:themeOverride>
</file>

<file path=ppt/theme/themeOverride3.xml><?xml version="1.0" encoding="utf-8"?>
<a:themeOverride xmlns:a="http://schemas.openxmlformats.org/drawingml/2006/main">
  <a:clrScheme name="AASLD 2021">
    <a:dk1>
      <a:srgbClr val="54565B"/>
    </a:dk1>
    <a:lt1>
      <a:srgbClr val="FFFFFF"/>
    </a:lt1>
    <a:dk2>
      <a:srgbClr val="A72121"/>
    </a:dk2>
    <a:lt2>
      <a:srgbClr val="36A7AA"/>
    </a:lt2>
    <a:accent1>
      <a:srgbClr val="97BAFF"/>
    </a:accent1>
    <a:accent2>
      <a:srgbClr val="FED96F"/>
    </a:accent2>
    <a:accent3>
      <a:srgbClr val="993366"/>
    </a:accent3>
    <a:accent4>
      <a:srgbClr val="7F7F7F"/>
    </a:accent4>
    <a:accent5>
      <a:srgbClr val="FF6600"/>
    </a:accent5>
    <a:accent6>
      <a:srgbClr val="003300"/>
    </a:accent6>
    <a:hlink>
      <a:srgbClr val="3A6C8A"/>
    </a:hlink>
    <a:folHlink>
      <a:srgbClr val="8F7F9E"/>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AbbVie">
    <a:dk1>
      <a:srgbClr val="070605"/>
    </a:dk1>
    <a:lt1>
      <a:srgbClr val="FFFFFF"/>
    </a:lt1>
    <a:dk2>
      <a:srgbClr val="6BBBAE"/>
    </a:dk2>
    <a:lt2>
      <a:srgbClr val="FFFFFF"/>
    </a:lt2>
    <a:accent1>
      <a:srgbClr val="84BD00"/>
    </a:accent1>
    <a:accent2>
      <a:srgbClr val="DC8633"/>
    </a:accent2>
    <a:accent3>
      <a:srgbClr val="7DA1C4"/>
    </a:accent3>
    <a:accent4>
      <a:srgbClr val="702082"/>
    </a:accent4>
    <a:accent5>
      <a:srgbClr val="6BBBAE"/>
    </a:accent5>
    <a:accent6>
      <a:srgbClr val="0082BA"/>
    </a:accent6>
    <a:hlink>
      <a:srgbClr val="070605"/>
    </a:hlink>
    <a:folHlink>
      <a:srgbClr val="070605"/>
    </a:folHlink>
  </a:clrScheme>
  <a:fontScheme name="AbbVie Design 2">
    <a:majorFont>
      <a:latin typeface="Calibri"/>
      <a:ea typeface=""/>
      <a:cs typeface="Arial"/>
    </a:majorFont>
    <a:minorFont>
      <a:latin typeface="Calibri"/>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4294</TotalTime>
  <Words>4358</Words>
  <Application>Microsoft Office PowerPoint</Application>
  <PresentationFormat>Διαφάνειες 35 χιλ.</PresentationFormat>
  <Paragraphs>816</Paragraphs>
  <Slides>64</Slides>
  <Notes>11</Notes>
  <HiddenSlides>0</HiddenSlides>
  <MMClips>0</MMClips>
  <ScaleCrop>false</ScaleCrop>
  <HeadingPairs>
    <vt:vector size="8" baseType="variant">
      <vt:variant>
        <vt:lpstr>Γραμματοσειρές που χρησιμοποιούνται</vt:lpstr>
      </vt:variant>
      <vt:variant>
        <vt:i4>22</vt:i4>
      </vt:variant>
      <vt:variant>
        <vt:lpstr>Θέμα</vt:lpstr>
      </vt:variant>
      <vt:variant>
        <vt:i4>10</vt:i4>
      </vt:variant>
      <vt:variant>
        <vt:lpstr>Ενσωματωμένοι διακομιστές OLE</vt:lpstr>
      </vt:variant>
      <vt:variant>
        <vt:i4>4</vt:i4>
      </vt:variant>
      <vt:variant>
        <vt:lpstr>Τίτλοι διαφανειών</vt:lpstr>
      </vt:variant>
      <vt:variant>
        <vt:i4>64</vt:i4>
      </vt:variant>
    </vt:vector>
  </HeadingPairs>
  <TitlesOfParts>
    <vt:vector size="100" baseType="lpstr">
      <vt:lpstr>굴림</vt:lpstr>
      <vt:lpstr>맑은 고딕</vt:lpstr>
      <vt:lpstr>MS PGothic</vt:lpstr>
      <vt:lpstr>MS PGothic</vt:lpstr>
      <vt:lpstr>PMingLiU</vt:lpstr>
      <vt:lpstr>PMingLiU</vt:lpstr>
      <vt:lpstr>Arial</vt:lpstr>
      <vt:lpstr>Arial Greek</vt:lpstr>
      <vt:lpstr>Calibri</vt:lpstr>
      <vt:lpstr>Calibri Light</vt:lpstr>
      <vt:lpstr>Courier New</vt:lpstr>
      <vt:lpstr>Impact</vt:lpstr>
      <vt:lpstr>Mangal</vt:lpstr>
      <vt:lpstr>Proxima Nova</vt:lpstr>
      <vt:lpstr>Proxima Nova Light</vt:lpstr>
      <vt:lpstr>Segoe UI</vt:lpstr>
      <vt:lpstr>Symbol</vt:lpstr>
      <vt:lpstr>Tahoma</vt:lpstr>
      <vt:lpstr>Times New Roman</vt:lpstr>
      <vt:lpstr>Trebuchet MS</vt:lpstr>
      <vt:lpstr>Wingdings</vt:lpstr>
      <vt:lpstr>ヒラギノ角ゴ Pro W3</vt:lpstr>
      <vt:lpstr>Default Design</vt:lpstr>
      <vt:lpstr>AbbVie Template (Footnotes) TO BE USED</vt:lpstr>
      <vt:lpstr>2017_HTAA_Diabetes</vt:lpstr>
      <vt:lpstr>1_Gilead</vt:lpstr>
      <vt:lpstr>Office Theme</vt:lpstr>
      <vt:lpstr>1_Default Design</vt:lpstr>
      <vt:lpstr>21_Default Design</vt:lpstr>
      <vt:lpstr>Thème Office</vt:lpstr>
      <vt:lpstr>1_Office Theme</vt:lpstr>
      <vt:lpstr>2_Thème Office</vt:lpstr>
      <vt:lpstr>think-cell Slide</vt:lpstr>
      <vt:lpstr>Chart</vt:lpstr>
      <vt:lpstr>Clip</vt:lpstr>
      <vt:lpstr>Microsoft Excel Chart</vt:lpstr>
      <vt:lpstr>Παρουσίαση του PowerPoint</vt:lpstr>
      <vt:lpstr>Γεώργιος Παπαθεοδωρίδης – Δήλωση σύγκρουσης συμφερόντων</vt:lpstr>
      <vt:lpstr>IOΙ ΗΠΑΤΙΤΙΔΑΣ</vt:lpstr>
      <vt:lpstr>ΧΡΟΝΙΕΣ IOΓΕΝΕΙΣ ΗΠΑΤΙΤΙΔΕΣ ME “SUCCESS STORY”</vt:lpstr>
      <vt:lpstr>HBV σε μούμια από την Κορέα</vt:lpstr>
      <vt:lpstr>Παγκόσμιος επιπολασμός χρόνιας HBV λοίμωξης</vt:lpstr>
      <vt:lpstr>Παρουσίαση του PowerPoint</vt:lpstr>
      <vt:lpstr>Παρουσίαση του PowerPoint</vt:lpstr>
      <vt:lpstr>Τρόποι μετάδοσης HBV</vt:lpstr>
      <vt:lpstr>Παρουσίαση του PowerPoint</vt:lpstr>
      <vt:lpstr>Χρόνια HBV λοίμωξη:  Πολύ χαμηλό ποσοστό διάγνωσης!</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To ταξίδι της ηπατίτιδας Β</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PAGE-B represents a simple to use HCC risk score for the first 5 years of ETV/TDF in Caucasian CHB patients</vt:lpstr>
      <vt:lpstr>Παρουσίαση του PowerPoint</vt:lpstr>
      <vt:lpstr>Παρουσίαση του PowerPoint</vt:lpstr>
      <vt:lpstr>Παρουσίαση του PowerPoint</vt:lpstr>
      <vt:lpstr>Παρουσίαση του PowerPoint</vt:lpstr>
      <vt:lpstr>Xρόνια HBV λοίμωξη:  Πολύ χαμηλή θεραπευτική κάλυψη!</vt:lpstr>
      <vt:lpstr>ΗΠΑΤΙΤΙΔΑ Β &amp; ΠΡΟΒΛΗΜΑΤΑ ΤΟ 2023 ΣΤΗΝ ΕΛΛΑΔΑ </vt:lpstr>
      <vt:lpstr>ΧΡΟΝΙΑ ΗΠΑΤΙΤΙΔΑ D (Β+D)</vt:lpstr>
      <vt:lpstr>12-70 millions of anti-HDV positive cases globally  Papatheodoridi M &amp; Papatheodoridis GV. Liver Int 2021;41(Suppl.1):38-44.</vt:lpstr>
      <vt:lpstr>Anti-HDV screening rates at tertiary centers throughout Greece</vt:lpstr>
      <vt:lpstr>Παρουσίαση του PowerPoint</vt:lpstr>
      <vt:lpstr>BLV 2 mg monotherapy in CHD: efficacy at week 48  MYR301 and RWD Sets</vt:lpstr>
      <vt:lpstr>HCV</vt:lpstr>
      <vt:lpstr>HCV prevalence in 2022</vt:lpstr>
      <vt:lpstr>HCV - ΤΡΟΠΟΙ ΜΕΤΑΔΟΣΗΣ</vt:lpstr>
      <vt:lpstr>Φυσική πορεία HCV λοίμωξης</vt:lpstr>
      <vt:lpstr>Κλινική εικόνα: μια «αθόρυβη» νόσος</vt:lpstr>
      <vt:lpstr>ΔΙΑΓΝΩΣΗ ΧΡΟΝΙΑΣ HCV ΛΟΙΜΩΞΗΣ</vt:lpstr>
      <vt:lpstr>HCV διαφορετικός ιός από HBV/HIV Όχι μακροχρόνια-λανθάνουσα επιβίωση </vt:lpstr>
      <vt:lpstr>Παρουσίαση του PowerPoint</vt:lpstr>
      <vt:lpstr>Παρουσίαση του PowerPoint</vt:lpstr>
      <vt:lpstr>Παρουσίαση του PowerPoint</vt:lpstr>
      <vt:lpstr>Φάρμακα που κυκλοφορούν στην Ελλάδα το 2023</vt:lpstr>
      <vt:lpstr>ASTRAL-1, ASTRAL-2, ASTRAL-3, ASTRAL-4, ASTRAL-5: Efficacy Summary (ITT Analysis)</vt:lpstr>
      <vt:lpstr>Integrated Efficacy Analysis of 8 and 12 Weeks of G/P in  HCV Genotype 1–6 Infected Patients without Cirrhosis (Efficacy ITT)</vt:lpstr>
      <vt:lpstr>Ασφάλεια σχημάτων χωρίς IFNa</vt:lpstr>
      <vt:lpstr>Παρουσίαση του PowerPoint</vt:lpstr>
      <vt:lpstr>HCV παγκόσμιο πρόβλημα υγείας: στόχοι WHO </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Άξονες Εθνικού Σχεδίου Δράσης για την Ηπατίτιδα C </vt:lpstr>
      <vt:lpstr>Παρουσίαση του PowerPoint</vt:lpstr>
      <vt:lpstr>Παρουσίαση του PowerPoint</vt:lpstr>
      <vt:lpstr>Παρουσίαση του PowerPoint</vt:lpstr>
      <vt:lpstr>Ειδικά προγράμματα διάγνωσης-θεραπεία για ΧΕΝ “Οne-stop shop”</vt:lpstr>
      <vt:lpstr>Επιπολασμός XHC ανά ηλικία &amp; φύλο</vt:lpstr>
      <vt:lpstr>Σύσταση για έλεγχο του γενικού πληθυσμού</vt:lpstr>
      <vt:lpstr>Παρουσίαση του PowerPoint</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CV ΛΟΙΜΩΞΗ ΜΕΤΑ ΜΕΤΑΜΟΣΧΕΥΣΗ ΗΠΑΤΟΣ</dc:title>
  <dc:creator>.</dc:creator>
  <cp:lastModifiedBy>l3gastr_ac</cp:lastModifiedBy>
  <cp:revision>902</cp:revision>
  <cp:lastPrinted>2003-11-04T19:35:10Z</cp:lastPrinted>
  <dcterms:created xsi:type="dcterms:W3CDTF">1997-12-14T19:17:54Z</dcterms:created>
  <dcterms:modified xsi:type="dcterms:W3CDTF">2023-09-28T12:19:42Z</dcterms:modified>
</cp:coreProperties>
</file>